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2.xml" ContentType="application/vnd.openxmlformats-officedocument.theme+xml"/>
  <Override PartName="/ppt/tags/tag73.xml" ContentType="application/vnd.openxmlformats-officedocument.presentationml.tags+xml"/>
  <Override PartName="/ppt/notesSlides/notesSlide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notesSlides/notesSlide3.xml" ContentType="application/vnd.openxmlformats-officedocument.presentationml.notesSlide+xml"/>
  <Override PartName="/ppt/tags/tag90.xml" ContentType="application/vnd.openxmlformats-officedocument.presentationml.tags+xml"/>
  <Override PartName="/ppt/notesSlides/notesSlide4.xml" ContentType="application/vnd.openxmlformats-officedocument.presentationml.notesSlide+xml"/>
  <Override PartName="/ppt/tags/tag9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14"/>
  </p:notesMasterIdLst>
  <p:sldIdLst>
    <p:sldId id="256" r:id="rId2"/>
    <p:sldId id="2147375011" r:id="rId3"/>
    <p:sldId id="277" r:id="rId4"/>
    <p:sldId id="268" r:id="rId5"/>
    <p:sldId id="278" r:id="rId6"/>
    <p:sldId id="281" r:id="rId7"/>
    <p:sldId id="279" r:id="rId8"/>
    <p:sldId id="2147374992" r:id="rId9"/>
    <p:sldId id="2147374987" r:id="rId10"/>
    <p:sldId id="2147374991" r:id="rId11"/>
    <p:sldId id="2147374993" r:id="rId12"/>
    <p:sldId id="2147374994" r:id="rId13"/>
  </p:sldIdLst>
  <p:sldSz cx="9144000" cy="5143500" type="screen16x9"/>
  <p:notesSz cx="6858000" cy="9144000"/>
  <p:custDataLst>
    <p:tags r:id="rId15"/>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6DE8A054-AAD5-4A4E-8C92-D2BC973D5A79}">
          <p14:sldIdLst>
            <p14:sldId id="256"/>
            <p14:sldId id="2147375011"/>
          </p14:sldIdLst>
        </p14:section>
        <p14:section name="1 Bebilderte Übersicht zu den relevanten Institutionen, Personen und Dienstleistern" id="{4F9CBE37-0ADA-4DE7-BE75-3F779F318FEB}">
          <p14:sldIdLst>
            <p14:sldId id="277"/>
            <p14:sldId id="268"/>
          </p14:sldIdLst>
        </p14:section>
        <p14:section name="2 Fotografische Abbildungen" id="{97FF9966-55AE-44EB-9D86-1D99198B84B4}">
          <p14:sldIdLst>
            <p14:sldId id="278"/>
            <p14:sldId id="281"/>
          </p14:sldIdLst>
        </p14:section>
        <p14:section name="3 Beispielhafte Darstellungen" id="{F049D040-BD98-4557-B8DE-6FDFDD15E535}">
          <p14:sldIdLst>
            <p14:sldId id="279"/>
            <p14:sldId id="2147374992"/>
            <p14:sldId id="2147374987"/>
            <p14:sldId id="2147374991"/>
            <p14:sldId id="2147374993"/>
            <p14:sldId id="2147374994"/>
          </p14:sldIdLst>
        </p14:section>
        <p14:section name="Unused Slides" id="{40AC69AF-1F54-404B-B802-410522ED269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ön, Anne-Marie (StMAS)" initials="KA(" lastIdx="5" clrIdx="0">
    <p:extLst>
      <p:ext uri="{19B8F6BF-5375-455C-9EA6-DF929625EA0E}">
        <p15:presenceInfo xmlns:p15="http://schemas.microsoft.com/office/powerpoint/2012/main" userId="S-1-5-21-631908245-2691628023-2175784875-14892" providerId="AD"/>
      </p:ext>
    </p:extLst>
  </p:cmAuthor>
  <p:cmAuthor id="2" name="Yannik Lewin" initials="YL" lastIdx="1" clrIdx="1">
    <p:extLst>
      <p:ext uri="{19B8F6BF-5375-455C-9EA6-DF929625EA0E}">
        <p15:presenceInfo xmlns:p15="http://schemas.microsoft.com/office/powerpoint/2012/main" userId="Yannik Lew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4E78"/>
    <a:srgbClr val="6C8CA6"/>
    <a:srgbClr val="A8BCCF"/>
    <a:srgbClr val="DEE6EE"/>
    <a:srgbClr val="4C7895"/>
    <a:srgbClr val="003B59"/>
    <a:srgbClr val="E2E2E2"/>
    <a:srgbClr val="C8C8C8"/>
    <a:srgbClr val="B43E62"/>
    <a:srgbClr val="3C8C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558" autoAdjust="0"/>
    <p:restoredTop sz="97449" autoAdjust="0"/>
  </p:normalViewPr>
  <p:slideViewPr>
    <p:cSldViewPr>
      <p:cViewPr varScale="1">
        <p:scale>
          <a:sx n="116" d="100"/>
          <a:sy n="116" d="100"/>
        </p:scale>
        <p:origin x="403" y="77"/>
      </p:cViewPr>
      <p:guideLst>
        <p:guide orient="horz" pos="1620"/>
        <p:guide pos="2880"/>
      </p:guideLst>
    </p:cSldViewPr>
  </p:slideViewPr>
  <p:outlineViewPr>
    <p:cViewPr>
      <p:scale>
        <a:sx n="33" d="100"/>
        <a:sy n="33" d="100"/>
      </p:scale>
      <p:origin x="48"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mn-lt"/>
                <a:ea typeface="+mn-ea"/>
                <a:cs typeface="+mn-cs"/>
                <a:sym typeface="Novel Sans Pro" panose="02000000000000000000" pitchFamily="50"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mn-lt"/>
                <a:ea typeface="+mn-ea"/>
                <a:cs typeface="+mn-cs"/>
                <a:sym typeface="Novel Sans Pro" panose="02000000000000000000" pitchFamily="50" charset="0"/>
              </a:defRPr>
            </a:lvl1pPr>
          </a:lstStyle>
          <a:p>
            <a:fld id="{E8F1706F-D662-473E-9E64-E99283111F03}" type="datetimeFigureOut">
              <a:rPr lang="de-DE" smtClean="0"/>
              <a:pPr/>
              <a:t>20.01.2022</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mn-lt"/>
                <a:ea typeface="+mn-ea"/>
                <a:cs typeface="+mn-cs"/>
                <a:sym typeface="Novel Sans Pro" panose="02000000000000000000" pitchFamily="50"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mn-lt"/>
                <a:ea typeface="+mn-ea"/>
                <a:cs typeface="+mn-cs"/>
                <a:sym typeface="Novel Sans Pro" panose="02000000000000000000" pitchFamily="50" charset="0"/>
              </a:defRPr>
            </a:lvl1pPr>
          </a:lstStyle>
          <a:p>
            <a:fld id="{3AC0749A-DC83-44CA-9FF2-1582BBE62487}" type="slidenum">
              <a:rPr lang="de-DE" smtClean="0"/>
              <a:pPr/>
              <a:t>‹Nr.›</a:t>
            </a:fld>
            <a:endParaRPr lang="de-DE" dirty="0"/>
          </a:p>
        </p:txBody>
      </p:sp>
    </p:spTree>
    <p:extLst>
      <p:ext uri="{BB962C8B-B14F-4D97-AF65-F5344CB8AC3E}">
        <p14:creationId xmlns:p14="http://schemas.microsoft.com/office/powerpoint/2010/main" val="1354397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Novel Sans Pro" panose="02000000000000000000" pitchFamily="50" charset="0"/>
      </a:defRPr>
    </a:lvl1pPr>
    <a:lvl2pPr marL="457200" algn="l" defTabSz="914400" rtl="0" eaLnBrk="1" latinLnBrk="0" hangingPunct="1">
      <a:defRPr sz="1200" kern="1200">
        <a:solidFill>
          <a:schemeClr val="tx1"/>
        </a:solidFill>
        <a:latin typeface="+mn-lt"/>
        <a:ea typeface="+mn-ea"/>
        <a:cs typeface="+mn-cs"/>
        <a:sym typeface="Novel Sans Pro" panose="02000000000000000000" pitchFamily="50" charset="0"/>
      </a:defRPr>
    </a:lvl2pPr>
    <a:lvl3pPr marL="914400" algn="l" defTabSz="914400" rtl="0" eaLnBrk="1" latinLnBrk="0" hangingPunct="1">
      <a:defRPr sz="1200" kern="1200">
        <a:solidFill>
          <a:schemeClr val="tx1"/>
        </a:solidFill>
        <a:latin typeface="+mn-lt"/>
        <a:ea typeface="+mn-ea"/>
        <a:cs typeface="+mn-cs"/>
        <a:sym typeface="Novel Sans Pro" panose="02000000000000000000" pitchFamily="50" charset="0"/>
      </a:defRPr>
    </a:lvl3pPr>
    <a:lvl4pPr marL="1371600" algn="l" defTabSz="914400" rtl="0" eaLnBrk="1" latinLnBrk="0" hangingPunct="1">
      <a:defRPr sz="1200" kern="1200">
        <a:solidFill>
          <a:schemeClr val="tx1"/>
        </a:solidFill>
        <a:latin typeface="+mn-lt"/>
        <a:ea typeface="+mn-ea"/>
        <a:cs typeface="+mn-cs"/>
        <a:sym typeface="Novel Sans Pro" panose="02000000000000000000" pitchFamily="50" charset="0"/>
      </a:defRPr>
    </a:lvl4pPr>
    <a:lvl5pPr marL="1828800" algn="l" defTabSz="914400" rtl="0" eaLnBrk="1" latinLnBrk="0" hangingPunct="1">
      <a:defRPr sz="1200" kern="1200">
        <a:solidFill>
          <a:schemeClr val="tx1"/>
        </a:solidFill>
        <a:latin typeface="+mn-lt"/>
        <a:ea typeface="+mn-ea"/>
        <a:cs typeface="+mn-cs"/>
        <a:sym typeface="Novel Sans Pro" panose="02000000000000000000" pitchFamily="50"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3AC0749A-DC83-44CA-9FF2-1582BBE62487}" type="slidenum">
              <a:rPr lang="de-DE" smtClean="0"/>
              <a:pPr/>
              <a:t>1</a:t>
            </a:fld>
            <a:endParaRPr lang="de-DE" dirty="0"/>
          </a:p>
        </p:txBody>
      </p:sp>
    </p:spTree>
    <p:extLst>
      <p:ext uri="{BB962C8B-B14F-4D97-AF65-F5344CB8AC3E}">
        <p14:creationId xmlns:p14="http://schemas.microsoft.com/office/powerpoint/2010/main" val="3348084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r>
              <a:rPr lang="de-DE" dirty="0"/>
              <a:t>Notes view: </a:t>
            </a:r>
            <a:fld id="{128CEAFE-FA94-43E5-B0FF-D47E1CCDD1B4}" type="slidenum">
              <a:rPr lang="de-DE" smtClean="0"/>
              <a:pPr/>
              <a:t>9</a:t>
            </a:fld>
            <a:endParaRPr lang="de-DE" dirty="0"/>
          </a:p>
        </p:txBody>
      </p:sp>
    </p:spTree>
    <p:extLst>
      <p:ext uri="{BB962C8B-B14F-4D97-AF65-F5344CB8AC3E}">
        <p14:creationId xmlns:p14="http://schemas.microsoft.com/office/powerpoint/2010/main" val="3552415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r>
              <a:rPr lang="de-DE" dirty="0"/>
              <a:t>Notes view: </a:t>
            </a:r>
            <a:fld id="{128CEAFE-FA94-43E5-B0FF-D47E1CCDD1B4}" type="slidenum">
              <a:rPr lang="de-DE" smtClean="0"/>
              <a:pPr/>
              <a:t>10</a:t>
            </a:fld>
            <a:endParaRPr lang="de-DE" dirty="0"/>
          </a:p>
        </p:txBody>
      </p:sp>
    </p:spTree>
    <p:extLst>
      <p:ext uri="{BB962C8B-B14F-4D97-AF65-F5344CB8AC3E}">
        <p14:creationId xmlns:p14="http://schemas.microsoft.com/office/powerpoint/2010/main" val="2555657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r>
              <a:rPr lang="de-DE" dirty="0"/>
              <a:t>Notes view: </a:t>
            </a:r>
            <a:fld id="{128CEAFE-FA94-43E5-B0FF-D47E1CCDD1B4}" type="slidenum">
              <a:rPr lang="de-DE" smtClean="0"/>
              <a:pPr/>
              <a:t>11</a:t>
            </a:fld>
            <a:endParaRPr lang="de-DE" dirty="0"/>
          </a:p>
        </p:txBody>
      </p:sp>
    </p:spTree>
    <p:extLst>
      <p:ext uri="{BB962C8B-B14F-4D97-AF65-F5344CB8AC3E}">
        <p14:creationId xmlns:p14="http://schemas.microsoft.com/office/powerpoint/2010/main" val="2803672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r>
              <a:rPr lang="de-DE" dirty="0"/>
              <a:t>Notes view: </a:t>
            </a:r>
            <a:fld id="{128CEAFE-FA94-43E5-B0FF-D47E1CCDD1B4}" type="slidenum">
              <a:rPr lang="de-DE" smtClean="0"/>
              <a:pPr/>
              <a:t>12</a:t>
            </a:fld>
            <a:endParaRPr lang="de-DE" dirty="0"/>
          </a:p>
        </p:txBody>
      </p:sp>
    </p:spTree>
    <p:extLst>
      <p:ext uri="{BB962C8B-B14F-4D97-AF65-F5344CB8AC3E}">
        <p14:creationId xmlns:p14="http://schemas.microsoft.com/office/powerpoint/2010/main" val="1469930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3.jpg"/><Relationship Id="rId5" Type="http://schemas.openxmlformats.org/officeDocument/2006/relationships/image" Target="../media/image1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3.jp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jp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image" Target="../media/image3.jp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4.jpe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4.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62.vml"/><Relationship Id="rId6" Type="http://schemas.openxmlformats.org/officeDocument/2006/relationships/image" Target="../media/image4.jpeg"/><Relationship Id="rId5" Type="http://schemas.openxmlformats.org/officeDocument/2006/relationships/image" Target="../media/image14.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63.vml"/><Relationship Id="rId6" Type="http://schemas.openxmlformats.org/officeDocument/2006/relationships/image" Target="../media/image4.jpeg"/><Relationship Id="rId5" Type="http://schemas.openxmlformats.org/officeDocument/2006/relationships/image" Target="../media/image14.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66.xml"/><Relationship Id="rId1" Type="http://schemas.openxmlformats.org/officeDocument/2006/relationships/vmlDrawing" Target="../drawings/vmlDrawing64.vml"/><Relationship Id="rId6" Type="http://schemas.openxmlformats.org/officeDocument/2006/relationships/image" Target="../media/image7.png"/><Relationship Id="rId5" Type="http://schemas.openxmlformats.org/officeDocument/2006/relationships/image" Target="../media/image14.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4.jpeg"/><Relationship Id="rId2" Type="http://schemas.openxmlformats.org/officeDocument/2006/relationships/tags" Target="../tags/tag67.xml"/><Relationship Id="rId1" Type="http://schemas.openxmlformats.org/officeDocument/2006/relationships/vmlDrawing" Target="../drawings/vmlDrawing65.vml"/><Relationship Id="rId6" Type="http://schemas.openxmlformats.org/officeDocument/2006/relationships/image" Target="../media/image14.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6.vml"/><Relationship Id="rId6" Type="http://schemas.openxmlformats.org/officeDocument/2006/relationships/image" Target="../media/image4.jpeg"/><Relationship Id="rId5" Type="http://schemas.openxmlformats.org/officeDocument/2006/relationships/image" Target="../media/image14.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67.vml"/><Relationship Id="rId6" Type="http://schemas.openxmlformats.org/officeDocument/2006/relationships/image" Target="../media/image4.jpeg"/><Relationship Id="rId5" Type="http://schemas.openxmlformats.org/officeDocument/2006/relationships/image" Target="../media/image14.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71.xml"/><Relationship Id="rId1" Type="http://schemas.openxmlformats.org/officeDocument/2006/relationships/vmlDrawing" Target="../drawings/vmlDrawing68.vml"/><Relationship Id="rId6" Type="http://schemas.openxmlformats.org/officeDocument/2006/relationships/image" Target="../media/image7.png"/><Relationship Id="rId5" Type="http://schemas.openxmlformats.org/officeDocument/2006/relationships/image" Target="../media/image14.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72.xml"/><Relationship Id="rId1" Type="http://schemas.openxmlformats.org/officeDocument/2006/relationships/vmlDrawing" Target="../drawings/vmlDrawing69.vml"/><Relationship Id="rId6" Type="http://schemas.openxmlformats.org/officeDocument/2006/relationships/image" Target="../media/image9.png"/><Relationship Id="rId5" Type="http://schemas.openxmlformats.org/officeDocument/2006/relationships/image" Target="../media/image14.emf"/><Relationship Id="rId4" Type="http://schemas.openxmlformats.org/officeDocument/2006/relationships/oleObject" Target="../embeddings/oleObject6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CF8247-CF58-4EDC-B936-89916F308B8A}"/>
              </a:ext>
            </a:extLst>
          </p:cNvPr>
          <p:cNvGraphicFramePr>
            <a:graphicFrameLocks noChangeAspect="1"/>
          </p:cNvGraphicFramePr>
          <p:nvPr userDrawn="1">
            <p:custDataLst>
              <p:tags r:id="rId2"/>
            </p:custDataLst>
            <p:extLst>
              <p:ext uri="{D42A27DB-BD31-4B8C-83A1-F6EECF244321}">
                <p14:modId xmlns:p14="http://schemas.microsoft.com/office/powerpoint/2010/main" val="236013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472500" y="3305176"/>
            <a:ext cx="8275964" cy="1277273"/>
          </a:xfrm>
        </p:spPr>
        <p:txBody>
          <a:bodyPr vert="horz"/>
          <a:lstStyle>
            <a:lvl1pPr algn="l" rtl="0">
              <a:defRPr sz="4000" b="1" cap="all">
                <a:latin typeface="+mj-lt"/>
                <a:ea typeface="+mj-ea"/>
                <a:cs typeface="+mj-cs"/>
                <a:sym typeface="Novel Sans Pro" panose="02000000000000000000" pitchFamily="50" charset="0"/>
              </a:defRPr>
            </a:lvl1pPr>
          </a:lstStyle>
          <a:p>
            <a:r>
              <a:rPr lang="de-DE" dirty="0"/>
              <a:t>Click to edit Master title style</a:t>
            </a:r>
          </a:p>
        </p:txBody>
      </p:sp>
      <p:sp>
        <p:nvSpPr>
          <p:cNvPr id="3" name="Textplatzhalter 2"/>
          <p:cNvSpPr>
            <a:spLocks noGrp="1"/>
          </p:cNvSpPr>
          <p:nvPr>
            <p:ph type="body" idx="1"/>
          </p:nvPr>
        </p:nvSpPr>
        <p:spPr>
          <a:xfrm>
            <a:off x="472500" y="2180035"/>
            <a:ext cx="8275964" cy="1125140"/>
          </a:xfrm>
        </p:spPr>
        <p:txBody>
          <a:bodyPr anchor="b"/>
          <a:lstStyle>
            <a:lvl1pPr marL="0" indent="0" rtl="0">
              <a:buNone/>
              <a:defRPr sz="2000">
                <a:latin typeface="+mn-lt"/>
                <a:ea typeface="+mn-ea"/>
                <a:cs typeface="+mn-cs"/>
                <a:sym typeface="Novel Sans Pro" panose="02000000000000000000" pitchFamily="50"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p:txBody>
      </p:sp>
    </p:spTree>
    <p:extLst>
      <p:ext uri="{BB962C8B-B14F-4D97-AF65-F5344CB8AC3E}">
        <p14:creationId xmlns:p14="http://schemas.microsoft.com/office/powerpoint/2010/main" val="30922751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A686D2-38BF-4267-B877-7A16B14028C7}"/>
              </a:ext>
            </a:extLst>
          </p:cNvPr>
          <p:cNvGraphicFramePr>
            <a:graphicFrameLocks noChangeAspect="1"/>
          </p:cNvGraphicFramePr>
          <p:nvPr userDrawn="1">
            <p:custDataLst>
              <p:tags r:id="rId2"/>
            </p:custDataLst>
            <p:extLst>
              <p:ext uri="{D42A27DB-BD31-4B8C-83A1-F6EECF244321}">
                <p14:modId xmlns:p14="http://schemas.microsoft.com/office/powerpoint/2010/main" val="408167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11" name="Picture 10" descr="A picture containing graphical user interface&#10;&#10;Description automatically generated">
            <a:extLst>
              <a:ext uri="{FF2B5EF4-FFF2-40B4-BE49-F238E27FC236}">
                <a16:creationId xmlns:a16="http://schemas.microsoft.com/office/drawing/2014/main" id="{AE68415C-DB14-4388-B4E8-01ABEE30A67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0836CFC7-28D6-4F4A-BDCC-5B95902A74F7}"/>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0214E22D-9BC2-4DA4-A077-E75458F12F77}"/>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7D625C67-F07F-4E49-AB45-320EFC8304B0}"/>
              </a:ext>
            </a:extLst>
          </p:cNvPr>
          <p:cNvSpPr>
            <a:spLocks noGrp="1"/>
          </p:cNvSpPr>
          <p:nvPr>
            <p:ph type="title"/>
          </p:nvPr>
        </p:nvSpPr>
        <p:spPr>
          <a:xfrm>
            <a:off x="472501" y="300174"/>
            <a:ext cx="6187732" cy="415498"/>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176996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F1D631-25DD-43A5-9079-26FF53B4DC4F}"/>
              </a:ext>
            </a:extLst>
          </p:cNvPr>
          <p:cNvGraphicFramePr>
            <a:graphicFrameLocks noChangeAspect="1"/>
          </p:cNvGraphicFramePr>
          <p:nvPr userDrawn="1">
            <p:custDataLst>
              <p:tags r:id="rId2"/>
            </p:custDataLst>
            <p:extLst>
              <p:ext uri="{D42A27DB-BD31-4B8C-83A1-F6EECF244321}">
                <p14:modId xmlns:p14="http://schemas.microsoft.com/office/powerpoint/2010/main" val="370323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24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9" name="Picture 8" descr="A picture containing graphical user interface&#10;&#10;Description automatically generated">
            <a:extLst>
              <a:ext uri="{FF2B5EF4-FFF2-40B4-BE49-F238E27FC236}">
                <a16:creationId xmlns:a16="http://schemas.microsoft.com/office/drawing/2014/main" id="{C418B213-CC8C-446F-8BC5-6353DBB0ECAA}"/>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Slide Number Placeholder 28">
            <a:extLst>
              <a:ext uri="{FF2B5EF4-FFF2-40B4-BE49-F238E27FC236}">
                <a16:creationId xmlns:a16="http://schemas.microsoft.com/office/drawing/2014/main" id="{CEC6C2D0-6164-4C63-BFFF-65ED862C83B8}"/>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CA56524A-778A-476C-9CC3-16BFDD0CD2A7}"/>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535553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914F70-8DA6-4CF3-9105-C1EAB7F4D433}"/>
              </a:ext>
            </a:extLst>
          </p:cNvPr>
          <p:cNvGraphicFramePr>
            <a:graphicFrameLocks noChangeAspect="1"/>
          </p:cNvGraphicFramePr>
          <p:nvPr userDrawn="1">
            <p:custDataLst>
              <p:tags r:id="rId2"/>
            </p:custDataLst>
            <p:extLst>
              <p:ext uri="{D42A27DB-BD31-4B8C-83A1-F6EECF244321}">
                <p14:modId xmlns:p14="http://schemas.microsoft.com/office/powerpoint/2010/main" val="6721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1914F70-8DA6-4CF3-9105-C1EAB7F4D4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rtl="0">
              <a:defRPr sz="1400" baseline="0">
                <a:latin typeface="+mn-lt"/>
                <a:ea typeface="+mn-ea"/>
                <a:cs typeface="+mn-cs"/>
                <a:sym typeface="Novel Sans Pro" panose="02000000000000000000" pitchFamily="50"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vert="horz" wrap="square" lIns="0" tIns="0" rIns="320040" bIns="0" anchor="ctr">
            <a:noAutofit/>
          </a:bodyPr>
          <a:lstStyle>
            <a:lvl1pPr rtl="0">
              <a:defRPr sz="32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6" name="Picture 15" descr="A picture containing graphical user interface&#10;&#10;Description automatically generated">
            <a:extLst>
              <a:ext uri="{FF2B5EF4-FFF2-40B4-BE49-F238E27FC236}">
                <a16:creationId xmlns:a16="http://schemas.microsoft.com/office/drawing/2014/main" id="{C87CCDDF-8BD2-4FCE-A604-07C91C30C583}"/>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8" name="Slide Number Placeholder 28">
            <a:extLst>
              <a:ext uri="{FF2B5EF4-FFF2-40B4-BE49-F238E27FC236}">
                <a16:creationId xmlns:a16="http://schemas.microsoft.com/office/drawing/2014/main" id="{0752FBA6-D8D7-4D9E-BF13-79740389AC1D}"/>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9" name="Copyright" hidden="1">
            <a:extLst>
              <a:ext uri="{FF2B5EF4-FFF2-40B4-BE49-F238E27FC236}">
                <a16:creationId xmlns:a16="http://schemas.microsoft.com/office/drawing/2014/main" id="{0E4B1840-25D0-4E07-A62B-226DF8E05C3E}"/>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068367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3F016-B917-4BB8-A74B-E675BA872382}"/>
              </a:ext>
            </a:extLst>
          </p:cNvPr>
          <p:cNvGraphicFramePr>
            <a:graphicFrameLocks noChangeAspect="1"/>
          </p:cNvGraphicFramePr>
          <p:nvPr userDrawn="1">
            <p:custDataLst>
              <p:tags r:id="rId2"/>
            </p:custDataLst>
            <p:extLst>
              <p:ext uri="{D42A27DB-BD31-4B8C-83A1-F6EECF244321}">
                <p14:modId xmlns:p14="http://schemas.microsoft.com/office/powerpoint/2010/main" val="410341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5093F016-B917-4BB8-A74B-E675BA8723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rtl="0">
              <a:defRPr sz="1200">
                <a:solidFill>
                  <a:schemeClr val="tx1"/>
                </a:solidFill>
                <a:latin typeface="+mn-lt"/>
                <a:ea typeface="+mn-ea"/>
                <a:cs typeface="+mn-cs"/>
                <a:sym typeface="Novel Sans Pro" panose="02000000000000000000" pitchFamily="50"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5" name="Title 1"/>
          <p:cNvSpPr>
            <a:spLocks noGrp="1"/>
          </p:cNvSpPr>
          <p:nvPr>
            <p:ph type="title" hasCustomPrompt="1"/>
          </p:nvPr>
        </p:nvSpPr>
        <p:spPr bwMode="black">
          <a:xfrm>
            <a:off x="473202" y="1363039"/>
            <a:ext cx="4685664" cy="2465100"/>
          </a:xfrm>
          <a:prstGeom prst="rect">
            <a:avLst/>
          </a:prstGeom>
        </p:spPr>
        <p:txBody>
          <a:bodyPr vert="horz" anchor="ctr">
            <a:noAutofit/>
          </a:bodyPr>
          <a:lstStyle>
            <a:lvl1pPr rtl="0">
              <a:defRPr sz="32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6" name="Picture 15" descr="A picture containing graphical user interface&#10;&#10;Description automatically generated">
            <a:extLst>
              <a:ext uri="{FF2B5EF4-FFF2-40B4-BE49-F238E27FC236}">
                <a16:creationId xmlns:a16="http://schemas.microsoft.com/office/drawing/2014/main" id="{B802953A-06C6-42E3-A106-818B05AE43E9}"/>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7" name="Slide Number Placeholder 28">
            <a:extLst>
              <a:ext uri="{FF2B5EF4-FFF2-40B4-BE49-F238E27FC236}">
                <a16:creationId xmlns:a16="http://schemas.microsoft.com/office/drawing/2014/main" id="{B6330272-965A-4196-9AB7-C535BEFF95B7}"/>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8" name="Copyright" hidden="1">
            <a:extLst>
              <a:ext uri="{FF2B5EF4-FFF2-40B4-BE49-F238E27FC236}">
                <a16:creationId xmlns:a16="http://schemas.microsoft.com/office/drawing/2014/main" id="{CE71EA33-7857-4D43-998D-D816929E8D0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390978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049715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36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A picture containing graphical user interface&#10;&#10;Description automatically generated">
            <a:extLst>
              <a:ext uri="{FF2B5EF4-FFF2-40B4-BE49-F238E27FC236}">
                <a16:creationId xmlns:a16="http://schemas.microsoft.com/office/drawing/2014/main" id="{3EBADC37-36BA-4196-8502-4EDD83169FF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C9389CEB-6D6B-4BEC-A56C-DEC90AFF205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5" name="Copyright" hidden="1">
            <a:extLst>
              <a:ext uri="{FF2B5EF4-FFF2-40B4-BE49-F238E27FC236}">
                <a16:creationId xmlns:a16="http://schemas.microsoft.com/office/drawing/2014/main" id="{B634069F-94CD-4FF0-B6D6-6529CBBDC0D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6" name="Title 4">
            <a:extLst>
              <a:ext uri="{FF2B5EF4-FFF2-40B4-BE49-F238E27FC236}">
                <a16:creationId xmlns:a16="http://schemas.microsoft.com/office/drawing/2014/main" id="{C3465ECA-69CB-4ABD-B077-33A3B25AF347}"/>
              </a:ext>
            </a:extLst>
          </p:cNvPr>
          <p:cNvSpPr>
            <a:spLocks noGrp="1"/>
          </p:cNvSpPr>
          <p:nvPr>
            <p:ph type="title" hasCustomPrompt="1"/>
          </p:nvPr>
        </p:nvSpPr>
        <p:spPr>
          <a:xfrm>
            <a:off x="472500" y="2073153"/>
            <a:ext cx="1858979" cy="985733"/>
          </a:xfrm>
        </p:spPr>
        <p:txBody>
          <a:bodyPr vert="horz" anchor="ctr" anchorCtr="0">
            <a:noAutofit/>
          </a:bodyPr>
          <a:lstStyle>
            <a:lvl1pPr rtl="0">
              <a:defRPr>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Tree>
    <p:extLst>
      <p:ext uri="{BB962C8B-B14F-4D97-AF65-F5344CB8AC3E}">
        <p14:creationId xmlns:p14="http://schemas.microsoft.com/office/powerpoint/2010/main" val="4244982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16210D-94AC-48B1-BBF6-B979A5599EAF}"/>
              </a:ext>
            </a:extLst>
          </p:cNvPr>
          <p:cNvGraphicFramePr>
            <a:graphicFrameLocks noChangeAspect="1"/>
          </p:cNvGraphicFramePr>
          <p:nvPr userDrawn="1">
            <p:custDataLst>
              <p:tags r:id="rId2"/>
            </p:custDataLst>
            <p:extLst>
              <p:ext uri="{D42A27DB-BD31-4B8C-83A1-F6EECF244321}">
                <p14:modId xmlns:p14="http://schemas.microsoft.com/office/powerpoint/2010/main" val="188606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5" name="Title 4"/>
          <p:cNvSpPr>
            <a:spLocks noGrp="1"/>
          </p:cNvSpPr>
          <p:nvPr>
            <p:ph type="title" hasCustomPrompt="1"/>
          </p:nvPr>
        </p:nvSpPr>
        <p:spPr>
          <a:xfrm>
            <a:off x="472500" y="2073153"/>
            <a:ext cx="1858979" cy="985733"/>
          </a:xfrm>
        </p:spPr>
        <p:txBody>
          <a:bodyPr vert="horz" anchor="ctr" anchorCtr="0">
            <a:noAutofit/>
          </a:bodyPr>
          <a:lstStyle>
            <a:lvl1pPr rtl="0">
              <a:defRPr>
                <a:solidFill>
                  <a:srgbClr val="FFFFFF"/>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descr="A picture containing graphical user interface&#10;&#10;Description automatically generated">
            <a:extLst>
              <a:ext uri="{FF2B5EF4-FFF2-40B4-BE49-F238E27FC236}">
                <a16:creationId xmlns:a16="http://schemas.microsoft.com/office/drawing/2014/main" id="{719763A5-5A0E-4190-996C-687130991411}"/>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3F27E422-74B3-4FF6-ACE7-CF187D045EE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E366139E-B540-4039-8749-AC3CCBE0DC0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94121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F480E1-C974-460A-80AC-01AB5F61EE32}"/>
              </a:ext>
            </a:extLst>
          </p:cNvPr>
          <p:cNvGraphicFramePr>
            <a:graphicFrameLocks noChangeAspect="1"/>
          </p:cNvGraphicFramePr>
          <p:nvPr userDrawn="1">
            <p:custDataLst>
              <p:tags r:id="rId2"/>
            </p:custDataLst>
            <p:extLst>
              <p:ext uri="{D42A27DB-BD31-4B8C-83A1-F6EECF244321}">
                <p14:modId xmlns:p14="http://schemas.microsoft.com/office/powerpoint/2010/main" val="3454658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9AF480E1-C974-460A-80AC-01AB5F61E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200" b="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descr="A picture containing graphical user interface&#10;&#10;Description automatically generated">
            <a:extLst>
              <a:ext uri="{FF2B5EF4-FFF2-40B4-BE49-F238E27FC236}">
                <a16:creationId xmlns:a16="http://schemas.microsoft.com/office/drawing/2014/main" id="{49E8CBB1-3B01-4FF3-9059-F83245F89B19}"/>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99A3A38A-3C49-4E35-8A10-C1313276C74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554733C2-3C9A-4C1E-B317-73FA518AFF37}"/>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296007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2585C2-D8B8-4F70-A9FC-52EF92ADA81F}"/>
              </a:ext>
            </a:extLst>
          </p:cNvPr>
          <p:cNvGraphicFramePr>
            <a:graphicFrameLocks noChangeAspect="1"/>
          </p:cNvGraphicFramePr>
          <p:nvPr userDrawn="1">
            <p:custDataLst>
              <p:tags r:id="rId2"/>
            </p:custDataLst>
            <p:extLst>
              <p:ext uri="{D42A27DB-BD31-4B8C-83A1-F6EECF244321}">
                <p14:modId xmlns:p14="http://schemas.microsoft.com/office/powerpoint/2010/main" val="175226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3B2585C2-D8B8-4F70-A9FC-52EF92ADA8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200" b="0">
                <a:solidFill>
                  <a:srgbClr val="FFFFFF"/>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3F2F4B05-F350-48F2-887F-F8C103B5362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9AD5C2FC-FF73-4687-9E1B-87AB611B84D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E760065E-3AB4-462D-96C5-3AE77577FE0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61330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70BEF6-5F7D-4F8B-8189-EE89C6171A1D}"/>
              </a:ext>
            </a:extLst>
          </p:cNvPr>
          <p:cNvGraphicFramePr>
            <a:graphicFrameLocks noChangeAspect="1"/>
          </p:cNvGraphicFramePr>
          <p:nvPr userDrawn="1">
            <p:custDataLst>
              <p:tags r:id="rId2"/>
            </p:custDataLst>
            <p:extLst>
              <p:ext uri="{D42A27DB-BD31-4B8C-83A1-F6EECF244321}">
                <p14:modId xmlns:p14="http://schemas.microsoft.com/office/powerpoint/2010/main" val="35447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descr="A picture containing graphical user interface&#10;&#10;Description automatically generated">
            <a:extLst>
              <a:ext uri="{FF2B5EF4-FFF2-40B4-BE49-F238E27FC236}">
                <a16:creationId xmlns:a16="http://schemas.microsoft.com/office/drawing/2014/main" id="{68B42B32-93ED-4D9C-9ED9-973B57DBACA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2DD41621-4738-4158-9B2D-F1EF44E1CDF9}"/>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9CB9ACEC-2A25-417B-8642-7E50DE66962E}"/>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0F97551E-1927-4208-8FE4-2A35C69FF734}"/>
              </a:ext>
            </a:extLst>
          </p:cNvPr>
          <p:cNvSpPr>
            <a:spLocks noGrp="1"/>
          </p:cNvSpPr>
          <p:nvPr>
            <p:ph type="title"/>
          </p:nvPr>
        </p:nvSpPr>
        <p:spPr>
          <a:xfrm>
            <a:off x="472501" y="300174"/>
            <a:ext cx="3595444" cy="784830"/>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882741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7BA428-2B62-4E78-96EC-6CA3A19D39AE}"/>
              </a:ext>
            </a:extLst>
          </p:cNvPr>
          <p:cNvGraphicFramePr>
            <a:graphicFrameLocks noChangeAspect="1"/>
          </p:cNvGraphicFramePr>
          <p:nvPr userDrawn="1">
            <p:custDataLst>
              <p:tags r:id="rId2"/>
            </p:custDataLst>
            <p:extLst>
              <p:ext uri="{D42A27DB-BD31-4B8C-83A1-F6EECF244321}">
                <p14:modId xmlns:p14="http://schemas.microsoft.com/office/powerpoint/2010/main" val="71345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descr="A picture containing graphical user interface&#10;&#10;Description automatically generated">
            <a:extLst>
              <a:ext uri="{FF2B5EF4-FFF2-40B4-BE49-F238E27FC236}">
                <a16:creationId xmlns:a16="http://schemas.microsoft.com/office/drawing/2014/main" id="{50209C06-4EA9-44F0-80CA-491F5656A092}"/>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6248C9BF-F01E-483A-8ADA-EA087CC486D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6" name="Copyright" hidden="1">
            <a:extLst>
              <a:ext uri="{FF2B5EF4-FFF2-40B4-BE49-F238E27FC236}">
                <a16:creationId xmlns:a16="http://schemas.microsoft.com/office/drawing/2014/main" id="{0A5D62B1-91F6-42A3-9FB7-84C86D912EBB}"/>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ECFF7320-31A1-4DF1-B83D-0EC9F4C1AA6B}"/>
              </a:ext>
            </a:extLst>
          </p:cNvPr>
          <p:cNvSpPr>
            <a:spLocks noGrp="1"/>
          </p:cNvSpPr>
          <p:nvPr>
            <p:ph type="title"/>
          </p:nvPr>
        </p:nvSpPr>
        <p:spPr>
          <a:xfrm>
            <a:off x="472501" y="300174"/>
            <a:ext cx="3451428" cy="784830"/>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586911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 Title Slide">
    <p:bg>
      <p:bgPr>
        <a:blipFill dpi="0" rotWithShape="0">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FA975-70B8-45C9-9965-AA1DAC63FF26}"/>
              </a:ext>
            </a:extLst>
          </p:cNvPr>
          <p:cNvGraphicFramePr>
            <a:graphicFrameLocks noChangeAspect="1"/>
          </p:cNvGraphicFramePr>
          <p:nvPr userDrawn="1">
            <p:custDataLst>
              <p:tags r:id="rId2"/>
            </p:custDataLst>
            <p:extLst>
              <p:ext uri="{D42A27DB-BD31-4B8C-83A1-F6EECF244321}">
                <p14:modId xmlns:p14="http://schemas.microsoft.com/office/powerpoint/2010/main" val="697168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5" imgW="328" imgH="328" progId="TCLayout.ActiveDocument.1">
                  <p:embed/>
                </p:oleObj>
              </mc:Choice>
              <mc:Fallback>
                <p:oleObj name="think-cell Slide" r:id="rId5" imgW="328" imgH="328" progId="TCLayout.ActiveDocument.1">
                  <p:embed/>
                  <p:pic>
                    <p:nvPicPr>
                      <p:cNvPr id="3" name="Object 2" hidden="1">
                        <a:extLst>
                          <a:ext uri="{FF2B5EF4-FFF2-40B4-BE49-F238E27FC236}">
                            <a16:creationId xmlns:a16="http://schemas.microsoft.com/office/drawing/2014/main" id="{796FA975-70B8-45C9-9965-AA1DAC63FF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986" name="Rectangle 2"/>
          <p:cNvSpPr>
            <a:spLocks noGrp="1" noChangeArrowheads="1"/>
          </p:cNvSpPr>
          <p:nvPr>
            <p:ph type="ctrTitle"/>
          </p:nvPr>
        </p:nvSpPr>
        <p:spPr>
          <a:xfrm>
            <a:off x="2411760" y="1845737"/>
            <a:ext cx="5325716" cy="1277273"/>
          </a:xfrm>
        </p:spPr>
        <p:txBody>
          <a:bodyPr vert="horz" wrap="square" lIns="91440" rIns="0" anchor="b">
            <a:spAutoFit/>
          </a:bodyPr>
          <a:lstStyle>
            <a:lvl1pPr algn="r" rtl="0">
              <a:defRPr sz="4000">
                <a:solidFill>
                  <a:schemeClr val="bg1"/>
                </a:solidFill>
                <a:latin typeface="+mj-lt"/>
                <a:ea typeface="+mj-ea"/>
                <a:cs typeface="+mj-cs"/>
                <a:sym typeface="Novel Sans Pro" panose="02000000000000000000" pitchFamily="50" charset="0"/>
              </a:defRPr>
            </a:lvl1pPr>
          </a:lstStyle>
          <a:p>
            <a:pPr lvl="0"/>
            <a:r>
              <a:rPr lang="de-DE" noProof="0" dirty="0"/>
              <a:t>Click to edit Master title style</a:t>
            </a:r>
          </a:p>
        </p:txBody>
      </p:sp>
      <p:sp>
        <p:nvSpPr>
          <p:cNvPr id="41987" name="Rectangle 3"/>
          <p:cNvSpPr>
            <a:spLocks noGrp="1" noChangeArrowheads="1"/>
          </p:cNvSpPr>
          <p:nvPr>
            <p:ph type="subTitle" idx="1"/>
          </p:nvPr>
        </p:nvSpPr>
        <p:spPr>
          <a:xfrm>
            <a:off x="971551" y="3219450"/>
            <a:ext cx="6761163" cy="353943"/>
          </a:xfrm>
        </p:spPr>
        <p:txBody>
          <a:bodyPr lIns="91440" rIns="0">
            <a:spAutoFit/>
          </a:bodyPr>
          <a:lstStyle>
            <a:lvl1pPr marL="0" indent="0" algn="r" rtl="0">
              <a:defRPr sz="2000" i="1">
                <a:solidFill>
                  <a:schemeClr val="bg1"/>
                </a:solidFill>
                <a:latin typeface="+mn-lt"/>
                <a:ea typeface="+mn-ea"/>
                <a:cs typeface="+mn-cs"/>
                <a:sym typeface="Novel Sans Pro" panose="02000000000000000000" pitchFamily="50" charset="0"/>
              </a:defRPr>
            </a:lvl1pPr>
          </a:lstStyle>
          <a:p>
            <a:pPr lvl="0"/>
            <a:r>
              <a:rPr lang="de-DE" noProof="0" dirty="0"/>
              <a:t>Click to edit Master subtitle style</a:t>
            </a:r>
          </a:p>
        </p:txBody>
      </p:sp>
    </p:spTree>
    <p:extLst>
      <p:ext uri="{BB962C8B-B14F-4D97-AF65-F5344CB8AC3E}">
        <p14:creationId xmlns:p14="http://schemas.microsoft.com/office/powerpoint/2010/main" val="24109179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D8E08E-B761-4D94-AD72-69E13940F58F}"/>
              </a:ext>
            </a:extLst>
          </p:cNvPr>
          <p:cNvGraphicFramePr>
            <a:graphicFrameLocks noChangeAspect="1"/>
          </p:cNvGraphicFramePr>
          <p:nvPr userDrawn="1">
            <p:custDataLst>
              <p:tags r:id="rId2"/>
            </p:custDataLst>
            <p:extLst>
              <p:ext uri="{D42A27DB-BD31-4B8C-83A1-F6EECF244321}">
                <p14:modId xmlns:p14="http://schemas.microsoft.com/office/powerpoint/2010/main" val="393981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ECD8E08E-B761-4D94-AD72-69E13940F5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picture containing graphical user interface&#10;&#10;Description automatically generated">
            <a:extLst>
              <a:ext uri="{FF2B5EF4-FFF2-40B4-BE49-F238E27FC236}">
                <a16:creationId xmlns:a16="http://schemas.microsoft.com/office/drawing/2014/main" id="{8ED78223-6D8B-477F-87CC-E1C81CCC0FFB}"/>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6759DDE6-816A-4A91-A70E-33354D14043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6" name="Copyright" hidden="1">
            <a:extLst>
              <a:ext uri="{FF2B5EF4-FFF2-40B4-BE49-F238E27FC236}">
                <a16:creationId xmlns:a16="http://schemas.microsoft.com/office/drawing/2014/main" id="{AF74D67D-D814-4149-BB34-CCB6249DC64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DCEA8299-76E5-4136-AB5F-7233AF4F0943}"/>
              </a:ext>
            </a:extLst>
          </p:cNvPr>
          <p:cNvSpPr>
            <a:spLocks noGrp="1"/>
          </p:cNvSpPr>
          <p:nvPr>
            <p:ph type="title"/>
          </p:nvPr>
        </p:nvSpPr>
        <p:spPr>
          <a:xfrm>
            <a:off x="472501" y="300174"/>
            <a:ext cx="5107612" cy="415498"/>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104821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CDDABE-D4FC-4A13-9955-6B3042E8CC5E}"/>
              </a:ext>
            </a:extLst>
          </p:cNvPr>
          <p:cNvGraphicFramePr>
            <a:graphicFrameLocks noChangeAspect="1"/>
          </p:cNvGraphicFramePr>
          <p:nvPr userDrawn="1">
            <p:custDataLst>
              <p:tags r:id="rId2"/>
            </p:custDataLst>
            <p:extLst>
              <p:ext uri="{D42A27DB-BD31-4B8C-83A1-F6EECF244321}">
                <p14:modId xmlns:p14="http://schemas.microsoft.com/office/powerpoint/2010/main" val="912949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97CDDABE-D4FC-4A13-9955-6B3042E8CC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D663E507-6170-4E91-8929-833636397C1A}"/>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4590CFFE-883B-4E5E-A28B-A5167543302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D2014090-55E9-4DA8-A2B8-CC4A478421C4}"/>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66DAA4F9-8960-4CF0-A348-C47E4C949F8B}"/>
              </a:ext>
            </a:extLst>
          </p:cNvPr>
          <p:cNvSpPr>
            <a:spLocks noGrp="1"/>
          </p:cNvSpPr>
          <p:nvPr>
            <p:ph type="title"/>
          </p:nvPr>
        </p:nvSpPr>
        <p:spPr>
          <a:xfrm>
            <a:off x="472501" y="300174"/>
            <a:ext cx="5107612" cy="415498"/>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1034872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53000">
              <a:srgbClr val="A8BCCF"/>
            </a:gs>
            <a:gs pos="4000">
              <a:srgbClr val="4C7895"/>
            </a:gs>
            <a:gs pos="92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E6BBCB-D4D2-4DCC-AC20-806B475BCC6E}"/>
              </a:ext>
            </a:extLst>
          </p:cNvPr>
          <p:cNvGraphicFramePr>
            <a:graphicFrameLocks noChangeAspect="1"/>
          </p:cNvGraphicFramePr>
          <p:nvPr userDrawn="1">
            <p:custDataLst>
              <p:tags r:id="rId2"/>
            </p:custDataLst>
            <p:extLst>
              <p:ext uri="{D42A27DB-BD31-4B8C-83A1-F6EECF244321}">
                <p14:modId xmlns:p14="http://schemas.microsoft.com/office/powerpoint/2010/main" val="2953364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4E6BBCB-D4D2-4DCC-AC20-806B475BCC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pic>
        <p:nvPicPr>
          <p:cNvPr id="8" name="Picture 7" descr="A picture containing graphical user interface&#10;&#10;Description automatically generated">
            <a:extLst>
              <a:ext uri="{FF2B5EF4-FFF2-40B4-BE49-F238E27FC236}">
                <a16:creationId xmlns:a16="http://schemas.microsoft.com/office/drawing/2014/main" id="{D0FFC337-C2D9-4A06-B379-E1FDFA42E4E7}"/>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39A7D438-1AEA-414B-8018-13B1E674312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000BC161-B8CA-451F-A1E5-CF51DE444D4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144562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7FC761-9BF5-4E13-A5DE-178F03D8D262}"/>
              </a:ext>
            </a:extLst>
          </p:cNvPr>
          <p:cNvGraphicFramePr>
            <a:graphicFrameLocks noChangeAspect="1"/>
          </p:cNvGraphicFramePr>
          <p:nvPr userDrawn="1">
            <p:custDataLst>
              <p:tags r:id="rId2"/>
            </p:custDataLst>
            <p:extLst>
              <p:ext uri="{D42A27DB-BD31-4B8C-83A1-F6EECF244321}">
                <p14:modId xmlns:p14="http://schemas.microsoft.com/office/powerpoint/2010/main" val="1258698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E87FC761-9BF5-4E13-A5DE-178F03D8D2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472500" y="469106"/>
            <a:ext cx="699516" cy="699516"/>
          </a:xfrm>
          <a:prstGeom prst="rect">
            <a:avLst/>
          </a:prstGeom>
          <a:noFill/>
          <a:ln w="9525" cap="flat" cmpd="sng" algn="ctr">
            <a:solidFill>
              <a:srgbClr val="0A4E7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pic>
        <p:nvPicPr>
          <p:cNvPr id="9" name="Picture 8" descr="A picture containing graphical user interface&#10;&#10;Description automatically generated">
            <a:extLst>
              <a:ext uri="{FF2B5EF4-FFF2-40B4-BE49-F238E27FC236}">
                <a16:creationId xmlns:a16="http://schemas.microsoft.com/office/drawing/2014/main" id="{D965CB49-3BC8-4B98-8E2C-EB2A48FF6095}"/>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Copyright" hidden="1">
            <a:extLst>
              <a:ext uri="{FF2B5EF4-FFF2-40B4-BE49-F238E27FC236}">
                <a16:creationId xmlns:a16="http://schemas.microsoft.com/office/drawing/2014/main" id="{7964C09C-6226-496F-8B9D-935E2C44687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514190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A4E7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8042123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560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95CB73D-21DC-4996-82C3-F99337CF884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11" name="Freeform 58">
            <a:extLst>
              <a:ext uri="{FF2B5EF4-FFF2-40B4-BE49-F238E27FC236}">
                <a16:creationId xmlns:a16="http://schemas.microsoft.com/office/drawing/2014/main" id="{19C88289-C7F0-445E-AEA1-317B59BDFED5}"/>
              </a:ext>
            </a:extLst>
          </p:cNvPr>
          <p:cNvSpPr>
            <a:spLocks/>
          </p:cNvSpPr>
          <p:nvPr userDrawn="1"/>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12" name="Picture 11" descr="A picture containing graphical user interface&#10;&#10;Description automatically generated">
            <a:extLst>
              <a:ext uri="{FF2B5EF4-FFF2-40B4-BE49-F238E27FC236}">
                <a16:creationId xmlns:a16="http://schemas.microsoft.com/office/drawing/2014/main" id="{A122CA88-8EA6-4E89-B5F6-F1DAAAE6CF5F}"/>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47C47DAF-DEA5-4822-8DA0-76226190A8F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197029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9F743B-84C3-4E15-8A62-17F926FE45C2}"/>
              </a:ext>
            </a:extLst>
          </p:cNvPr>
          <p:cNvGraphicFramePr>
            <a:graphicFrameLocks noChangeAspect="1"/>
          </p:cNvGraphicFramePr>
          <p:nvPr userDrawn="1">
            <p:custDataLst>
              <p:tags r:id="rId2"/>
            </p:custDataLst>
            <p:extLst>
              <p:ext uri="{D42A27DB-BD31-4B8C-83A1-F6EECF244321}">
                <p14:modId xmlns:p14="http://schemas.microsoft.com/office/powerpoint/2010/main" val="36454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28">
            <a:extLst>
              <a:ext uri="{FF2B5EF4-FFF2-40B4-BE49-F238E27FC236}">
                <a16:creationId xmlns:a16="http://schemas.microsoft.com/office/drawing/2014/main" id="{DE74363C-B27F-404E-A144-945485D07BC4}"/>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9" name="Copyright" hidden="1">
            <a:extLst>
              <a:ext uri="{FF2B5EF4-FFF2-40B4-BE49-F238E27FC236}">
                <a16:creationId xmlns:a16="http://schemas.microsoft.com/office/drawing/2014/main" id="{2769BCB7-B97D-4173-A991-60236F8AC55F}"/>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0" name="Title 9">
            <a:extLst>
              <a:ext uri="{FF2B5EF4-FFF2-40B4-BE49-F238E27FC236}">
                <a16:creationId xmlns:a16="http://schemas.microsoft.com/office/drawing/2014/main" id="{C38BC3CE-C719-4908-90D1-B794A6DBAC59}"/>
              </a:ext>
            </a:extLst>
          </p:cNvPr>
          <p:cNvSpPr>
            <a:spLocks noGrp="1"/>
          </p:cNvSpPr>
          <p:nvPr>
            <p:ph type="title"/>
          </p:nvPr>
        </p:nvSpPr>
        <p:spPr/>
        <p:txBody>
          <a:bodyPr vert="horz"/>
          <a:lstStyle>
            <a:lvl1pPr rtl="0">
              <a:defRPr>
                <a:solidFill>
                  <a:schemeClr val="bg1"/>
                </a:solidFill>
                <a:latin typeface="+mj-lt"/>
                <a:ea typeface="+mj-ea"/>
                <a:cs typeface="+mj-cs"/>
                <a:sym typeface="Novel Sans Pro" panose="02000000000000000000" pitchFamily="50" charset="0"/>
              </a:defRPr>
            </a:lvl1pPr>
          </a:lstStyle>
          <a:p>
            <a:r>
              <a:rPr lang="de-DE" dirty="0"/>
              <a:t>Click to edit Master title style</a:t>
            </a:r>
          </a:p>
        </p:txBody>
      </p:sp>
      <p:sp>
        <p:nvSpPr>
          <p:cNvPr id="14" name="Rectangle 13">
            <a:extLst>
              <a:ext uri="{FF2B5EF4-FFF2-40B4-BE49-F238E27FC236}">
                <a16:creationId xmlns:a16="http://schemas.microsoft.com/office/drawing/2014/main" id="{07C6E5A2-A831-4972-91FC-B7DACDC5EB6E}"/>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287972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CE3F9D-E8FF-407E-9B66-9E4DF3D45C63}"/>
              </a:ext>
            </a:extLst>
          </p:cNvPr>
          <p:cNvGraphicFramePr>
            <a:graphicFrameLocks noChangeAspect="1"/>
          </p:cNvGraphicFramePr>
          <p:nvPr userDrawn="1">
            <p:custDataLst>
              <p:tags r:id="rId2"/>
            </p:custDataLst>
            <p:extLst>
              <p:ext uri="{D42A27DB-BD31-4B8C-83A1-F6EECF244321}">
                <p14:modId xmlns:p14="http://schemas.microsoft.com/office/powerpoint/2010/main" val="387758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20" name="TextBox 19"/>
          <p:cNvSpPr txBox="1"/>
          <p:nvPr userDrawn="1"/>
        </p:nvSpPr>
        <p:spPr>
          <a:xfrm>
            <a:off x="472500" y="2010058"/>
            <a:ext cx="2114550" cy="1123384"/>
          </a:xfrm>
          <a:prstGeom prst="rect">
            <a:avLst/>
          </a:prstGeom>
          <a:noFill/>
        </p:spPr>
        <p:txBody>
          <a:bodyPr wrap="square" lIns="0" tIns="0" rIns="0" bIns="0" rtlCol="0" anchor="ctr">
            <a:spAutoFit/>
          </a:bodyPr>
          <a:lstStyle/>
          <a:p>
            <a:pPr marL="0" indent="0" rtl="0">
              <a:lnSpc>
                <a:spcPct val="90000"/>
              </a:lnSpc>
              <a:spcAft>
                <a:spcPts val="0"/>
              </a:spcAft>
              <a:buFontTx/>
              <a:buNone/>
            </a:pPr>
            <a:r>
              <a:rPr lang="de-DE" sz="4000" i="1" dirty="0">
                <a:solidFill>
                  <a:srgbClr val="0A4E78"/>
                </a:solidFill>
                <a:latin typeface="+mn-lt"/>
                <a:ea typeface="+mn-ea"/>
                <a:cs typeface="+mn-cs"/>
                <a:sym typeface="Novel Sans Pro" panose="02000000000000000000" pitchFamily="50" charset="0"/>
              </a:rPr>
              <a:t>Table </a:t>
            </a:r>
            <a:r>
              <a:rPr lang="de-DE" sz="4000" i="1" dirty="0" err="1">
                <a:solidFill>
                  <a:srgbClr val="0A4E78"/>
                </a:solidFill>
                <a:latin typeface="+mn-lt"/>
                <a:ea typeface="+mn-ea"/>
                <a:cs typeface="+mn-cs"/>
                <a:sym typeface="Novel Sans Pro" panose="02000000000000000000" pitchFamily="50" charset="0"/>
              </a:rPr>
              <a:t>of</a:t>
            </a:r>
            <a:r>
              <a:rPr lang="de-DE" sz="4000" i="1" dirty="0">
                <a:solidFill>
                  <a:srgbClr val="0A4E78"/>
                </a:solidFill>
                <a:latin typeface="+mn-lt"/>
                <a:ea typeface="+mn-ea"/>
                <a:cs typeface="+mn-cs"/>
                <a:sym typeface="Novel Sans Pro" panose="02000000000000000000" pitchFamily="50" charset="0"/>
              </a:rPr>
              <a:t> </a:t>
            </a:r>
            <a:r>
              <a:rPr lang="de-DE" sz="4000" i="1" dirty="0" err="1">
                <a:solidFill>
                  <a:srgbClr val="0A4E78"/>
                </a:solidFill>
                <a:latin typeface="+mn-lt"/>
                <a:ea typeface="+mn-ea"/>
                <a:cs typeface="+mn-cs"/>
                <a:sym typeface="Novel Sans Pro" panose="02000000000000000000" pitchFamily="50" charset="0"/>
              </a:rPr>
              <a:t>contents</a:t>
            </a:r>
            <a:endParaRPr lang="de-DE" sz="4000" i="1" dirty="0">
              <a:solidFill>
                <a:srgbClr val="0A4E78"/>
              </a:solidFill>
              <a:latin typeface="+mn-lt"/>
              <a:ea typeface="+mn-ea"/>
              <a:cs typeface="+mn-cs"/>
              <a:sym typeface="Novel Sans Pro" panose="02000000000000000000" pitchFamily="50"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descr="A picture containing graphical user interface&#10;&#10;Description automatically generated">
            <a:extLst>
              <a:ext uri="{FF2B5EF4-FFF2-40B4-BE49-F238E27FC236}">
                <a16:creationId xmlns:a16="http://schemas.microsoft.com/office/drawing/2014/main" id="{1F3761D1-16AA-4808-991A-A4DAA15F880A}"/>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FBCDD55F-2055-49F5-B89D-AAAB1EABDC4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51DA97E2-78E6-4A4A-8135-0D1D66DC607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180006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53000">
              <a:srgbClr val="A8BCCF"/>
            </a:gs>
            <a:gs pos="4000">
              <a:srgbClr val="4C7895"/>
            </a:gs>
            <a:gs pos="92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E022EF-D2F2-4E66-ADF1-A026BD552D5E}"/>
              </a:ext>
            </a:extLst>
          </p:cNvPr>
          <p:cNvGraphicFramePr>
            <a:graphicFrameLocks noChangeAspect="1"/>
          </p:cNvGraphicFramePr>
          <p:nvPr userDrawn="1">
            <p:custDataLst>
              <p:tags r:id="rId2"/>
            </p:custDataLst>
            <p:extLst>
              <p:ext uri="{D42A27DB-BD31-4B8C-83A1-F6EECF244321}">
                <p14:modId xmlns:p14="http://schemas.microsoft.com/office/powerpoint/2010/main" val="2861389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8"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A picture containing graphical user interface&#10;&#10;Description automatically generated">
            <a:extLst>
              <a:ext uri="{FF2B5EF4-FFF2-40B4-BE49-F238E27FC236}">
                <a16:creationId xmlns:a16="http://schemas.microsoft.com/office/drawing/2014/main" id="{D2A51C56-8EB5-45C1-9513-EEF010FF8AE2}"/>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Slide Number Placeholder 28">
            <a:extLst>
              <a:ext uri="{FF2B5EF4-FFF2-40B4-BE49-F238E27FC236}">
                <a16:creationId xmlns:a16="http://schemas.microsoft.com/office/drawing/2014/main" id="{DA370898-CC85-41BC-AF7C-558C7F9E290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0" name="Copyright" hidden="1">
            <a:extLst>
              <a:ext uri="{FF2B5EF4-FFF2-40B4-BE49-F238E27FC236}">
                <a16:creationId xmlns:a16="http://schemas.microsoft.com/office/drawing/2014/main" id="{F33257CE-468F-4296-9A9A-34CC87AB4C0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93831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6308AF-F363-4CC7-A625-5AD4FFDE0910}"/>
              </a:ext>
            </a:extLst>
          </p:cNvPr>
          <p:cNvGraphicFramePr>
            <a:graphicFrameLocks noChangeAspect="1"/>
          </p:cNvGraphicFramePr>
          <p:nvPr userDrawn="1">
            <p:custDataLst>
              <p:tags r:id="rId2"/>
            </p:custDataLst>
            <p:extLst>
              <p:ext uri="{D42A27DB-BD31-4B8C-83A1-F6EECF244321}">
                <p14:modId xmlns:p14="http://schemas.microsoft.com/office/powerpoint/2010/main" val="54274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pyright" hidden="1">
            <a:extLst>
              <a:ext uri="{FF2B5EF4-FFF2-40B4-BE49-F238E27FC236}">
                <a16:creationId xmlns:a16="http://schemas.microsoft.com/office/drawing/2014/main" id="{359578E4-7F1C-4A78-BB4C-6DF8C4A499C9}"/>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9" name="Rectangle 8">
            <a:extLst>
              <a:ext uri="{FF2B5EF4-FFF2-40B4-BE49-F238E27FC236}">
                <a16:creationId xmlns:a16="http://schemas.microsoft.com/office/drawing/2014/main" id="{F51A33C2-2C43-412A-A289-35F476751943}"/>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2455888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 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AE9110-0C31-4E88-B227-A1F13F4C573B}"/>
              </a:ext>
            </a:extLst>
          </p:cNvPr>
          <p:cNvGraphicFramePr>
            <a:graphicFrameLocks noChangeAspect="1"/>
          </p:cNvGraphicFramePr>
          <p:nvPr userDrawn="1">
            <p:custDataLst>
              <p:tags r:id="rId2"/>
            </p:custDataLst>
            <p:extLst>
              <p:ext uri="{D42A27DB-BD31-4B8C-83A1-F6EECF244321}">
                <p14:modId xmlns:p14="http://schemas.microsoft.com/office/powerpoint/2010/main" val="11649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E3DF4F0-92B5-4289-8ABB-EDD1ED1FD441}"/>
              </a:ext>
            </a:extLst>
          </p:cNvPr>
          <p:cNvSpPr/>
          <p:nvPr userDrawn="1"/>
        </p:nvSpPr>
        <p:spPr>
          <a:xfrm>
            <a:off x="3875440" y="1583587"/>
            <a:ext cx="4584992" cy="2446824"/>
          </a:xfrm>
          <a:prstGeom prst="rect">
            <a:avLst/>
          </a:prstGeom>
        </p:spPr>
        <p:txBody>
          <a:bodyPr wrap="square" lIns="0" tIns="0" rIns="0" bIns="0" anchor="ctr">
            <a:spAutoFit/>
          </a:bodyPr>
          <a:lstStyle/>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ie von der Boston Consulting Group (BCG) erbrachten Leistungen und bereitgestellten Dokumente unterliegen den Geschäftsbedingungen von BCG (die wir auf Wunsch zur Verfügung stellen) oder einer sonstigen mit BCG getroffenen entsprechenden Vereinbarung. BCG erbringt keinerlei Beratung in rechtlichen, </a:t>
            </a:r>
            <a:r>
              <a:rPr lang="de-DE" sz="600" b="0" dirty="0" err="1">
                <a:solidFill>
                  <a:srgbClr val="0A4E78"/>
                </a:solidFill>
                <a:latin typeface="+mn-lt"/>
                <a:ea typeface="+mn-ea"/>
                <a:cs typeface="+mn-cs"/>
                <a:sym typeface="Novel Sans Pro" panose="02000000000000000000" pitchFamily="50" charset="0"/>
              </a:rPr>
              <a:t>rechnungswesenbezogenen</a:t>
            </a:r>
            <a:r>
              <a:rPr lang="de-DE" sz="600" b="0" dirty="0">
                <a:solidFill>
                  <a:srgbClr val="0A4E78"/>
                </a:solidFill>
                <a:latin typeface="+mn-lt"/>
                <a:ea typeface="+mn-ea"/>
                <a:cs typeface="+mn-cs"/>
                <a:sym typeface="Novel Sans Pro" panose="02000000000000000000" pitchFamily="50" charset="0"/>
              </a:rPr>
              <a:t> oder steuerlichen Fragen. Der Kunde ist dafür verantwortlich, zu diesen Themen unabhängige Beratung einzuholen, durch welche sich Auswirkungen auf die Empfehlungen von BCG ergeben können. Seitens BCG besteht keinerlei Verpflichtung, Aktualisierungen an den bereitgestellten Arbeitsergebnissen vorzunehmen, ungeachtet dessen, </a:t>
            </a:r>
            <a:r>
              <a:rPr lang="de-DE" sz="600" b="0" dirty="0" err="1">
                <a:solidFill>
                  <a:srgbClr val="0A4E78"/>
                </a:solidFill>
                <a:latin typeface="+mn-lt"/>
                <a:ea typeface="+mn-ea"/>
                <a:cs typeface="+mn-cs"/>
                <a:sym typeface="Novel Sans Pro" panose="02000000000000000000" pitchFamily="50" charset="0"/>
              </a:rPr>
              <a:t>dass</a:t>
            </a:r>
            <a:r>
              <a:rPr lang="de-DE" sz="600" b="0" dirty="0">
                <a:solidFill>
                  <a:srgbClr val="0A4E78"/>
                </a:solidFill>
                <a:latin typeface="+mn-lt"/>
                <a:ea typeface="+mn-ea"/>
                <a:cs typeface="+mn-cs"/>
                <a:sym typeface="Novel Sans Pro" panose="02000000000000000000" pitchFamily="50" charset="0"/>
              </a:rPr>
              <a:t> die darin enthaltenen Informationen sich als überholt oder ungenau erweisen könnten.</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ie Inhalte dieser Präsentation sind ausschließlich für den Vorstand oder die Unternehmensleitung des Kunden bestimmt und dienen allein den in der Präsentation genannten Zwecken. Die Arbeitsergebnisse dürfen ohne vorherige schriftliche Zustimmung durch BCG weder kopiert noch an natürliche oder juristische Personen außerhalb der Kundenorganisation („Dritte“) weitergegeben werden. Die Arbeitsergebnisse sind ausschließlich als Diskussionsgrundlage konzipiert und ohne begleitende mündliche Erläuterungen unvollständig. Sie dürfen daher nur im Zusammenhang mit dem Vortrag gesehen werden. </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es Weiteren ist es Dritten nicht erlaubt und für sie nicht angemessen, sich, für welchen Zweck auch immer, auf diese Arbeitsergebnisse zu beziehen. Soweit gesetzlich zulässig (und sofern von BCG nicht ausdrücklich schriftlich etwas anderes zugesagt wurde), übernimmt BCG keinerlei Haftung gegenüber Dritten. Dritte verzichten auf die Geltend-machung jeglicher Rechte und Ansprüche gegenüber BCG im Hinblick auf die erbrachten Leistungen, diese Präsentation oder sonstige Arbeitsergebnisse einschließlich deren Korrektheit oder Vollständigkeit. Erhalt und Kenntnisnahme dieses Dokuments gelten als Zustimmung hierzu. </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BCG erstellt keine Gutachten („</a:t>
            </a:r>
            <a:r>
              <a:rPr lang="de-DE" sz="600" b="0" dirty="0" err="1">
                <a:solidFill>
                  <a:srgbClr val="0A4E78"/>
                </a:solidFill>
                <a:latin typeface="+mn-lt"/>
                <a:ea typeface="+mn-ea"/>
                <a:cs typeface="+mn-cs"/>
                <a:sym typeface="Novel Sans Pro" panose="02000000000000000000" pitchFamily="50" charset="0"/>
              </a:rPr>
              <a:t>Fairness</a:t>
            </a:r>
            <a:r>
              <a:rPr lang="de-DE" sz="600" b="0" dirty="0">
                <a:solidFill>
                  <a:srgbClr val="0A4E78"/>
                </a:solidFill>
                <a:latin typeface="+mn-lt"/>
                <a:ea typeface="+mn-ea"/>
                <a:cs typeface="+mn-cs"/>
                <a:sym typeface="Novel Sans Pro" panose="02000000000000000000" pitchFamily="50" charset="0"/>
              </a:rPr>
              <a:t> </a:t>
            </a:r>
            <a:r>
              <a:rPr lang="de-DE" sz="600" b="0" dirty="0" err="1">
                <a:solidFill>
                  <a:srgbClr val="0A4E78"/>
                </a:solidFill>
                <a:latin typeface="+mn-lt"/>
                <a:ea typeface="+mn-ea"/>
                <a:cs typeface="+mn-cs"/>
                <a:sym typeface="Novel Sans Pro" panose="02000000000000000000" pitchFamily="50" charset="0"/>
              </a:rPr>
              <a:t>Opinions</a:t>
            </a:r>
            <a:r>
              <a:rPr lang="de-DE" sz="600" b="0" dirty="0">
                <a:solidFill>
                  <a:srgbClr val="0A4E78"/>
                </a:solidFill>
                <a:latin typeface="+mn-lt"/>
                <a:ea typeface="+mn-ea"/>
                <a:cs typeface="+mn-cs"/>
                <a:sym typeface="Novel Sans Pro" panose="02000000000000000000" pitchFamily="50" charset="0"/>
              </a:rPr>
              <a:t>“) oder Bewertungen zu Markttransaktionen. Die Arbeitsergebnisse sollten daher nicht als solche genutzt oder </a:t>
            </a:r>
            <a:r>
              <a:rPr lang="de-DE" sz="600" b="0" dirty="0" err="1">
                <a:solidFill>
                  <a:srgbClr val="0A4E78"/>
                </a:solidFill>
                <a:latin typeface="+mn-lt"/>
                <a:ea typeface="+mn-ea"/>
                <a:cs typeface="+mn-cs"/>
                <a:sym typeface="Novel Sans Pro" panose="02000000000000000000" pitchFamily="50" charset="0"/>
              </a:rPr>
              <a:t>aufgefasst</a:t>
            </a:r>
            <a:r>
              <a:rPr lang="de-DE" sz="600" b="0" dirty="0">
                <a:solidFill>
                  <a:srgbClr val="0A4E78"/>
                </a:solidFill>
                <a:latin typeface="+mn-lt"/>
                <a:ea typeface="+mn-ea"/>
                <a:cs typeface="+mn-cs"/>
                <a:sym typeface="Novel Sans Pro" panose="02000000000000000000" pitchFamily="50" charset="0"/>
              </a:rPr>
              <a:t> werden. Die in den Arbeitsergebnissen enthaltenen finanziellen Bewertungen, prognostizierten Markt- und Finanzdaten sowie </a:t>
            </a:r>
            <a:r>
              <a:rPr lang="de-DE" sz="600" b="0" dirty="0" err="1">
                <a:solidFill>
                  <a:srgbClr val="0A4E78"/>
                </a:solidFill>
                <a:latin typeface="+mn-lt"/>
                <a:ea typeface="+mn-ea"/>
                <a:cs typeface="+mn-cs"/>
                <a:sym typeface="Novel Sans Pro" panose="02000000000000000000" pitchFamily="50" charset="0"/>
              </a:rPr>
              <a:t>Schlussfolgerungen</a:t>
            </a:r>
            <a:r>
              <a:rPr lang="de-DE" sz="600" b="0" dirty="0">
                <a:solidFill>
                  <a:srgbClr val="0A4E78"/>
                </a:solidFill>
                <a:latin typeface="+mn-lt"/>
                <a:ea typeface="+mn-ea"/>
                <a:cs typeface="+mn-cs"/>
                <a:sym typeface="Novel Sans Pro" panose="02000000000000000000" pitchFamily="50" charset="0"/>
              </a:rPr>
              <a:t> basieren auf marktüblichen Bewertungsmethoden. Sie stellen keine endgültigen Vorhersagen dar und werden von BCG nicht zugesichert. BCG hat öffentlich zugängliche und/oder vertrauliche Daten und Annahmen, die BCG vom Kunden zur Verfügung gestellt wurden, verwendet. Eine eigenständige Überprüfung dieser Daten und Annahmen durch BCG ist nicht erfolgt. Sollten sich zugrunde liegende Daten oder operative Annahmen ändern, kann dies auch </a:t>
            </a:r>
            <a:r>
              <a:rPr lang="de-DE" sz="600" b="0" dirty="0" err="1">
                <a:solidFill>
                  <a:srgbClr val="0A4E78"/>
                </a:solidFill>
                <a:latin typeface="+mn-lt"/>
                <a:ea typeface="+mn-ea"/>
                <a:cs typeface="+mn-cs"/>
                <a:sym typeface="Novel Sans Pro" panose="02000000000000000000" pitchFamily="50" charset="0"/>
              </a:rPr>
              <a:t>Einfluss</a:t>
            </a:r>
            <a:r>
              <a:rPr lang="de-DE" sz="600" b="0" dirty="0">
                <a:solidFill>
                  <a:srgbClr val="0A4E78"/>
                </a:solidFill>
                <a:latin typeface="+mn-lt"/>
                <a:ea typeface="+mn-ea"/>
                <a:cs typeface="+mn-cs"/>
                <a:sym typeface="Novel Sans Pro" panose="02000000000000000000" pitchFamily="50" charset="0"/>
              </a:rPr>
              <a:t> auf die Analysen und </a:t>
            </a:r>
            <a:r>
              <a:rPr lang="de-DE" sz="600" b="0" dirty="0" err="1">
                <a:solidFill>
                  <a:srgbClr val="0A4E78"/>
                </a:solidFill>
                <a:latin typeface="+mn-lt"/>
                <a:ea typeface="+mn-ea"/>
                <a:cs typeface="+mn-cs"/>
                <a:sym typeface="Novel Sans Pro" panose="02000000000000000000" pitchFamily="50" charset="0"/>
              </a:rPr>
              <a:t>Schlussfolgerungen</a:t>
            </a:r>
            <a:r>
              <a:rPr lang="de-DE" sz="600" b="0" dirty="0">
                <a:solidFill>
                  <a:srgbClr val="0A4E78"/>
                </a:solidFill>
                <a:latin typeface="+mn-lt"/>
                <a:ea typeface="+mn-ea"/>
                <a:cs typeface="+mn-cs"/>
                <a:sym typeface="Novel Sans Pro" panose="02000000000000000000" pitchFamily="50" charset="0"/>
              </a:rPr>
              <a:t> haben.</a:t>
            </a:r>
          </a:p>
        </p:txBody>
      </p:sp>
      <p:sp>
        <p:nvSpPr>
          <p:cNvPr id="8" name="Title 6">
            <a:extLst>
              <a:ext uri="{FF2B5EF4-FFF2-40B4-BE49-F238E27FC236}">
                <a16:creationId xmlns:a16="http://schemas.microsoft.com/office/drawing/2014/main" id="{93B26FD2-05CB-442A-9BBC-F488158417AF}"/>
              </a:ext>
            </a:extLst>
          </p:cNvPr>
          <p:cNvSpPr txBox="1">
            <a:spLocks/>
          </p:cNvSpPr>
          <p:nvPr userDrawn="1"/>
        </p:nvSpPr>
        <p:spPr>
          <a:xfrm>
            <a:off x="639044" y="2522306"/>
            <a:ext cx="2564804" cy="56938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de-DE" sz="4000" i="1" dirty="0">
                <a:solidFill>
                  <a:srgbClr val="0A4E78"/>
                </a:solidFill>
                <a:latin typeface="+mn-lt"/>
                <a:ea typeface="+mn-ea"/>
                <a:cs typeface="+mn-cs"/>
                <a:sym typeface="Novel Sans Pro" panose="02000000000000000000" pitchFamily="50" charset="0"/>
              </a:rPr>
              <a:t>Disclaimer</a:t>
            </a:r>
          </a:p>
        </p:txBody>
      </p:sp>
      <p:cxnSp>
        <p:nvCxnSpPr>
          <p:cNvPr id="13" name="Straight Connector 12">
            <a:extLst>
              <a:ext uri="{FF2B5EF4-FFF2-40B4-BE49-F238E27FC236}">
                <a16:creationId xmlns:a16="http://schemas.microsoft.com/office/drawing/2014/main" id="{D7820240-8707-44A9-8AB8-18A3131C7652}"/>
              </a:ext>
            </a:extLst>
          </p:cNvPr>
          <p:cNvCxnSpPr/>
          <p:nvPr userDrawn="1"/>
        </p:nvCxnSpPr>
        <p:spPr>
          <a:xfrm>
            <a:off x="3563888" y="1554567"/>
            <a:ext cx="0" cy="2504864"/>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93FAFF1B-D956-4471-BB52-D92DC585A7A8}"/>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Copyright" hidden="1">
            <a:extLst>
              <a:ext uri="{FF2B5EF4-FFF2-40B4-BE49-F238E27FC236}">
                <a16:creationId xmlns:a16="http://schemas.microsoft.com/office/drawing/2014/main" id="{26D278C2-CEDE-4742-B054-F2FB6D9BD1BF}"/>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0" name="Rectangle 9">
            <a:extLst>
              <a:ext uri="{FF2B5EF4-FFF2-40B4-BE49-F238E27FC236}">
                <a16:creationId xmlns:a16="http://schemas.microsoft.com/office/drawing/2014/main" id="{252D20E7-8561-44E5-A0F4-72EFFCC94D06}"/>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2488071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 Title Only">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2192A1-7766-4950-BE5A-5AD7378B7155}"/>
              </a:ext>
            </a:extLst>
          </p:cNvPr>
          <p:cNvGraphicFramePr>
            <a:graphicFrameLocks noChangeAspect="1"/>
          </p:cNvGraphicFramePr>
          <p:nvPr userDrawn="1">
            <p:custDataLst>
              <p:tags r:id="rId2"/>
            </p:custDataLst>
            <p:extLst>
              <p:ext uri="{D42A27DB-BD31-4B8C-83A1-F6EECF244321}">
                <p14:modId xmlns:p14="http://schemas.microsoft.com/office/powerpoint/2010/main" val="3625561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a:extLst>
              <a:ext uri="{FF2B5EF4-FFF2-40B4-BE49-F238E27FC236}">
                <a16:creationId xmlns:a16="http://schemas.microsoft.com/office/drawing/2014/main" id="{645EE900-EA66-4D87-A1DF-F885C825BB7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4" name="Title 3">
            <a:extLst>
              <a:ext uri="{FF2B5EF4-FFF2-40B4-BE49-F238E27FC236}">
                <a16:creationId xmlns:a16="http://schemas.microsoft.com/office/drawing/2014/main" id="{47E22084-FC96-4C44-96A4-987F2E51261E}"/>
              </a:ext>
            </a:extLst>
          </p:cNvPr>
          <p:cNvSpPr>
            <a:spLocks noGrp="1"/>
          </p:cNvSpPr>
          <p:nvPr>
            <p:ph type="title"/>
          </p:nvPr>
        </p:nvSpPr>
        <p:spPr/>
        <p:txBody>
          <a:bodyPr vert="horz"/>
          <a:lstStyle>
            <a:lvl1pPr rtl="0">
              <a:defRPr>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edit</a:t>
            </a:r>
            <a:r>
              <a:rPr lang="de-DE" dirty="0"/>
              <a:t> Master title style</a:t>
            </a:r>
          </a:p>
        </p:txBody>
      </p:sp>
      <p:sp>
        <p:nvSpPr>
          <p:cNvPr id="11" name="Rectangle 10">
            <a:extLst>
              <a:ext uri="{FF2B5EF4-FFF2-40B4-BE49-F238E27FC236}">
                <a16:creationId xmlns:a16="http://schemas.microsoft.com/office/drawing/2014/main" id="{C07E8A98-1986-4C40-B897-243196378397}"/>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4033391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495699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175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F502EBC-F782-4810-B602-02122AB7E16C}"/>
              </a:ext>
            </a:extLst>
          </p:cNvPr>
          <p:cNvSpPr/>
          <p:nvPr userDrawn="1"/>
        </p:nvSpPr>
        <p:spPr bwMode="auto">
          <a:xfrm>
            <a:off x="7956377" y="0"/>
            <a:ext cx="254632" cy="5143500"/>
          </a:xfrm>
          <a:prstGeom prst="rect">
            <a:avLst/>
          </a:prstGeom>
          <a:gradFill flip="none" rotWithShape="1">
            <a:gsLst>
              <a:gs pos="53000">
                <a:srgbClr val="DAE2EA"/>
              </a:gs>
              <a:gs pos="2000">
                <a:srgbClr val="92ABC1"/>
              </a:gs>
              <a:gs pos="84000">
                <a:schemeClr val="accent3"/>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1" name="Rectangle 10">
            <a:extLst>
              <a:ext uri="{FF2B5EF4-FFF2-40B4-BE49-F238E27FC236}">
                <a16:creationId xmlns:a16="http://schemas.microsoft.com/office/drawing/2014/main" id="{8634D84A-3E00-45F5-8301-73EF0B095040}"/>
              </a:ext>
            </a:extLst>
          </p:cNvPr>
          <p:cNvSpPr/>
          <p:nvPr userDrawn="1"/>
        </p:nvSpPr>
        <p:spPr>
          <a:xfrm>
            <a:off x="0" y="0"/>
            <a:ext cx="7968343"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2" name="Rectangle 11">
            <a:extLst>
              <a:ext uri="{FF2B5EF4-FFF2-40B4-BE49-F238E27FC236}">
                <a16:creationId xmlns:a16="http://schemas.microsoft.com/office/drawing/2014/main" id="{8A2E4398-D083-4356-BD66-691E310B4F60}"/>
              </a:ext>
            </a:extLst>
          </p:cNvPr>
          <p:cNvSpPr/>
          <p:nvPr userDrawn="1"/>
        </p:nvSpPr>
        <p:spPr>
          <a:xfrm>
            <a:off x="755576" y="1052847"/>
            <a:ext cx="6318068" cy="4093394"/>
          </a:xfrm>
          <a:prstGeom prst="rect">
            <a:avLst/>
          </a:prstGeom>
          <a:gradFill flip="none" rotWithShape="1">
            <a:gsLst>
              <a:gs pos="53000">
                <a:srgbClr val="DAE2EA"/>
              </a:gs>
              <a:gs pos="4000">
                <a:srgbClr val="7AA1BC"/>
              </a:gs>
              <a:gs pos="92000">
                <a:schemeClr val="bg1"/>
              </a:gs>
            </a:gsLst>
            <a:lin ang="162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buFont typeface="Novel Sans Pro" panose="02000000000000000000" pitchFamily="50" charset="0"/>
            </a:pPr>
            <a:endParaRPr lang="de-DE" sz="1200" dirty="0">
              <a:solidFill>
                <a:srgbClr val="000000"/>
              </a:solidFill>
              <a:latin typeface="+mn-lt"/>
              <a:ea typeface="+mn-ea"/>
              <a:cs typeface="+mn-cs"/>
              <a:sym typeface="Novel Sans Pro" panose="02000000000000000000" pitchFamily="50" charset="0"/>
            </a:endParaRPr>
          </a:p>
        </p:txBody>
      </p:sp>
      <p:pic>
        <p:nvPicPr>
          <p:cNvPr id="13" name="Picture 12" descr="Text&#10;&#10;Description automatically generated">
            <a:extLst>
              <a:ext uri="{FF2B5EF4-FFF2-40B4-BE49-F238E27FC236}">
                <a16:creationId xmlns:a16="http://schemas.microsoft.com/office/drawing/2014/main" id="{E12DCD29-598C-4746-B9B4-5B974395F304}"/>
              </a:ext>
            </a:extLst>
          </p:cNvPr>
          <p:cNvPicPr>
            <a:picLocks noChangeAspect="1"/>
          </p:cNvPicPr>
          <p:nvPr userDrawn="1"/>
        </p:nvPicPr>
        <p:blipFill>
          <a:blip r:embed="rId6">
            <a:clrChange>
              <a:clrFrom>
                <a:srgbClr val="FFFEFD"/>
              </a:clrFrom>
              <a:clrTo>
                <a:srgbClr val="FFFEFD">
                  <a:alpha val="0"/>
                </a:srgbClr>
              </a:clrTo>
            </a:clrChange>
          </a:blip>
          <a:stretch>
            <a:fillRect/>
          </a:stretch>
        </p:blipFill>
        <p:spPr>
          <a:xfrm>
            <a:off x="1303514" y="1803400"/>
            <a:ext cx="4651164" cy="1866557"/>
          </a:xfrm>
          <a:prstGeom prst="rect">
            <a:avLst/>
          </a:prstGeom>
        </p:spPr>
      </p:pic>
    </p:spTree>
    <p:extLst>
      <p:ext uri="{BB962C8B-B14F-4D97-AF65-F5344CB8AC3E}">
        <p14:creationId xmlns:p14="http://schemas.microsoft.com/office/powerpoint/2010/main" val="2788936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Layout guide">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FC71B8-8913-495A-AB7C-E9730BDD4C04}"/>
              </a:ext>
            </a:extLst>
          </p:cNvPr>
          <p:cNvGraphicFramePr>
            <a:graphicFrameLocks noChangeAspect="1"/>
          </p:cNvGraphicFramePr>
          <p:nvPr userDrawn="1">
            <p:custDataLst>
              <p:tags r:id="rId2"/>
            </p:custDataLst>
            <p:extLst>
              <p:ext uri="{D42A27DB-BD31-4B8C-83A1-F6EECF244321}">
                <p14:modId xmlns:p14="http://schemas.microsoft.com/office/powerpoint/2010/main" val="156808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4"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E7FC71B8-8913-495A-AB7C-E9730BDD4C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7" name="Copyright" hidden="1">
            <a:extLst>
              <a:ext uri="{FF2B5EF4-FFF2-40B4-BE49-F238E27FC236}">
                <a16:creationId xmlns:a16="http://schemas.microsoft.com/office/drawing/2014/main" id="{6A95985D-51E7-42FC-9F57-99DA8972230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grpSp>
        <p:nvGrpSpPr>
          <p:cNvPr id="149" name="Group 148">
            <a:extLst>
              <a:ext uri="{FF2B5EF4-FFF2-40B4-BE49-F238E27FC236}">
                <a16:creationId xmlns:a16="http://schemas.microsoft.com/office/drawing/2014/main" id="{4A61E4A8-5EED-433B-A34A-FCE62673FAA9}"/>
              </a:ext>
            </a:extLst>
          </p:cNvPr>
          <p:cNvGrpSpPr/>
          <p:nvPr userDrawn="1"/>
        </p:nvGrpSpPr>
        <p:grpSpPr>
          <a:xfrm>
            <a:off x="-450" y="-2432"/>
            <a:ext cx="9144900" cy="5145932"/>
            <a:chOff x="-450" y="-2432"/>
            <a:chExt cx="9144900" cy="5145932"/>
          </a:xfrm>
        </p:grpSpPr>
        <p:grpSp>
          <p:nvGrpSpPr>
            <p:cNvPr id="150" name="Group 149">
              <a:extLst>
                <a:ext uri="{FF2B5EF4-FFF2-40B4-BE49-F238E27FC236}">
                  <a16:creationId xmlns:a16="http://schemas.microsoft.com/office/drawing/2014/main" id="{CAEA2D5E-52A1-4918-8C5B-C8FC75E79996}"/>
                </a:ext>
              </a:extLst>
            </p:cNvPr>
            <p:cNvGrpSpPr/>
            <p:nvPr userDrawn="1"/>
          </p:nvGrpSpPr>
          <p:grpSpPr>
            <a:xfrm>
              <a:off x="-450" y="289560"/>
              <a:ext cx="9144900" cy="4298414"/>
              <a:chOff x="-450" y="467100"/>
              <a:chExt cx="9144900" cy="3934049"/>
            </a:xfrm>
          </p:grpSpPr>
          <p:cxnSp>
            <p:nvCxnSpPr>
              <p:cNvPr id="181" name="Straight Connector 180">
                <a:extLst>
                  <a:ext uri="{FF2B5EF4-FFF2-40B4-BE49-F238E27FC236}">
                    <a16:creationId xmlns:a16="http://schemas.microsoft.com/office/drawing/2014/main" id="{64E4872E-46F6-4030-BE3F-C068F202EA9B}"/>
                  </a:ext>
                </a:extLst>
              </p:cNvPr>
              <p:cNvCxnSpPr/>
              <p:nvPr/>
            </p:nvCxnSpPr>
            <p:spPr>
              <a:xfrm>
                <a:off x="-450" y="46710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DE285E8D-82E5-49AF-AEDF-DCAD94C8F7F4}"/>
                  </a:ext>
                </a:extLst>
              </p:cNvPr>
              <p:cNvCxnSpPr/>
              <p:nvPr/>
            </p:nvCxnSpPr>
            <p:spPr>
              <a:xfrm>
                <a:off x="-450" y="685658"/>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22D55150-01AD-41EA-87D8-8F9CC683D3DD}"/>
                  </a:ext>
                </a:extLst>
              </p:cNvPr>
              <p:cNvCxnSpPr/>
              <p:nvPr/>
            </p:nvCxnSpPr>
            <p:spPr>
              <a:xfrm>
                <a:off x="-450" y="90421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A7BAA0F-9E44-4E01-B6CF-C0457BDE9A9C}"/>
                  </a:ext>
                </a:extLst>
              </p:cNvPr>
              <p:cNvCxnSpPr/>
              <p:nvPr/>
            </p:nvCxnSpPr>
            <p:spPr>
              <a:xfrm>
                <a:off x="-450" y="112320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8940DA22-DD4B-41C7-8AFE-5E49E06F02EC}"/>
                  </a:ext>
                </a:extLst>
              </p:cNvPr>
              <p:cNvCxnSpPr/>
              <p:nvPr/>
            </p:nvCxnSpPr>
            <p:spPr>
              <a:xfrm>
                <a:off x="-450" y="134133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C4A54148-977C-4013-A9F6-A4EC7605A34F}"/>
                  </a:ext>
                </a:extLst>
              </p:cNvPr>
              <p:cNvCxnSpPr/>
              <p:nvPr/>
            </p:nvCxnSpPr>
            <p:spPr>
              <a:xfrm>
                <a:off x="-450" y="155989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F939E58-F57B-492B-BDF1-CD32CF5484A9}"/>
                  </a:ext>
                </a:extLst>
              </p:cNvPr>
              <p:cNvCxnSpPr/>
              <p:nvPr/>
            </p:nvCxnSpPr>
            <p:spPr>
              <a:xfrm>
                <a:off x="-450" y="177845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528AD0DF-DA54-434F-9738-6A746C99D4BF}"/>
                  </a:ext>
                </a:extLst>
              </p:cNvPr>
              <p:cNvCxnSpPr/>
              <p:nvPr/>
            </p:nvCxnSpPr>
            <p:spPr>
              <a:xfrm>
                <a:off x="-450" y="1997008"/>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EE63F4DA-82C8-425F-A658-4F6B5E0890A8}"/>
                  </a:ext>
                </a:extLst>
              </p:cNvPr>
              <p:cNvCxnSpPr/>
              <p:nvPr/>
            </p:nvCxnSpPr>
            <p:spPr>
              <a:xfrm>
                <a:off x="-450" y="221556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9671A509-4956-484D-9AE5-8941E20A6A70}"/>
                  </a:ext>
                </a:extLst>
              </p:cNvPr>
              <p:cNvCxnSpPr/>
              <p:nvPr/>
            </p:nvCxnSpPr>
            <p:spPr>
              <a:xfrm>
                <a:off x="-450" y="2434124"/>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8D215F9-DCAA-4643-91F9-28F82ED851A9}"/>
                  </a:ext>
                </a:extLst>
              </p:cNvPr>
              <p:cNvCxnSpPr/>
              <p:nvPr/>
            </p:nvCxnSpPr>
            <p:spPr>
              <a:xfrm>
                <a:off x="-450" y="265268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7B334F6E-373C-4B2B-8BBA-0422E9466946}"/>
                  </a:ext>
                </a:extLst>
              </p:cNvPr>
              <p:cNvCxnSpPr/>
              <p:nvPr/>
            </p:nvCxnSpPr>
            <p:spPr>
              <a:xfrm>
                <a:off x="-450" y="287124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CB6048F1-E45F-4A2E-9658-A8A4AA05CB25}"/>
                  </a:ext>
                </a:extLst>
              </p:cNvPr>
              <p:cNvCxnSpPr/>
              <p:nvPr/>
            </p:nvCxnSpPr>
            <p:spPr>
              <a:xfrm>
                <a:off x="-450" y="308979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5B6BF3CE-4A9F-4AE0-9874-D9932F12A508}"/>
                  </a:ext>
                </a:extLst>
              </p:cNvPr>
              <p:cNvCxnSpPr/>
              <p:nvPr/>
            </p:nvCxnSpPr>
            <p:spPr>
              <a:xfrm>
                <a:off x="-450" y="330835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7E935B9-98C0-4FD3-8416-364BB094D7BC}"/>
                  </a:ext>
                </a:extLst>
              </p:cNvPr>
              <p:cNvCxnSpPr/>
              <p:nvPr/>
            </p:nvCxnSpPr>
            <p:spPr>
              <a:xfrm>
                <a:off x="-450" y="352691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A2C2DB1F-9A27-4BA5-8695-16B40C841089}"/>
                  </a:ext>
                </a:extLst>
              </p:cNvPr>
              <p:cNvCxnSpPr/>
              <p:nvPr/>
            </p:nvCxnSpPr>
            <p:spPr>
              <a:xfrm>
                <a:off x="-450" y="3745474"/>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8C755983-B629-4594-AA52-7AC3C82C8C95}"/>
                  </a:ext>
                </a:extLst>
              </p:cNvPr>
              <p:cNvCxnSpPr/>
              <p:nvPr/>
            </p:nvCxnSpPr>
            <p:spPr>
              <a:xfrm>
                <a:off x="-450" y="3964032"/>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2CBB6A77-4906-4ABE-9ED1-B38F4415BB80}"/>
                  </a:ext>
                </a:extLst>
              </p:cNvPr>
              <p:cNvCxnSpPr/>
              <p:nvPr/>
            </p:nvCxnSpPr>
            <p:spPr>
              <a:xfrm>
                <a:off x="-450" y="418259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E1EC36B7-4E46-490A-85B3-E0C5417CCC71}"/>
                  </a:ext>
                </a:extLst>
              </p:cNvPr>
              <p:cNvCxnSpPr/>
              <p:nvPr/>
            </p:nvCxnSpPr>
            <p:spPr>
              <a:xfrm>
                <a:off x="-450" y="440114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51" name="Gutter space">
              <a:extLst>
                <a:ext uri="{FF2B5EF4-FFF2-40B4-BE49-F238E27FC236}">
                  <a16:creationId xmlns:a16="http://schemas.microsoft.com/office/drawing/2014/main" id="{B43BB4BD-7315-4C8E-8D12-618F95B6EF2D}"/>
                </a:ext>
              </a:extLst>
            </p:cNvPr>
            <p:cNvGrpSpPr/>
            <p:nvPr userDrawn="1"/>
          </p:nvGrpSpPr>
          <p:grpSpPr>
            <a:xfrm>
              <a:off x="957750" y="267494"/>
              <a:ext cx="7228500" cy="4320381"/>
              <a:chOff x="1277000" y="623550"/>
              <a:chExt cx="9638000" cy="5537047"/>
            </a:xfrm>
          </p:grpSpPr>
          <p:sp>
            <p:nvSpPr>
              <p:cNvPr id="170" name="Rectangle 34">
                <a:extLst>
                  <a:ext uri="{FF2B5EF4-FFF2-40B4-BE49-F238E27FC236}">
                    <a16:creationId xmlns:a16="http://schemas.microsoft.com/office/drawing/2014/main" id="{132DFAD3-DABD-435B-9157-3DC08886840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1" name="Rectangle 35">
                <a:extLst>
                  <a:ext uri="{FF2B5EF4-FFF2-40B4-BE49-F238E27FC236}">
                    <a16:creationId xmlns:a16="http://schemas.microsoft.com/office/drawing/2014/main" id="{CB6F57C8-899E-403A-B0A2-F807F5C64B4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2" name="Rectangle 36">
                <a:extLst>
                  <a:ext uri="{FF2B5EF4-FFF2-40B4-BE49-F238E27FC236}">
                    <a16:creationId xmlns:a16="http://schemas.microsoft.com/office/drawing/2014/main" id="{11D9AB54-8B25-458B-ACEE-0E931A21BF8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3" name="Rectangle 37">
                <a:extLst>
                  <a:ext uri="{FF2B5EF4-FFF2-40B4-BE49-F238E27FC236}">
                    <a16:creationId xmlns:a16="http://schemas.microsoft.com/office/drawing/2014/main" id="{82EC051B-ED93-4EDD-9ECF-36BFBF40E35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4" name="Rectangle 38">
                <a:extLst>
                  <a:ext uri="{FF2B5EF4-FFF2-40B4-BE49-F238E27FC236}">
                    <a16:creationId xmlns:a16="http://schemas.microsoft.com/office/drawing/2014/main" id="{6BFE63D4-379E-42FB-A623-E33FCF577BB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5" name="Rectangle 39">
                <a:extLst>
                  <a:ext uri="{FF2B5EF4-FFF2-40B4-BE49-F238E27FC236}">
                    <a16:creationId xmlns:a16="http://schemas.microsoft.com/office/drawing/2014/main" id="{A994301B-1A3B-4B08-8CA3-09BBB2C4578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6" name="Rectangle 40">
                <a:extLst>
                  <a:ext uri="{FF2B5EF4-FFF2-40B4-BE49-F238E27FC236}">
                    <a16:creationId xmlns:a16="http://schemas.microsoft.com/office/drawing/2014/main" id="{535A2809-2AEF-4682-86DF-DC276813521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7" name="Rectangle 41">
                <a:extLst>
                  <a:ext uri="{FF2B5EF4-FFF2-40B4-BE49-F238E27FC236}">
                    <a16:creationId xmlns:a16="http://schemas.microsoft.com/office/drawing/2014/main" id="{662CD1AF-F253-4DF2-8453-E9EB8C89DDC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8" name="Rectangle 42">
                <a:extLst>
                  <a:ext uri="{FF2B5EF4-FFF2-40B4-BE49-F238E27FC236}">
                    <a16:creationId xmlns:a16="http://schemas.microsoft.com/office/drawing/2014/main" id="{AB306AF8-BE64-41A8-B673-D19FE39D231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9" name="Rectangle 43">
                <a:extLst>
                  <a:ext uri="{FF2B5EF4-FFF2-40B4-BE49-F238E27FC236}">
                    <a16:creationId xmlns:a16="http://schemas.microsoft.com/office/drawing/2014/main" id="{4DF5F3E4-AD9A-4B8A-8438-733C4531B87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80" name="Rectangle 44">
                <a:extLst>
                  <a:ext uri="{FF2B5EF4-FFF2-40B4-BE49-F238E27FC236}">
                    <a16:creationId xmlns:a16="http://schemas.microsoft.com/office/drawing/2014/main" id="{8375A183-6F8E-43A0-BC43-5A28ABD4A67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sp>
          <p:nvSpPr>
            <p:cNvPr id="152" name="Slide edges">
              <a:extLst>
                <a:ext uri="{FF2B5EF4-FFF2-40B4-BE49-F238E27FC236}">
                  <a16:creationId xmlns:a16="http://schemas.microsoft.com/office/drawing/2014/main" id="{22C66B54-E9CE-44C7-B3DD-850523E037EB}"/>
                </a:ext>
              </a:extLst>
            </p:cNvPr>
            <p:cNvSpPr>
              <a:spLocks/>
            </p:cNvSpPr>
            <p:nvPr userDrawn="1"/>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dirty="0">
                <a:ln>
                  <a:noFill/>
                </a:ln>
                <a:solidFill>
                  <a:srgbClr val="575757"/>
                </a:solidFill>
                <a:effectLst/>
                <a:uLnTx/>
                <a:uFillTx/>
                <a:latin typeface="+mn-lt"/>
                <a:ea typeface="+mn-ea"/>
                <a:cs typeface="+mn-cs"/>
                <a:sym typeface="Novel Sans Pro" panose="02000000000000000000" pitchFamily="50" charset="0"/>
              </a:endParaRPr>
            </a:p>
          </p:txBody>
        </p:sp>
        <p:sp>
          <p:nvSpPr>
            <p:cNvPr id="153" name="Footnote measure">
              <a:extLst>
                <a:ext uri="{FF2B5EF4-FFF2-40B4-BE49-F238E27FC236}">
                  <a16:creationId xmlns:a16="http://schemas.microsoft.com/office/drawing/2014/main" id="{11248AFD-3887-4BDC-BC8E-BEBAA9B37721}"/>
                </a:ext>
              </a:extLst>
            </p:cNvPr>
            <p:cNvSpPr>
              <a:spLocks noChangeArrowheads="1"/>
            </p:cNvSpPr>
            <p:nvPr userDrawn="1"/>
          </p:nvSpPr>
          <p:spPr bwMode="auto">
            <a:xfrm>
              <a:off x="472050" y="4586794"/>
              <a:ext cx="8199900" cy="33239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54" name="Whitespace measure">
              <a:extLst>
                <a:ext uri="{FF2B5EF4-FFF2-40B4-BE49-F238E27FC236}">
                  <a16:creationId xmlns:a16="http://schemas.microsoft.com/office/drawing/2014/main" id="{5F6937E2-98DB-4427-9B42-F4C91BE0A212}"/>
                </a:ext>
              </a:extLst>
            </p:cNvPr>
            <p:cNvSpPr>
              <a:spLocks noChangeArrowheads="1"/>
            </p:cNvSpPr>
            <p:nvPr userDrawn="1"/>
          </p:nvSpPr>
          <p:spPr bwMode="auto">
            <a:xfrm>
              <a:off x="472050" y="1123200"/>
              <a:ext cx="8199172"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nvGrpSpPr>
            <p:cNvPr id="155" name="Five column measure">
              <a:extLst>
                <a:ext uri="{FF2B5EF4-FFF2-40B4-BE49-F238E27FC236}">
                  <a16:creationId xmlns:a16="http://schemas.microsoft.com/office/drawing/2014/main" id="{48B3211C-E76A-4174-8A6C-2EBF72C6D7AB}"/>
                </a:ext>
              </a:extLst>
            </p:cNvPr>
            <p:cNvGrpSpPr/>
            <p:nvPr userDrawn="1"/>
          </p:nvGrpSpPr>
          <p:grpSpPr>
            <a:xfrm>
              <a:off x="472050" y="4481341"/>
              <a:ext cx="8199900" cy="59652"/>
              <a:chOff x="629400" y="5975122"/>
              <a:chExt cx="10933200" cy="79536"/>
            </a:xfrm>
          </p:grpSpPr>
          <p:sp>
            <p:nvSpPr>
              <p:cNvPr id="165" name="Rectangle 5">
                <a:extLst>
                  <a:ext uri="{FF2B5EF4-FFF2-40B4-BE49-F238E27FC236}">
                    <a16:creationId xmlns:a16="http://schemas.microsoft.com/office/drawing/2014/main" id="{C4225C8C-EFC0-4C87-9641-CC7C73B8AB2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66" name="Rectangle 7">
                <a:extLst>
                  <a:ext uri="{FF2B5EF4-FFF2-40B4-BE49-F238E27FC236}">
                    <a16:creationId xmlns:a16="http://schemas.microsoft.com/office/drawing/2014/main" id="{30A354EA-E08F-4CB9-AE52-CBAE14D5CEB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67" name="Rectangle 9">
                <a:extLst>
                  <a:ext uri="{FF2B5EF4-FFF2-40B4-BE49-F238E27FC236}">
                    <a16:creationId xmlns:a16="http://schemas.microsoft.com/office/drawing/2014/main" id="{7935F349-23F1-44E5-AB15-5EFEA169D54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68" name="Rectangle 11">
                <a:extLst>
                  <a:ext uri="{FF2B5EF4-FFF2-40B4-BE49-F238E27FC236}">
                    <a16:creationId xmlns:a16="http://schemas.microsoft.com/office/drawing/2014/main" id="{4067099C-823D-4807-8392-7AE08D93A58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69" name="Rectangle 13">
                <a:extLst>
                  <a:ext uri="{FF2B5EF4-FFF2-40B4-BE49-F238E27FC236}">
                    <a16:creationId xmlns:a16="http://schemas.microsoft.com/office/drawing/2014/main" id="{6EED03DB-1B5F-47E6-83A1-45FE3A7FF42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sp>
          <p:nvSpPr>
            <p:cNvPr id="156" name="Live area">
              <a:extLst>
                <a:ext uri="{FF2B5EF4-FFF2-40B4-BE49-F238E27FC236}">
                  <a16:creationId xmlns:a16="http://schemas.microsoft.com/office/drawing/2014/main" id="{26EAB149-F996-4111-9BE6-3806018A5EC7}"/>
                </a:ext>
              </a:extLst>
            </p:cNvPr>
            <p:cNvSpPr/>
            <p:nvPr userDrawn="1"/>
          </p:nvSpPr>
          <p:spPr>
            <a:xfrm>
              <a:off x="472050" y="1560601"/>
              <a:ext cx="8381448" cy="303150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157" name="Footnote example">
              <a:extLst>
                <a:ext uri="{FF2B5EF4-FFF2-40B4-BE49-F238E27FC236}">
                  <a16:creationId xmlns:a16="http://schemas.microsoft.com/office/drawing/2014/main" id="{F250A046-E564-4239-BD0D-D07FF90D6E35}"/>
                </a:ext>
              </a:extLst>
            </p:cNvPr>
            <p:cNvSpPr txBox="1"/>
            <p:nvPr userDrawn="1"/>
          </p:nvSpPr>
          <p:spPr>
            <a:xfrm>
              <a:off x="472500" y="4507980"/>
              <a:ext cx="7627892" cy="3323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1.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  2.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  3. 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Anmerkung: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endPar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Quelle: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endPar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endParaRPr>
            </a:p>
          </p:txBody>
        </p:sp>
        <p:pic>
          <p:nvPicPr>
            <p:cNvPr id="158" name="Picture 157" descr="A picture containing graphical user interface&#10;&#10;Description automatically generated">
              <a:extLst>
                <a:ext uri="{FF2B5EF4-FFF2-40B4-BE49-F238E27FC236}">
                  <a16:creationId xmlns:a16="http://schemas.microsoft.com/office/drawing/2014/main" id="{5DEEAF8E-C16C-4083-8589-B2926983EEF8}"/>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59" name="Rectangle 158">
              <a:extLst>
                <a:ext uri="{FF2B5EF4-FFF2-40B4-BE49-F238E27FC236}">
                  <a16:creationId xmlns:a16="http://schemas.microsoft.com/office/drawing/2014/main" id="{B3345378-0934-4019-90E7-07D7509C2E1D}"/>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60" name="Rectangle 159">
              <a:extLst>
                <a:ext uri="{FF2B5EF4-FFF2-40B4-BE49-F238E27FC236}">
                  <a16:creationId xmlns:a16="http://schemas.microsoft.com/office/drawing/2014/main" id="{B06D630F-9E43-4BC1-BE2E-8DA807DA93C7}"/>
                </a:ext>
              </a:extLst>
            </p:cNvPr>
            <p:cNvSpPr/>
            <p:nvPr userDrawn="1"/>
          </p:nvSpPr>
          <p:spPr bwMode="auto">
            <a:xfrm>
              <a:off x="0" y="0"/>
              <a:ext cx="467544" cy="5143500"/>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61" name="Rectangle 160">
              <a:extLst>
                <a:ext uri="{FF2B5EF4-FFF2-40B4-BE49-F238E27FC236}">
                  <a16:creationId xmlns:a16="http://schemas.microsoft.com/office/drawing/2014/main" id="{B14F0FC3-E1D0-4CDF-A8EC-C6CE62975484}"/>
                </a:ext>
              </a:extLst>
            </p:cNvPr>
            <p:cNvSpPr/>
            <p:nvPr userDrawn="1"/>
          </p:nvSpPr>
          <p:spPr bwMode="auto">
            <a:xfrm>
              <a:off x="8852724" y="0"/>
              <a:ext cx="291276" cy="5143500"/>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62" name="Rectangle 161">
              <a:extLst>
                <a:ext uri="{FF2B5EF4-FFF2-40B4-BE49-F238E27FC236}">
                  <a16:creationId xmlns:a16="http://schemas.microsoft.com/office/drawing/2014/main" id="{671FFE71-7F76-494F-8025-35B99D645FF3}"/>
                </a:ext>
              </a:extLst>
            </p:cNvPr>
            <p:cNvSpPr/>
            <p:nvPr userDrawn="1"/>
          </p:nvSpPr>
          <p:spPr bwMode="auto">
            <a:xfrm>
              <a:off x="467544" y="0"/>
              <a:ext cx="8381448" cy="294198"/>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63" name="Rectangle 162">
              <a:extLst>
                <a:ext uri="{FF2B5EF4-FFF2-40B4-BE49-F238E27FC236}">
                  <a16:creationId xmlns:a16="http://schemas.microsoft.com/office/drawing/2014/main" id="{0BB6CCA4-19B7-432A-99EA-C8CC6B525C03}"/>
                </a:ext>
              </a:extLst>
            </p:cNvPr>
            <p:cNvSpPr/>
            <p:nvPr userDrawn="1"/>
          </p:nvSpPr>
          <p:spPr bwMode="auto">
            <a:xfrm>
              <a:off x="467544" y="1085004"/>
              <a:ext cx="8381448" cy="478634"/>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64" name="Rectangle 163">
              <a:extLst>
                <a:ext uri="{FF2B5EF4-FFF2-40B4-BE49-F238E27FC236}">
                  <a16:creationId xmlns:a16="http://schemas.microsoft.com/office/drawing/2014/main" id="{0810C59A-C7D9-4355-89CD-1944C2A91050}"/>
                </a:ext>
              </a:extLst>
            </p:cNvPr>
            <p:cNvSpPr/>
            <p:nvPr userDrawn="1"/>
          </p:nvSpPr>
          <p:spPr bwMode="auto">
            <a:xfrm>
              <a:off x="467544" y="4803998"/>
              <a:ext cx="8381448" cy="339502"/>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grpSp>
    </p:spTree>
    <p:extLst>
      <p:ext uri="{BB962C8B-B14F-4D97-AF65-F5344CB8AC3E}">
        <p14:creationId xmlns:p14="http://schemas.microsoft.com/office/powerpoint/2010/main" val="3233250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FA975-70B8-45C9-9965-AA1DAC63FF26}"/>
              </a:ext>
            </a:extLst>
          </p:cNvPr>
          <p:cNvGraphicFramePr>
            <a:graphicFrameLocks noChangeAspect="1"/>
          </p:cNvGraphicFramePr>
          <p:nvPr userDrawn="1">
            <p:custDataLst>
              <p:tags r:id="rId2"/>
            </p:custDataLst>
            <p:extLst>
              <p:ext uri="{D42A27DB-BD31-4B8C-83A1-F6EECF244321}">
                <p14:modId xmlns:p14="http://schemas.microsoft.com/office/powerpoint/2010/main" val="327949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8" name="think-cell Slide" r:id="rId5" imgW="328" imgH="328" progId="TCLayout.ActiveDocument.1">
                  <p:embed/>
                </p:oleObj>
              </mc:Choice>
              <mc:Fallback>
                <p:oleObj name="think-cell Slide" r:id="rId5" imgW="328" imgH="32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986" name="Rectangle 2"/>
          <p:cNvSpPr>
            <a:spLocks noGrp="1" noChangeArrowheads="1"/>
          </p:cNvSpPr>
          <p:nvPr>
            <p:ph type="ctrTitle"/>
          </p:nvPr>
        </p:nvSpPr>
        <p:spPr>
          <a:xfrm>
            <a:off x="2411760" y="1845737"/>
            <a:ext cx="5325716" cy="1277273"/>
          </a:xfrm>
        </p:spPr>
        <p:txBody>
          <a:bodyPr vert="horz" wrap="square" lIns="91440" rIns="0" anchor="b">
            <a:spAutoFit/>
          </a:bodyPr>
          <a:lstStyle>
            <a:lvl1pPr algn="r" rtl="0">
              <a:defRPr sz="4000">
                <a:solidFill>
                  <a:schemeClr val="bg1"/>
                </a:solidFill>
                <a:latin typeface="+mj-lt"/>
                <a:ea typeface="+mj-ea"/>
                <a:cs typeface="+mj-cs"/>
                <a:sym typeface="Novel Sans Pro" panose="02000000000000000000" pitchFamily="50" charset="0"/>
              </a:defRPr>
            </a:lvl1pPr>
          </a:lstStyle>
          <a:p>
            <a:pPr lvl="0"/>
            <a:r>
              <a:rPr lang="de-DE" noProof="0" dirty="0"/>
              <a:t>Click to edit Master title style</a:t>
            </a:r>
          </a:p>
        </p:txBody>
      </p:sp>
      <p:sp>
        <p:nvSpPr>
          <p:cNvPr id="41987" name="Rectangle 3"/>
          <p:cNvSpPr>
            <a:spLocks noGrp="1" noChangeArrowheads="1"/>
          </p:cNvSpPr>
          <p:nvPr>
            <p:ph type="subTitle" idx="1"/>
          </p:nvPr>
        </p:nvSpPr>
        <p:spPr>
          <a:xfrm>
            <a:off x="971551" y="3219450"/>
            <a:ext cx="6761163" cy="353943"/>
          </a:xfrm>
        </p:spPr>
        <p:txBody>
          <a:bodyPr lIns="91440" rIns="0">
            <a:spAutoFit/>
          </a:bodyPr>
          <a:lstStyle>
            <a:lvl1pPr marL="0" indent="0" algn="r" rtl="0">
              <a:defRPr sz="2000" i="1">
                <a:solidFill>
                  <a:schemeClr val="bg1"/>
                </a:solidFill>
                <a:latin typeface="+mn-lt"/>
                <a:ea typeface="+mn-ea"/>
                <a:cs typeface="+mn-cs"/>
                <a:sym typeface="Novel Sans Pro" panose="02000000000000000000" pitchFamily="50" charset="0"/>
              </a:defRPr>
            </a:lvl1pPr>
          </a:lstStyle>
          <a:p>
            <a:pPr lvl="0"/>
            <a:r>
              <a:rPr lang="de-DE" noProof="0" dirty="0"/>
              <a:t>Click to edit Master subtitle style</a:t>
            </a:r>
          </a:p>
        </p:txBody>
      </p:sp>
    </p:spTree>
    <p:extLst>
      <p:ext uri="{BB962C8B-B14F-4D97-AF65-F5344CB8AC3E}">
        <p14:creationId xmlns:p14="http://schemas.microsoft.com/office/powerpoint/2010/main" val="14007149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653AD8-5947-4693-B6B9-92C2DA289F0C}"/>
              </a:ext>
            </a:extLst>
          </p:cNvPr>
          <p:cNvGraphicFramePr>
            <a:graphicFrameLocks noChangeAspect="1"/>
          </p:cNvGraphicFramePr>
          <p:nvPr userDrawn="1">
            <p:custDataLst>
              <p:tags r:id="rId2"/>
            </p:custDataLst>
            <p:extLst>
              <p:ext uri="{D42A27DB-BD31-4B8C-83A1-F6EECF244321}">
                <p14:modId xmlns:p14="http://schemas.microsoft.com/office/powerpoint/2010/main" val="95748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2"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6C653AD8-5947-4693-B6B9-92C2DA289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0" name="Rectangle 9">
            <a:extLst>
              <a:ext uri="{FF2B5EF4-FFF2-40B4-BE49-F238E27FC236}">
                <a16:creationId xmlns:a16="http://schemas.microsoft.com/office/drawing/2014/main" id="{2E6144E9-0752-42AF-8C60-1483A91E4A83}"/>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5" name="Picture 4" descr="A picture containing graphical user interface&#10;&#10;Description automatically generated">
            <a:extLst>
              <a:ext uri="{FF2B5EF4-FFF2-40B4-BE49-F238E27FC236}">
                <a16:creationId xmlns:a16="http://schemas.microsoft.com/office/drawing/2014/main" id="{075532D7-DE97-40E7-A4B7-60811C201273}"/>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Title 8">
            <a:extLst>
              <a:ext uri="{FF2B5EF4-FFF2-40B4-BE49-F238E27FC236}">
                <a16:creationId xmlns:a16="http://schemas.microsoft.com/office/drawing/2014/main" id="{415B317E-DD24-4C3A-BF06-D4141BEFA432}"/>
              </a:ext>
            </a:extLst>
          </p:cNvPr>
          <p:cNvSpPr>
            <a:spLocks noGrp="1"/>
          </p:cNvSpPr>
          <p:nvPr>
            <p:ph type="title"/>
          </p:nvPr>
        </p:nvSpPr>
        <p:spPr>
          <a:xfrm>
            <a:off x="472500" y="300174"/>
            <a:ext cx="6331747" cy="538609"/>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2017053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653AD8-5947-4693-B6B9-92C2DA289F0C}"/>
              </a:ext>
            </a:extLst>
          </p:cNvPr>
          <p:cNvGraphicFramePr>
            <a:graphicFrameLocks noChangeAspect="1"/>
          </p:cNvGraphicFramePr>
          <p:nvPr userDrawn="1">
            <p:custDataLst>
              <p:tags r:id="rId2"/>
            </p:custDataLst>
            <p:extLst>
              <p:ext uri="{D42A27DB-BD31-4B8C-83A1-F6EECF244321}">
                <p14:modId xmlns:p14="http://schemas.microsoft.com/office/powerpoint/2010/main" val="480638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6C653AD8-5947-4693-B6B9-92C2DA289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364912-25D5-438E-B737-636861CCB14D}"/>
              </a:ext>
            </a:extLst>
          </p:cNvPr>
          <p:cNvSpPr>
            <a:spLocks noGrp="1"/>
          </p:cNvSpPr>
          <p:nvPr>
            <p:ph type="title"/>
          </p:nvPr>
        </p:nvSpPr>
        <p:spPr>
          <a:xfrm>
            <a:off x="472500" y="300174"/>
            <a:ext cx="6331747" cy="538609"/>
          </a:xfrm>
        </p:spPr>
        <p:txBody>
          <a:bodyPr vert="horz"/>
          <a:lstStyle>
            <a:lvl1pPr rtl="0">
              <a:defRPr sz="3200">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edit</a:t>
            </a:r>
            <a:r>
              <a:rPr lang="de-DE" dirty="0"/>
              <a:t> Master title style</a:t>
            </a:r>
          </a:p>
        </p:txBody>
      </p:sp>
      <p:sp>
        <p:nvSpPr>
          <p:cNvPr id="6" name="Text Placeholder 5">
            <a:extLst>
              <a:ext uri="{FF2B5EF4-FFF2-40B4-BE49-F238E27FC236}">
                <a16:creationId xmlns:a16="http://schemas.microsoft.com/office/drawing/2014/main" id="{D77CBFFA-14DD-4F8D-BDAF-6B5CB16E04A9}"/>
              </a:ext>
            </a:extLst>
          </p:cNvPr>
          <p:cNvSpPr>
            <a:spLocks noGrp="1"/>
          </p:cNvSpPr>
          <p:nvPr>
            <p:ph type="body" sz="quarter" idx="11"/>
          </p:nvPr>
        </p:nvSpPr>
        <p:spPr>
          <a:xfrm>
            <a:off x="472500" y="1563638"/>
            <a:ext cx="8381448" cy="3096344"/>
          </a:xfrm>
        </p:spPr>
        <p:txBody>
          <a:bodyPr/>
          <a:lstStyle>
            <a:lvl1pPr rtl="0">
              <a:defRPr>
                <a:latin typeface="+mn-lt"/>
                <a:ea typeface="+mn-ea"/>
                <a:cs typeface="+mn-cs"/>
                <a:sym typeface="Novel Sans Pro" panose="02000000000000000000" pitchFamily="50" charset="0"/>
              </a:defRPr>
            </a:lvl1pPr>
            <a:lvl2pPr rtl="0">
              <a:defRPr>
                <a:latin typeface="+mn-lt"/>
                <a:ea typeface="+mn-ea"/>
                <a:cs typeface="+mn-cs"/>
                <a:sym typeface="Novel Sans Pro" panose="02000000000000000000" pitchFamily="50" charset="0"/>
              </a:defRPr>
            </a:lvl2pPr>
            <a:lvl3pPr rtl="0">
              <a:defRPr>
                <a:latin typeface="+mn-lt"/>
                <a:ea typeface="+mn-ea"/>
                <a:cs typeface="+mn-cs"/>
                <a:sym typeface="Novel Sans Pro" panose="02000000000000000000" pitchFamily="50" charset="0"/>
              </a:defRPr>
            </a:lvl3pPr>
            <a:lvl4pPr rtl="0">
              <a:defRPr>
                <a:latin typeface="+mn-lt"/>
                <a:ea typeface="+mn-ea"/>
                <a:cs typeface="+mn-cs"/>
                <a:sym typeface="Novel Sans Pro" panose="02000000000000000000" pitchFamily="50" charset="0"/>
              </a:defRPr>
            </a:lvl4pPr>
            <a:lvl5pPr rtl="0">
              <a:defRPr>
                <a:latin typeface="+mn-lt"/>
                <a:ea typeface="+mn-ea"/>
                <a:cs typeface="+mn-cs"/>
                <a:sym typeface="Novel Sans Pro" panose="02000000000000000000" pitchFamily="50" charset="0"/>
              </a:defRPr>
            </a:lvl5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Rectangle 8">
            <a:extLst>
              <a:ext uri="{FF2B5EF4-FFF2-40B4-BE49-F238E27FC236}">
                <a16:creationId xmlns:a16="http://schemas.microsoft.com/office/drawing/2014/main" id="{7F538295-8BC1-45F2-A8BB-5EDDBBB4FE9D}"/>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EF9B76F8-A5D0-4ED2-956D-CD089CA42CCC}"/>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pic>
        <p:nvPicPr>
          <p:cNvPr id="7" name="Picture 6" descr="A picture containing graphical user interface&#10;&#10;Description automatically generated">
            <a:extLst>
              <a:ext uri="{FF2B5EF4-FFF2-40B4-BE49-F238E27FC236}">
                <a16:creationId xmlns:a16="http://schemas.microsoft.com/office/drawing/2014/main" id="{93C473D4-50B6-4E25-978E-DA8F2E2AA395}"/>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Tree>
    <p:extLst>
      <p:ext uri="{BB962C8B-B14F-4D97-AF65-F5344CB8AC3E}">
        <p14:creationId xmlns:p14="http://schemas.microsoft.com/office/powerpoint/2010/main" val="2311990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9D6402-E3BA-442F-92A7-B07759D08C19}"/>
              </a:ext>
            </a:extLst>
          </p:cNvPr>
          <p:cNvGraphicFramePr>
            <a:graphicFrameLocks noChangeAspect="1"/>
          </p:cNvGraphicFramePr>
          <p:nvPr userDrawn="1">
            <p:custDataLst>
              <p:tags r:id="rId2"/>
            </p:custDataLst>
            <p:extLst>
              <p:ext uri="{D42A27DB-BD31-4B8C-83A1-F6EECF244321}">
                <p14:modId xmlns:p14="http://schemas.microsoft.com/office/powerpoint/2010/main" val="1734925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9" name="Title 1"/>
          <p:cNvSpPr>
            <a:spLocks noGrp="1"/>
          </p:cNvSpPr>
          <p:nvPr>
            <p:ph type="title" hasCustomPrompt="1"/>
          </p:nvPr>
        </p:nvSpPr>
        <p:spPr bwMode="ltGray">
          <a:xfrm>
            <a:off x="472500" y="1158205"/>
            <a:ext cx="2589300" cy="1121846"/>
          </a:xfrm>
          <a:noFill/>
        </p:spPr>
        <p:txBody>
          <a:bodyPr vert="horz" wrap="square" lIns="0" tIns="0" rIns="320040" bIns="0" anchor="b">
            <a:noAutofit/>
          </a:bodyPr>
          <a:lstStyle>
            <a:lvl1pPr rtl="0">
              <a:defRPr sz="32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
        <p:nvSpPr>
          <p:cNvPr id="6" name="Rectangle 5">
            <a:extLst>
              <a:ext uri="{FF2B5EF4-FFF2-40B4-BE49-F238E27FC236}">
                <a16:creationId xmlns:a16="http://schemas.microsoft.com/office/drawing/2014/main" id="{F2F154D6-F335-44A0-AC94-98D7B9B6B5B7}"/>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8139831F-7B20-4C38-845A-4845011AFF1D}"/>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pic>
        <p:nvPicPr>
          <p:cNvPr id="7" name="Picture 6" descr="A picture containing graphical user interface&#10;&#10;Description automatically generated">
            <a:extLst>
              <a:ext uri="{FF2B5EF4-FFF2-40B4-BE49-F238E27FC236}">
                <a16:creationId xmlns:a16="http://schemas.microsoft.com/office/drawing/2014/main" id="{13AB1763-0B9F-4ABC-911B-FBF864839B8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Tree>
    <p:extLst>
      <p:ext uri="{BB962C8B-B14F-4D97-AF65-F5344CB8AC3E}">
        <p14:creationId xmlns:p14="http://schemas.microsoft.com/office/powerpoint/2010/main" val="3196964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53000">
              <a:srgbClr val="A8BCCF"/>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083853-7B5B-4459-8CF8-4ED81C9BDE2E}"/>
              </a:ext>
            </a:extLst>
          </p:cNvPr>
          <p:cNvGraphicFramePr>
            <a:graphicFrameLocks noChangeAspect="1"/>
          </p:cNvGraphicFramePr>
          <p:nvPr userDrawn="1">
            <p:custDataLst>
              <p:tags r:id="rId2"/>
            </p:custDataLst>
            <p:extLst>
              <p:ext uri="{D42A27DB-BD31-4B8C-83A1-F6EECF244321}">
                <p14:modId xmlns:p14="http://schemas.microsoft.com/office/powerpoint/2010/main" val="1908520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0083853-7B5B-4459-8CF8-4ED81C9BDE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sp>
        <p:nvSpPr>
          <p:cNvPr id="59" name="Rectangle 58"/>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11" name="Rectangle 10">
            <a:extLst>
              <a:ext uri="{FF2B5EF4-FFF2-40B4-BE49-F238E27FC236}">
                <a16:creationId xmlns:a16="http://schemas.microsoft.com/office/drawing/2014/main" id="{C9D40535-E505-4D5A-9406-D67B1CE3513B}"/>
              </a:ext>
            </a:extLst>
          </p:cNvPr>
          <p:cNvSpPr/>
          <p:nvPr userDrawn="1"/>
        </p:nvSpPr>
        <p:spPr bwMode="auto">
          <a:xfrm>
            <a:off x="0" y="5183"/>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9A34FC9E-CB22-4D6D-8BF5-897571E0A74B}"/>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pic>
        <p:nvPicPr>
          <p:cNvPr id="7" name="Picture 6" descr="A picture containing graphical user interface&#10;&#10;Description automatically generated">
            <a:extLst>
              <a:ext uri="{FF2B5EF4-FFF2-40B4-BE49-F238E27FC236}">
                <a16:creationId xmlns:a16="http://schemas.microsoft.com/office/drawing/2014/main" id="{4E46E0C2-4951-457D-A09A-888158445CD5}"/>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Slide Number Placeholder 28">
            <a:extLst>
              <a:ext uri="{FF2B5EF4-FFF2-40B4-BE49-F238E27FC236}">
                <a16:creationId xmlns:a16="http://schemas.microsoft.com/office/drawing/2014/main" id="{A35D7BE0-0DD0-410C-A9CD-53993062D71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3210349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53000">
              <a:srgbClr val="A8BCCF"/>
            </a:gs>
            <a:gs pos="4000">
              <a:srgbClr val="4C7895"/>
            </a:gs>
            <a:gs pos="93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C24554-B005-47F2-9D30-D14A67E98A75}"/>
              </a:ext>
            </a:extLst>
          </p:cNvPr>
          <p:cNvGraphicFramePr>
            <a:graphicFrameLocks noChangeAspect="1"/>
          </p:cNvGraphicFramePr>
          <p:nvPr userDrawn="1">
            <p:custDataLst>
              <p:tags r:id="rId2"/>
            </p:custDataLst>
            <p:extLst>
              <p:ext uri="{D42A27DB-BD31-4B8C-83A1-F6EECF244321}">
                <p14:modId xmlns:p14="http://schemas.microsoft.com/office/powerpoint/2010/main" val="1006801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BDC24554-B005-47F2-9D30-D14A67E98A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72500" y="2870100"/>
            <a:ext cx="8202600" cy="1530900"/>
          </a:xfrm>
        </p:spPr>
        <p:txBody>
          <a:bodyPr vert="horz" anchor="t">
            <a:noAutofit/>
          </a:bodyPr>
          <a:lstStyle>
            <a:lvl1pPr rtl="0">
              <a:defRPr sz="40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descr="A picture containing graphical user interface&#10;&#10;Description automatically generated">
            <a:extLst>
              <a:ext uri="{FF2B5EF4-FFF2-40B4-BE49-F238E27FC236}">
                <a16:creationId xmlns:a16="http://schemas.microsoft.com/office/drawing/2014/main" id="{E1EDF763-4D8F-40C4-A985-6F138580C5B0}"/>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7" name="Slide Number Placeholder 28">
            <a:extLst>
              <a:ext uri="{FF2B5EF4-FFF2-40B4-BE49-F238E27FC236}">
                <a16:creationId xmlns:a16="http://schemas.microsoft.com/office/drawing/2014/main" id="{44C25146-A1C7-428E-B555-8468058E2178}"/>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650854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53000">
              <a:srgbClr val="84A2B8"/>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96F4D1-F6FE-402C-8EA8-C2F798376D5D}"/>
              </a:ext>
            </a:extLst>
          </p:cNvPr>
          <p:cNvGraphicFramePr>
            <a:graphicFrameLocks noChangeAspect="1"/>
          </p:cNvGraphicFramePr>
          <p:nvPr userDrawn="1">
            <p:custDataLst>
              <p:tags r:id="rId2"/>
            </p:custDataLst>
            <p:extLst>
              <p:ext uri="{D42A27DB-BD31-4B8C-83A1-F6EECF244321}">
                <p14:modId xmlns:p14="http://schemas.microsoft.com/office/powerpoint/2010/main" val="11332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32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descr="A picture containing graphical user interface&#10;&#10;Description automatically generated">
            <a:extLst>
              <a:ext uri="{FF2B5EF4-FFF2-40B4-BE49-F238E27FC236}">
                <a16:creationId xmlns:a16="http://schemas.microsoft.com/office/drawing/2014/main" id="{CC3BF16A-B26F-445B-8978-99931C9DA26D}"/>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3B4E435D-02B3-4ABC-B0B3-5F198008F2C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F23E0862-ED8C-4573-BFEC-F70A244D79E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364963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53000">
              <a:srgbClr val="84A2B8"/>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A249-CE94-4087-88B4-101BB7C4A962}"/>
              </a:ext>
            </a:extLst>
          </p:cNvPr>
          <p:cNvGraphicFramePr>
            <a:graphicFrameLocks noChangeAspect="1"/>
          </p:cNvGraphicFramePr>
          <p:nvPr userDrawn="1">
            <p:custDataLst>
              <p:tags r:id="rId2"/>
            </p:custDataLst>
            <p:extLst>
              <p:ext uri="{D42A27DB-BD31-4B8C-83A1-F6EECF244321}">
                <p14:modId xmlns:p14="http://schemas.microsoft.com/office/powerpoint/2010/main" val="2942152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6"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40CAA249-CE94-4087-88B4-101BB7C4A9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9" name="Picture 8" descr="A picture containing graphical user interface&#10;&#10;Description automatically generated">
            <a:extLst>
              <a:ext uri="{FF2B5EF4-FFF2-40B4-BE49-F238E27FC236}">
                <a16:creationId xmlns:a16="http://schemas.microsoft.com/office/drawing/2014/main" id="{3A693ABD-0633-42B2-A61B-63C8A8DD6C96}"/>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39B8F079-D056-445E-A238-4E1B8477AE9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E8FFF525-3F74-4911-B2F3-D88AE9F7980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4" name="Title 3">
            <a:extLst>
              <a:ext uri="{FF2B5EF4-FFF2-40B4-BE49-F238E27FC236}">
                <a16:creationId xmlns:a16="http://schemas.microsoft.com/office/drawing/2014/main" id="{0A2A7DF0-A967-45E2-9BB5-A8ADB6C95E4C}"/>
              </a:ext>
            </a:extLst>
          </p:cNvPr>
          <p:cNvSpPr>
            <a:spLocks noGrp="1"/>
          </p:cNvSpPr>
          <p:nvPr>
            <p:ph type="title"/>
          </p:nvPr>
        </p:nvSpPr>
        <p:spPr>
          <a:xfrm>
            <a:off x="472501" y="300174"/>
            <a:ext cx="4747572"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72874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and Text">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02B179C-5C1E-4FB7-A7CE-F754A0D98874}"/>
              </a:ext>
            </a:extLst>
          </p:cNvPr>
          <p:cNvGraphicFramePr>
            <a:graphicFrameLocks noChangeAspect="1"/>
          </p:cNvGraphicFramePr>
          <p:nvPr userDrawn="1">
            <p:custDataLst>
              <p:tags r:id="rId2"/>
            </p:custDataLst>
            <p:extLst>
              <p:ext uri="{D42A27DB-BD31-4B8C-83A1-F6EECF244321}">
                <p14:modId xmlns:p14="http://schemas.microsoft.com/office/powerpoint/2010/main" val="625360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8" name="Picture 7" descr="A picture containing graphical user interface&#10;&#10;Description automatically generated">
            <a:extLst>
              <a:ext uri="{FF2B5EF4-FFF2-40B4-BE49-F238E27FC236}">
                <a16:creationId xmlns:a16="http://schemas.microsoft.com/office/drawing/2014/main" id="{A2B130EA-0823-4FCC-BC90-3840481EBDBF}"/>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Copyright" hidden="1">
            <a:extLst>
              <a:ext uri="{FF2B5EF4-FFF2-40B4-BE49-F238E27FC236}">
                <a16:creationId xmlns:a16="http://schemas.microsoft.com/office/drawing/2014/main" id="{8EA957CC-8B66-46A2-BC69-A269BE0396C9}"/>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1" name="Text Placeholder 10">
            <a:extLst>
              <a:ext uri="{FF2B5EF4-FFF2-40B4-BE49-F238E27FC236}">
                <a16:creationId xmlns:a16="http://schemas.microsoft.com/office/drawing/2014/main" id="{35847AC7-7BC4-4B1D-B0F6-576CA9E65636}"/>
              </a:ext>
            </a:extLst>
          </p:cNvPr>
          <p:cNvSpPr>
            <a:spLocks noGrp="1"/>
          </p:cNvSpPr>
          <p:nvPr>
            <p:ph type="body" sz="quarter" idx="11"/>
          </p:nvPr>
        </p:nvSpPr>
        <p:spPr>
          <a:xfrm>
            <a:off x="472050" y="1564221"/>
            <a:ext cx="8200463" cy="3031200"/>
          </a:xfrm>
        </p:spPr>
        <p:txBody>
          <a:bodyPr/>
          <a:lstStyle>
            <a:lvl1pPr rtl="0">
              <a:defRPr sz="1400">
                <a:latin typeface="+mn-lt"/>
                <a:ea typeface="+mn-ea"/>
                <a:cs typeface="+mn-cs"/>
                <a:sym typeface="Novel Sans Pro" panose="02000000000000000000" pitchFamily="50" charset="0"/>
              </a:defRPr>
            </a:lvl1pPr>
            <a:lvl2pPr rtl="0">
              <a:defRPr sz="1400">
                <a:latin typeface="+mn-lt"/>
                <a:ea typeface="+mn-ea"/>
                <a:cs typeface="+mn-cs"/>
                <a:sym typeface="Novel Sans Pro" panose="02000000000000000000" pitchFamily="50" charset="0"/>
              </a:defRPr>
            </a:lvl2pPr>
            <a:lvl3pPr rtl="0">
              <a:defRPr sz="1400">
                <a:latin typeface="+mn-lt"/>
                <a:ea typeface="+mn-ea"/>
                <a:cs typeface="+mn-cs"/>
                <a:sym typeface="Novel Sans Pro" panose="02000000000000000000" pitchFamily="50" charset="0"/>
              </a:defRPr>
            </a:lvl3pPr>
            <a:lvl4pPr rtl="0">
              <a:defRPr sz="1400">
                <a:latin typeface="+mn-lt"/>
                <a:ea typeface="+mn-ea"/>
                <a:cs typeface="+mn-cs"/>
                <a:sym typeface="Novel Sans Pro" panose="02000000000000000000" pitchFamily="50" charset="0"/>
              </a:defRPr>
            </a:lvl4pPr>
            <a:lvl5pPr rtl="0">
              <a:defRPr sz="1400">
                <a:latin typeface="+mn-lt"/>
                <a:ea typeface="+mn-ea"/>
                <a:cs typeface="+mn-cs"/>
                <a:sym typeface="Novel Sans Pro" panose="02000000000000000000" pitchFamily="50" charset="0"/>
              </a:defRPr>
            </a:lvl5pPr>
          </a:lstStyle>
          <a:p>
            <a:pPr lvl="0"/>
            <a:r>
              <a:rPr lang="de-DE" dirty="0"/>
              <a:t>Click to edit Master text styles</a:t>
            </a:r>
          </a:p>
          <a:p>
            <a:pPr lvl="1"/>
            <a:r>
              <a:rPr lang="de-DE" dirty="0"/>
              <a:t>Second level</a:t>
            </a:r>
          </a:p>
          <a:p>
            <a:pPr lvl="2"/>
            <a:r>
              <a:rPr lang="de-DE" dirty="0"/>
              <a:t>Third level</a:t>
            </a:r>
          </a:p>
          <a:p>
            <a:pPr lvl="3"/>
            <a:r>
              <a:rPr lang="de-DE" dirty="0"/>
              <a:t>Fourth level</a:t>
            </a:r>
          </a:p>
          <a:p>
            <a:pPr lvl="4"/>
            <a:r>
              <a:rPr lang="de-DE" dirty="0"/>
              <a:t>Fifth level</a:t>
            </a:r>
          </a:p>
        </p:txBody>
      </p:sp>
      <p:sp>
        <p:nvSpPr>
          <p:cNvPr id="12" name="Rectangle 11">
            <a:extLst>
              <a:ext uri="{FF2B5EF4-FFF2-40B4-BE49-F238E27FC236}">
                <a16:creationId xmlns:a16="http://schemas.microsoft.com/office/drawing/2014/main" id="{CD48C7EA-FBD7-4B33-9233-0EF82A807F75}"/>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3685745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53000">
              <a:srgbClr val="A8BCCF"/>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56801F-F45C-48FF-9137-7406E7EC3FE6}"/>
              </a:ext>
            </a:extLst>
          </p:cNvPr>
          <p:cNvGraphicFramePr>
            <a:graphicFrameLocks noChangeAspect="1"/>
          </p:cNvGraphicFramePr>
          <p:nvPr userDrawn="1">
            <p:custDataLst>
              <p:tags r:id="rId2"/>
            </p:custDataLst>
            <p:extLst>
              <p:ext uri="{D42A27DB-BD31-4B8C-83A1-F6EECF244321}">
                <p14:modId xmlns:p14="http://schemas.microsoft.com/office/powerpoint/2010/main" val="13706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32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9" name="Picture 8" descr="A picture containing graphical user interface&#10;&#10;Description automatically generated">
            <a:extLst>
              <a:ext uri="{FF2B5EF4-FFF2-40B4-BE49-F238E27FC236}">
                <a16:creationId xmlns:a16="http://schemas.microsoft.com/office/drawing/2014/main" id="{B6696603-AF11-46F0-9D65-E265B1311A2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0C784861-DAE1-4DF7-A638-37CB2F678293}"/>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7" name="Copyright" hidden="1">
            <a:extLst>
              <a:ext uri="{FF2B5EF4-FFF2-40B4-BE49-F238E27FC236}">
                <a16:creationId xmlns:a16="http://schemas.microsoft.com/office/drawing/2014/main" id="{4F914B6D-2343-46C0-8D47-C363DC466194}"/>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37765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9E5356-FFE0-4352-AAEA-C87B169148EA}"/>
              </a:ext>
            </a:extLst>
          </p:cNvPr>
          <p:cNvGraphicFramePr>
            <a:graphicFrameLocks noChangeAspect="1"/>
          </p:cNvGraphicFramePr>
          <p:nvPr userDrawn="1">
            <p:custDataLst>
              <p:tags r:id="rId2"/>
            </p:custDataLst>
            <p:extLst>
              <p:ext uri="{D42A27DB-BD31-4B8C-83A1-F6EECF244321}">
                <p14:modId xmlns:p14="http://schemas.microsoft.com/office/powerpoint/2010/main" val="93826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4"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1D9E5356-FFE0-4352-AAEA-C87B169148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13" name="Picture Placeholder 18"/>
          <p:cNvSpPr>
            <a:spLocks noGrp="1"/>
          </p:cNvSpPr>
          <p:nvPr>
            <p:ph type="pic" sz="quarter" idx="14" hasCustomPrompt="1"/>
          </p:nvPr>
        </p:nvSpPr>
        <p:spPr>
          <a:xfrm>
            <a:off x="4572000" y="0"/>
            <a:ext cx="4574983" cy="5143500"/>
          </a:xfrm>
          <a:prstGeom prst="rect">
            <a:avLst/>
          </a:prstGeom>
          <a:noFill/>
        </p:spPr>
        <p:txBody>
          <a:bodyPr lIns="914400" tIns="914400" rIns="914400" bIns="914400"/>
          <a:lstStyle>
            <a:lvl1pPr algn="ctr" rtl="0">
              <a:defRPr sz="1400" baseline="0">
                <a:latin typeface="+mn-lt"/>
                <a:ea typeface="+mn-ea"/>
                <a:cs typeface="+mn-cs"/>
                <a:sym typeface="Novel Sans Pro" panose="02000000000000000000" pitchFamily="50"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4" name="Title 1"/>
          <p:cNvSpPr>
            <a:spLocks noGrp="1"/>
          </p:cNvSpPr>
          <p:nvPr>
            <p:ph type="title" hasCustomPrompt="1"/>
          </p:nvPr>
        </p:nvSpPr>
        <p:spPr bwMode="black">
          <a:xfrm>
            <a:off x="472500" y="1339200"/>
            <a:ext cx="3527006" cy="2465100"/>
          </a:xfrm>
          <a:prstGeom prst="rect">
            <a:avLst/>
          </a:prstGeom>
          <a:noFill/>
        </p:spPr>
        <p:txBody>
          <a:bodyPr vert="horz" wrap="square" lIns="0" tIns="0" rIns="320040" bIns="0" anchor="ctr">
            <a:noAutofit/>
          </a:bodyPr>
          <a:lstStyle>
            <a:lvl1pPr rtl="0">
              <a:defRPr sz="40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0" name="Picture 9" descr="A picture containing graphical user interface&#10;&#10;Description automatically generated">
            <a:extLst>
              <a:ext uri="{FF2B5EF4-FFF2-40B4-BE49-F238E27FC236}">
                <a16:creationId xmlns:a16="http://schemas.microsoft.com/office/drawing/2014/main" id="{272F1F55-1E23-400C-8F29-61EC10D72EB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7" name="Slide Number Placeholder 28">
            <a:extLst>
              <a:ext uri="{FF2B5EF4-FFF2-40B4-BE49-F238E27FC236}">
                <a16:creationId xmlns:a16="http://schemas.microsoft.com/office/drawing/2014/main" id="{4F44990F-7864-4EC5-B32F-8FB48B66FC35}"/>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8" name="Copyright" hidden="1">
            <a:extLst>
              <a:ext uri="{FF2B5EF4-FFF2-40B4-BE49-F238E27FC236}">
                <a16:creationId xmlns:a16="http://schemas.microsoft.com/office/drawing/2014/main" id="{63EB155E-CA1A-4A08-841D-BFC9E9F8F934}"/>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317466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AE0E01-AF96-4DC0-9493-49D695432ABC}"/>
              </a:ext>
            </a:extLst>
          </p:cNvPr>
          <p:cNvGraphicFramePr>
            <a:graphicFrameLocks noChangeAspect="1"/>
          </p:cNvGraphicFramePr>
          <p:nvPr userDrawn="1">
            <p:custDataLst>
              <p:tags r:id="rId2"/>
            </p:custDataLst>
            <p:extLst>
              <p:ext uri="{D42A27DB-BD31-4B8C-83A1-F6EECF244321}">
                <p14:modId xmlns:p14="http://schemas.microsoft.com/office/powerpoint/2010/main" val="3359478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23AE0E01-AF96-4DC0-9493-49D695432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11" name="Picture Placeholder 5"/>
          <p:cNvSpPr>
            <a:spLocks noGrp="1"/>
          </p:cNvSpPr>
          <p:nvPr>
            <p:ph type="pic" sz="quarter" idx="11" hasCustomPrompt="1"/>
          </p:nvPr>
        </p:nvSpPr>
        <p:spPr>
          <a:xfrm>
            <a:off x="5864658" y="0"/>
            <a:ext cx="3278981" cy="5143500"/>
          </a:xfrm>
          <a:prstGeom prst="rect">
            <a:avLst/>
          </a:prstGeom>
          <a:noFill/>
        </p:spPr>
        <p:txBody>
          <a:bodyPr lIns="182880" tIns="914400" rIns="182880" bIns="914400"/>
          <a:lstStyle>
            <a:lvl1pPr algn="ctr" rtl="0">
              <a:defRPr sz="1200">
                <a:solidFill>
                  <a:schemeClr val="tx1"/>
                </a:solidFill>
                <a:latin typeface="+mn-lt"/>
                <a:ea typeface="+mn-ea"/>
                <a:cs typeface="+mn-cs"/>
                <a:sym typeface="Novel Sans Pro" panose="02000000000000000000" pitchFamily="50"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4" name="Title 1"/>
          <p:cNvSpPr>
            <a:spLocks noGrp="1"/>
          </p:cNvSpPr>
          <p:nvPr>
            <p:ph type="title" hasCustomPrompt="1"/>
          </p:nvPr>
        </p:nvSpPr>
        <p:spPr bwMode="blackWhite">
          <a:xfrm>
            <a:off x="472500" y="1339200"/>
            <a:ext cx="4685664" cy="2465100"/>
          </a:xfrm>
          <a:prstGeom prst="rect">
            <a:avLst/>
          </a:prstGeom>
        </p:spPr>
        <p:txBody>
          <a:bodyPr vert="horz" anchor="ctr">
            <a:noAutofit/>
          </a:bodyPr>
          <a:lstStyle>
            <a:lvl1pPr rtl="0">
              <a:defRPr sz="40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edit</a:t>
            </a:r>
            <a:r>
              <a:rPr lang="de-DE" dirty="0"/>
              <a:t> title</a:t>
            </a:r>
          </a:p>
        </p:txBody>
      </p:sp>
      <p:pic>
        <p:nvPicPr>
          <p:cNvPr id="15" name="Picture 14" descr="A picture containing graphical user interface&#10;&#10;Description automatically generated">
            <a:extLst>
              <a:ext uri="{FF2B5EF4-FFF2-40B4-BE49-F238E27FC236}">
                <a16:creationId xmlns:a16="http://schemas.microsoft.com/office/drawing/2014/main" id="{70B86B27-FF49-4A23-B0B3-452BFF3E0FD4}"/>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6" name="Slide Number Placeholder 28">
            <a:extLst>
              <a:ext uri="{FF2B5EF4-FFF2-40B4-BE49-F238E27FC236}">
                <a16:creationId xmlns:a16="http://schemas.microsoft.com/office/drawing/2014/main" id="{9A4A7C64-4404-487C-84C9-47C151DE85C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8" name="Copyright" hidden="1">
            <a:extLst>
              <a:ext uri="{FF2B5EF4-FFF2-40B4-BE49-F238E27FC236}">
                <a16:creationId xmlns:a16="http://schemas.microsoft.com/office/drawing/2014/main" id="{D720B0FD-5EE8-4A4E-99D5-F3E5765A6ED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533250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905843-E0F0-48D2-B07F-C4257A139269}"/>
              </a:ext>
            </a:extLst>
          </p:cNvPr>
          <p:cNvGraphicFramePr>
            <a:graphicFrameLocks noChangeAspect="1"/>
          </p:cNvGraphicFramePr>
          <p:nvPr userDrawn="1">
            <p:custDataLst>
              <p:tags r:id="rId2"/>
            </p:custDataLst>
            <p:extLst>
              <p:ext uri="{D42A27DB-BD31-4B8C-83A1-F6EECF244321}">
                <p14:modId xmlns:p14="http://schemas.microsoft.com/office/powerpoint/2010/main" val="411760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picture containing graphical user interface&#10;&#10;Description automatically generated">
            <a:extLst>
              <a:ext uri="{FF2B5EF4-FFF2-40B4-BE49-F238E27FC236}">
                <a16:creationId xmlns:a16="http://schemas.microsoft.com/office/drawing/2014/main" id="{2A5E12AB-C024-40F6-93CB-5ED985921E26}"/>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29E16EA8-9C00-4E3F-A411-10F7CDC18C5D}"/>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74168232-14E7-4ED8-9927-CDA8F905BA3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5" name="Title 2">
            <a:extLst>
              <a:ext uri="{FF2B5EF4-FFF2-40B4-BE49-F238E27FC236}">
                <a16:creationId xmlns:a16="http://schemas.microsoft.com/office/drawing/2014/main" id="{23A07C72-BB8A-44B5-BE16-87FF6F59E1A7}"/>
              </a:ext>
            </a:extLst>
          </p:cNvPr>
          <p:cNvSpPr>
            <a:spLocks noGrp="1"/>
          </p:cNvSpPr>
          <p:nvPr>
            <p:ph type="title" hasCustomPrompt="1"/>
          </p:nvPr>
        </p:nvSpPr>
        <p:spPr>
          <a:xfrm>
            <a:off x="472500" y="2073153"/>
            <a:ext cx="2299300" cy="985733"/>
          </a:xfrm>
        </p:spPr>
        <p:txBody>
          <a:bodyPr vert="horz" anchor="ctr" anchorCtr="0">
            <a:noAutofit/>
          </a:bodyPr>
          <a:lstStyle>
            <a:lvl1pPr rtl="0">
              <a:defRPr sz="3200" baseline="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Tree>
    <p:extLst>
      <p:ext uri="{BB962C8B-B14F-4D97-AF65-F5344CB8AC3E}">
        <p14:creationId xmlns:p14="http://schemas.microsoft.com/office/powerpoint/2010/main" val="2660414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40F649-2223-4090-9C24-900C8C96AE03}"/>
              </a:ext>
            </a:extLst>
          </p:cNvPr>
          <p:cNvGraphicFramePr>
            <a:graphicFrameLocks noChangeAspect="1"/>
          </p:cNvGraphicFramePr>
          <p:nvPr userDrawn="1">
            <p:custDataLst>
              <p:tags r:id="rId2"/>
            </p:custDataLst>
            <p:extLst>
              <p:ext uri="{D42A27DB-BD31-4B8C-83A1-F6EECF244321}">
                <p14:modId xmlns:p14="http://schemas.microsoft.com/office/powerpoint/2010/main" val="4048314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3" name="Title 2"/>
          <p:cNvSpPr>
            <a:spLocks noGrp="1"/>
          </p:cNvSpPr>
          <p:nvPr>
            <p:ph type="title" hasCustomPrompt="1"/>
          </p:nvPr>
        </p:nvSpPr>
        <p:spPr>
          <a:xfrm>
            <a:off x="472500" y="2073153"/>
            <a:ext cx="2299300" cy="985733"/>
          </a:xfrm>
        </p:spPr>
        <p:txBody>
          <a:bodyPr vert="horz" anchor="ctr" anchorCtr="0">
            <a:noAutofit/>
          </a:bodyPr>
          <a:lstStyle>
            <a:lvl1pPr rtl="0">
              <a:defRPr sz="3200" baseline="0">
                <a:solidFill>
                  <a:srgbClr val="FFFFFF"/>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20A09BF2-C581-43B1-9B8B-72E3E38A33EA}"/>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DAC81006-FDF1-4387-80BC-56C3201DF67E}"/>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7" name="Copyright" hidden="1">
            <a:extLst>
              <a:ext uri="{FF2B5EF4-FFF2-40B4-BE49-F238E27FC236}">
                <a16:creationId xmlns:a16="http://schemas.microsoft.com/office/drawing/2014/main" id="{F38C24EB-F0E3-4F48-834E-48BA72D260E9}"/>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478281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015178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711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200" b="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A picture containing graphical user interface&#10;&#10;Description automatically generated">
            <a:extLst>
              <a:ext uri="{FF2B5EF4-FFF2-40B4-BE49-F238E27FC236}">
                <a16:creationId xmlns:a16="http://schemas.microsoft.com/office/drawing/2014/main" id="{B52E80B2-6E86-415C-A152-26F821E51A4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Slide Number Placeholder 28">
            <a:extLst>
              <a:ext uri="{FF2B5EF4-FFF2-40B4-BE49-F238E27FC236}">
                <a16:creationId xmlns:a16="http://schemas.microsoft.com/office/drawing/2014/main" id="{66DB0A60-9654-4401-8DB4-4591D7D5EF8D}"/>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716B11F8-DF1D-47A5-9126-57ED8281692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066052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3FCF47-46BC-4B0B-AB63-47AB05CDD54D}"/>
              </a:ext>
            </a:extLst>
          </p:cNvPr>
          <p:cNvGraphicFramePr>
            <a:graphicFrameLocks noChangeAspect="1"/>
          </p:cNvGraphicFramePr>
          <p:nvPr userDrawn="1">
            <p:custDataLst>
              <p:tags r:id="rId2"/>
            </p:custDataLst>
            <p:extLst>
              <p:ext uri="{D42A27DB-BD31-4B8C-83A1-F6EECF244321}">
                <p14:modId xmlns:p14="http://schemas.microsoft.com/office/powerpoint/2010/main" val="424655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4"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803FCF47-46BC-4B0B-AB63-47AB05CDD5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200" b="0">
                <a:solidFill>
                  <a:srgbClr val="FFFFFF"/>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847AE012-95CF-4746-81DC-F80B8B93AD4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ED3CAD9B-E731-41FE-A945-B83402BAC27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5" name="Copyright" hidden="1">
            <a:extLst>
              <a:ext uri="{FF2B5EF4-FFF2-40B4-BE49-F238E27FC236}">
                <a16:creationId xmlns:a16="http://schemas.microsoft.com/office/drawing/2014/main" id="{97C87198-B4A2-46CE-8055-137CDEFE1156}"/>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490860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1305C5-B4B2-4F1B-B75C-2BDF211822FB}"/>
              </a:ext>
            </a:extLst>
          </p:cNvPr>
          <p:cNvGraphicFramePr>
            <a:graphicFrameLocks noChangeAspect="1"/>
          </p:cNvGraphicFramePr>
          <p:nvPr userDrawn="1">
            <p:custDataLst>
              <p:tags r:id="rId2"/>
            </p:custDataLst>
            <p:extLst>
              <p:ext uri="{D42A27DB-BD31-4B8C-83A1-F6EECF244321}">
                <p14:modId xmlns:p14="http://schemas.microsoft.com/office/powerpoint/2010/main" val="168974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941305C5-B4B2-4F1B-B75C-2BDF211822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picture containing graphical user interface&#10;&#10;Description automatically generated">
            <a:extLst>
              <a:ext uri="{FF2B5EF4-FFF2-40B4-BE49-F238E27FC236}">
                <a16:creationId xmlns:a16="http://schemas.microsoft.com/office/drawing/2014/main" id="{C9F6064C-488A-421F-A266-C81B6A30F2F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BF76C93B-CB23-4C52-8585-B0E5FBACA3F9}"/>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238F9428-0072-4500-89B6-544D0C2891B1}"/>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3" name="Title 12">
            <a:extLst>
              <a:ext uri="{FF2B5EF4-FFF2-40B4-BE49-F238E27FC236}">
                <a16:creationId xmlns:a16="http://schemas.microsoft.com/office/drawing/2014/main" id="{AAB17000-4DFA-47B7-9B04-C201AA5111C0}"/>
              </a:ext>
            </a:extLst>
          </p:cNvPr>
          <p:cNvSpPr>
            <a:spLocks noGrp="1"/>
          </p:cNvSpPr>
          <p:nvPr>
            <p:ph type="title"/>
          </p:nvPr>
        </p:nvSpPr>
        <p:spPr>
          <a:xfrm>
            <a:off x="472501" y="300174"/>
            <a:ext cx="3595444"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615834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4D6DB2-A1BE-41D9-99EB-3CD3818821CB}"/>
              </a:ext>
            </a:extLst>
          </p:cNvPr>
          <p:cNvGraphicFramePr>
            <a:graphicFrameLocks noChangeAspect="1"/>
          </p:cNvGraphicFramePr>
          <p:nvPr userDrawn="1">
            <p:custDataLst>
              <p:tags r:id="rId2"/>
            </p:custDataLst>
            <p:extLst>
              <p:ext uri="{D42A27DB-BD31-4B8C-83A1-F6EECF244321}">
                <p14:modId xmlns:p14="http://schemas.microsoft.com/office/powerpoint/2010/main" val="113863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2"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14D6DB2-A1BE-41D9-99EB-3CD3818821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42B8BD63-5CC1-4B94-8C25-C400E7AA1B71}"/>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39CF58BF-E253-4C7B-A1AD-5F34AA5967D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5" name="Copyright" hidden="1">
            <a:extLst>
              <a:ext uri="{FF2B5EF4-FFF2-40B4-BE49-F238E27FC236}">
                <a16:creationId xmlns:a16="http://schemas.microsoft.com/office/drawing/2014/main" id="{DD7ADCFB-8A47-4530-B5D2-D4899FABE3DD}"/>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6" name="Title 5">
            <a:extLst>
              <a:ext uri="{FF2B5EF4-FFF2-40B4-BE49-F238E27FC236}">
                <a16:creationId xmlns:a16="http://schemas.microsoft.com/office/drawing/2014/main" id="{17DF5C78-5F99-4DAD-9A75-68325E8268B3}"/>
              </a:ext>
            </a:extLst>
          </p:cNvPr>
          <p:cNvSpPr>
            <a:spLocks noGrp="1"/>
          </p:cNvSpPr>
          <p:nvPr>
            <p:ph type="title"/>
          </p:nvPr>
        </p:nvSpPr>
        <p:spPr>
          <a:xfrm>
            <a:off x="472501" y="300174"/>
            <a:ext cx="3523435"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447652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0509FF-07D2-4178-855D-3E4025DCD21A}"/>
              </a:ext>
            </a:extLst>
          </p:cNvPr>
          <p:cNvGraphicFramePr>
            <a:graphicFrameLocks noChangeAspect="1"/>
          </p:cNvGraphicFramePr>
          <p:nvPr userDrawn="1">
            <p:custDataLst>
              <p:tags r:id="rId2"/>
            </p:custDataLst>
            <p:extLst>
              <p:ext uri="{D42A27DB-BD31-4B8C-83A1-F6EECF244321}">
                <p14:modId xmlns:p14="http://schemas.microsoft.com/office/powerpoint/2010/main" val="4266154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6"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3C0509FF-07D2-4178-855D-3E4025DCD2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picture containing graphical user interface&#10;&#10;Description automatically generated">
            <a:extLst>
              <a:ext uri="{FF2B5EF4-FFF2-40B4-BE49-F238E27FC236}">
                <a16:creationId xmlns:a16="http://schemas.microsoft.com/office/drawing/2014/main" id="{CB20BDB0-C68E-4DAC-9774-BAC28AA8E38C}"/>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4935D2C7-8543-4756-A644-207AE1AA3817}"/>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4" name="Title 3">
            <a:extLst>
              <a:ext uri="{FF2B5EF4-FFF2-40B4-BE49-F238E27FC236}">
                <a16:creationId xmlns:a16="http://schemas.microsoft.com/office/drawing/2014/main" id="{488A78A9-DD59-4A68-871B-3753DCF53CE3}"/>
              </a:ext>
            </a:extLst>
          </p:cNvPr>
          <p:cNvSpPr>
            <a:spLocks noGrp="1"/>
          </p:cNvSpPr>
          <p:nvPr>
            <p:ph type="title"/>
          </p:nvPr>
        </p:nvSpPr>
        <p:spPr>
          <a:xfrm>
            <a:off x="472501" y="300174"/>
            <a:ext cx="5179620"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770104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10F249-6E15-4E6C-B46C-EB96BE35D57F}"/>
              </a:ext>
            </a:extLst>
          </p:cNvPr>
          <p:cNvGraphicFramePr>
            <a:graphicFrameLocks noChangeAspect="1"/>
          </p:cNvGraphicFramePr>
          <p:nvPr userDrawn="1">
            <p:custDataLst>
              <p:tags r:id="rId2"/>
            </p:custDataLst>
            <p:extLst>
              <p:ext uri="{D42A27DB-BD31-4B8C-83A1-F6EECF244321}">
                <p14:modId xmlns:p14="http://schemas.microsoft.com/office/powerpoint/2010/main" val="398477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rtl="0">
              <a:buNone/>
              <a:defRPr sz="1200">
                <a:solidFill>
                  <a:srgbClr val="0A4E78"/>
                </a:solidFill>
                <a:latin typeface="+mn-lt"/>
                <a:ea typeface="+mn-ea"/>
                <a:cs typeface="+mn-cs"/>
                <a:sym typeface="Novel Sans Pro" panose="02000000000000000000" pitchFamily="50"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Click </a:t>
            </a:r>
            <a:r>
              <a:rPr lang="de-DE" dirty="0" err="1"/>
              <a:t>to</a:t>
            </a:r>
            <a:r>
              <a:rPr lang="de-DE" dirty="0"/>
              <a:t> </a:t>
            </a:r>
            <a:r>
              <a:rPr lang="de-DE" dirty="0" err="1"/>
              <a:t>add</a:t>
            </a:r>
            <a:r>
              <a:rPr lang="de-DE" dirty="0"/>
              <a:t> </a:t>
            </a:r>
            <a:r>
              <a:rPr lang="de-DE" dirty="0" err="1"/>
              <a:t>subtitle</a:t>
            </a:r>
            <a:endParaRPr lang="de-DE" dirty="0"/>
          </a:p>
        </p:txBody>
      </p:sp>
      <p:sp>
        <p:nvSpPr>
          <p:cNvPr id="9" name="Title 4"/>
          <p:cNvSpPr>
            <a:spLocks noGrp="1"/>
          </p:cNvSpPr>
          <p:nvPr>
            <p:ph type="title" hasCustomPrompt="1"/>
          </p:nvPr>
        </p:nvSpPr>
        <p:spPr>
          <a:xfrm>
            <a:off x="472500" y="920286"/>
            <a:ext cx="2808000" cy="498598"/>
          </a:xfrm>
        </p:spPr>
        <p:txBody>
          <a:bodyPr vert="horz" anchor="t">
            <a:noAutofit/>
          </a:bodyPr>
          <a:lstStyle>
            <a:lvl1pPr rtl="0">
              <a:defRPr sz="24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0" name="Picture 9" descr="A picture containing graphical user interface&#10;&#10;Description automatically generated">
            <a:extLst>
              <a:ext uri="{FF2B5EF4-FFF2-40B4-BE49-F238E27FC236}">
                <a16:creationId xmlns:a16="http://schemas.microsoft.com/office/drawing/2014/main" id="{4D0D1356-3CE4-4F6B-A037-25B79345ED7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Copyright" hidden="1">
            <a:extLst>
              <a:ext uri="{FF2B5EF4-FFF2-40B4-BE49-F238E27FC236}">
                <a16:creationId xmlns:a16="http://schemas.microsoft.com/office/drawing/2014/main" id="{F483DC18-167A-4371-B7CA-20669F482E51}"/>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3" name="Rectangle 12">
            <a:extLst>
              <a:ext uri="{FF2B5EF4-FFF2-40B4-BE49-F238E27FC236}">
                <a16:creationId xmlns:a16="http://schemas.microsoft.com/office/drawing/2014/main" id="{47030C66-DB76-42C0-AACE-1B18B62706CE}"/>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4225241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51806A-5D26-4B0B-BE55-017735D67BC5}"/>
              </a:ext>
            </a:extLst>
          </p:cNvPr>
          <p:cNvGraphicFramePr>
            <a:graphicFrameLocks noChangeAspect="1"/>
          </p:cNvGraphicFramePr>
          <p:nvPr userDrawn="1">
            <p:custDataLst>
              <p:tags r:id="rId2"/>
            </p:custDataLst>
            <p:extLst>
              <p:ext uri="{D42A27DB-BD31-4B8C-83A1-F6EECF244321}">
                <p14:modId xmlns:p14="http://schemas.microsoft.com/office/powerpoint/2010/main" val="1043128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0951806A-5D26-4B0B-BE55-017735D67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25AB94AD-69B1-4E09-8B24-A01D7024BF6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5CD62FE8-CC9E-4648-BB9E-68C931CC00D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864A3B1A-5D0E-442F-B1EF-EDB7BC14E6F2}"/>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4" name="Title 3">
            <a:extLst>
              <a:ext uri="{FF2B5EF4-FFF2-40B4-BE49-F238E27FC236}">
                <a16:creationId xmlns:a16="http://schemas.microsoft.com/office/drawing/2014/main" id="{3B7AA13F-4F75-4D1F-9D5F-A73C648826E5}"/>
              </a:ext>
            </a:extLst>
          </p:cNvPr>
          <p:cNvSpPr>
            <a:spLocks noGrp="1"/>
          </p:cNvSpPr>
          <p:nvPr>
            <p:ph type="title"/>
          </p:nvPr>
        </p:nvSpPr>
        <p:spPr>
          <a:xfrm>
            <a:off x="472501" y="300174"/>
            <a:ext cx="5179620"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962044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53000">
              <a:srgbClr val="A8BCCF"/>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B0E9F-7E4A-43D5-A5B2-FC642686363C}"/>
              </a:ext>
            </a:extLst>
          </p:cNvPr>
          <p:cNvGraphicFramePr>
            <a:graphicFrameLocks noChangeAspect="1"/>
          </p:cNvGraphicFramePr>
          <p:nvPr userDrawn="1">
            <p:custDataLst>
              <p:tags r:id="rId2"/>
            </p:custDataLst>
            <p:extLst>
              <p:ext uri="{D42A27DB-BD31-4B8C-83A1-F6EECF244321}">
                <p14:modId xmlns:p14="http://schemas.microsoft.com/office/powerpoint/2010/main" val="379471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4"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D35B0E9F-7E4A-43D5-A5B2-FC64268636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pic>
        <p:nvPicPr>
          <p:cNvPr id="7" name="Picture 6" descr="A picture containing graphical user interface&#10;&#10;Description automatically generated">
            <a:extLst>
              <a:ext uri="{FF2B5EF4-FFF2-40B4-BE49-F238E27FC236}">
                <a16:creationId xmlns:a16="http://schemas.microsoft.com/office/drawing/2014/main" id="{4B0700F9-5974-46C5-9EE4-6F20673ACB8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Slide Number Placeholder 28">
            <a:extLst>
              <a:ext uri="{FF2B5EF4-FFF2-40B4-BE49-F238E27FC236}">
                <a16:creationId xmlns:a16="http://schemas.microsoft.com/office/drawing/2014/main" id="{3FC97092-9B82-4B78-A00B-B634771C63F4}"/>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6AB01545-968B-4C15-B999-7AB07350E3D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68306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FC05E2-CC35-4DE4-BBD9-826AB4661D39}"/>
              </a:ext>
            </a:extLst>
          </p:cNvPr>
          <p:cNvGraphicFramePr>
            <a:graphicFrameLocks noChangeAspect="1"/>
          </p:cNvGraphicFramePr>
          <p:nvPr userDrawn="1">
            <p:custDataLst>
              <p:tags r:id="rId2"/>
            </p:custDataLst>
            <p:extLst>
              <p:ext uri="{D42A27DB-BD31-4B8C-83A1-F6EECF244321}">
                <p14:modId xmlns:p14="http://schemas.microsoft.com/office/powerpoint/2010/main" val="1081036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8"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24FC05E2-CC35-4DE4-BBD9-826AB4661D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472500" y="469106"/>
            <a:ext cx="699516" cy="699516"/>
          </a:xfrm>
          <a:prstGeom prst="rect">
            <a:avLst/>
          </a:prstGeom>
          <a:noFill/>
          <a:ln w="9525">
            <a:solidFill>
              <a:srgbClr val="0A4E7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pic>
        <p:nvPicPr>
          <p:cNvPr id="8" name="Picture 7" descr="A picture containing graphical user interface&#10;&#10;Description automatically generated">
            <a:extLst>
              <a:ext uri="{FF2B5EF4-FFF2-40B4-BE49-F238E27FC236}">
                <a16:creationId xmlns:a16="http://schemas.microsoft.com/office/drawing/2014/main" id="{9BFA3842-2380-4697-ABD7-6F6DC987C633}"/>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Copyright" hidden="1">
            <a:extLst>
              <a:ext uri="{FF2B5EF4-FFF2-40B4-BE49-F238E27FC236}">
                <a16:creationId xmlns:a16="http://schemas.microsoft.com/office/drawing/2014/main" id="{5FA4C702-CA7B-451E-B111-C2AF9E2D391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2" name="Rectangle 11">
            <a:extLst>
              <a:ext uri="{FF2B5EF4-FFF2-40B4-BE49-F238E27FC236}">
                <a16:creationId xmlns:a16="http://schemas.microsoft.com/office/drawing/2014/main" id="{8FB474AA-1DB5-482D-BEBA-674626C3B228}"/>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196449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A4E7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651912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530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8" name="Picture 7" descr="A picture containing graphical user interface&#10;&#10;Description automatically generated">
            <a:extLst>
              <a:ext uri="{FF2B5EF4-FFF2-40B4-BE49-F238E27FC236}">
                <a16:creationId xmlns:a16="http://schemas.microsoft.com/office/drawing/2014/main" id="{A072B9CD-DB93-4DB0-A05A-C9761909B48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Slide Number Placeholder 28">
            <a:extLst>
              <a:ext uri="{FF2B5EF4-FFF2-40B4-BE49-F238E27FC236}">
                <a16:creationId xmlns:a16="http://schemas.microsoft.com/office/drawing/2014/main" id="{4CF58CAD-AA13-4803-8093-A6A9C303B642}"/>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0" name="Rectangle 9">
            <a:extLst>
              <a:ext uri="{FF2B5EF4-FFF2-40B4-BE49-F238E27FC236}">
                <a16:creationId xmlns:a16="http://schemas.microsoft.com/office/drawing/2014/main" id="{15EE215A-D9CC-41DE-9165-E9D40277220F}"/>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3043314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77CF61-0D03-4636-9B25-8E0A9DFAA9B9}"/>
              </a:ext>
            </a:extLst>
          </p:cNvPr>
          <p:cNvGraphicFramePr>
            <a:graphicFrameLocks noChangeAspect="1"/>
          </p:cNvGraphicFramePr>
          <p:nvPr userDrawn="1">
            <p:custDataLst>
              <p:tags r:id="rId2"/>
            </p:custDataLst>
            <p:extLst>
              <p:ext uri="{D42A27DB-BD31-4B8C-83A1-F6EECF244321}">
                <p14:modId xmlns:p14="http://schemas.microsoft.com/office/powerpoint/2010/main" val="176797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6"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D377CF61-0D03-4636-9B25-8E0A9DFAA9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28">
            <a:extLst>
              <a:ext uri="{FF2B5EF4-FFF2-40B4-BE49-F238E27FC236}">
                <a16:creationId xmlns:a16="http://schemas.microsoft.com/office/drawing/2014/main" id="{C135BBC8-E9BA-4AE1-8E0F-A08AB6B68EE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9" name="Copyright" hidden="1">
            <a:extLst>
              <a:ext uri="{FF2B5EF4-FFF2-40B4-BE49-F238E27FC236}">
                <a16:creationId xmlns:a16="http://schemas.microsoft.com/office/drawing/2014/main" id="{99A7C1A2-964D-4C13-87B6-CAF63956298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0" name="Title 9">
            <a:extLst>
              <a:ext uri="{FF2B5EF4-FFF2-40B4-BE49-F238E27FC236}">
                <a16:creationId xmlns:a16="http://schemas.microsoft.com/office/drawing/2014/main" id="{475736A7-A051-4A47-991A-CD1053BB9D21}"/>
              </a:ext>
            </a:extLst>
          </p:cNvPr>
          <p:cNvSpPr>
            <a:spLocks noGrp="1"/>
          </p:cNvSpPr>
          <p:nvPr>
            <p:ph type="title"/>
          </p:nvPr>
        </p:nvSpPr>
        <p:spPr>
          <a:xfrm>
            <a:off x="472500" y="300174"/>
            <a:ext cx="6331747" cy="538609"/>
          </a:xfrm>
        </p:spPr>
        <p:txBody>
          <a:bodyPr vert="horz"/>
          <a:lstStyle>
            <a:lvl1pPr rtl="0">
              <a:defRPr sz="3200">
                <a:solidFill>
                  <a:schemeClr val="bg1"/>
                </a:solidFill>
                <a:latin typeface="+mj-lt"/>
                <a:ea typeface="+mj-ea"/>
                <a:cs typeface="+mj-cs"/>
                <a:sym typeface="Novel Sans Pro" panose="02000000000000000000" pitchFamily="50" charset="0"/>
              </a:defRPr>
            </a:lvl1pPr>
          </a:lstStyle>
          <a:p>
            <a:r>
              <a:rPr lang="de-DE" dirty="0"/>
              <a:t>Click to edit Master title style</a:t>
            </a:r>
          </a:p>
        </p:txBody>
      </p:sp>
      <p:sp>
        <p:nvSpPr>
          <p:cNvPr id="17" name="Rectangle 16">
            <a:extLst>
              <a:ext uri="{FF2B5EF4-FFF2-40B4-BE49-F238E27FC236}">
                <a16:creationId xmlns:a16="http://schemas.microsoft.com/office/drawing/2014/main" id="{31671F09-9683-43D2-BB5B-6C1DC57783ED}"/>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184830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0BC4104-67EA-4A44-B08D-8E5F688936B8}"/>
              </a:ext>
            </a:extLst>
          </p:cNvPr>
          <p:cNvGraphicFramePr>
            <a:graphicFrameLocks noChangeAspect="1"/>
          </p:cNvGraphicFramePr>
          <p:nvPr userDrawn="1">
            <p:custDataLst>
              <p:tags r:id="rId2"/>
            </p:custDataLst>
            <p:extLst>
              <p:ext uri="{D42A27DB-BD31-4B8C-83A1-F6EECF244321}">
                <p14:modId xmlns:p14="http://schemas.microsoft.com/office/powerpoint/2010/main" val="2255116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graphical user interface&#10;&#10;Description automatically generated">
            <a:extLst>
              <a:ext uri="{FF2B5EF4-FFF2-40B4-BE49-F238E27FC236}">
                <a16:creationId xmlns:a16="http://schemas.microsoft.com/office/drawing/2014/main" id="{97E4B5B3-F853-45D8-A0F1-56A9E524D5D9}"/>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Copyright" hidden="1">
            <a:extLst>
              <a:ext uri="{FF2B5EF4-FFF2-40B4-BE49-F238E27FC236}">
                <a16:creationId xmlns:a16="http://schemas.microsoft.com/office/drawing/2014/main" id="{DD5D6775-1593-4FF1-8F52-489CE03905D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9" name="Rectangle 8">
            <a:extLst>
              <a:ext uri="{FF2B5EF4-FFF2-40B4-BE49-F238E27FC236}">
                <a16:creationId xmlns:a16="http://schemas.microsoft.com/office/drawing/2014/main" id="{EE5E76ED-5D0F-4BED-BFA0-81534737ECD4}"/>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2539608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53000">
              <a:srgbClr val="A8BCCF"/>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5593A55-62E0-4BD7-AD4F-F7390BF9E40D}"/>
              </a:ext>
            </a:extLst>
          </p:cNvPr>
          <p:cNvGraphicFramePr>
            <a:graphicFrameLocks noChangeAspect="1"/>
          </p:cNvGraphicFramePr>
          <p:nvPr userDrawn="1">
            <p:custDataLst>
              <p:tags r:id="rId2"/>
            </p:custDataLst>
            <p:extLst>
              <p:ext uri="{D42A27DB-BD31-4B8C-83A1-F6EECF244321}">
                <p14:modId xmlns:p14="http://schemas.microsoft.com/office/powerpoint/2010/main" val="428745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graphical user interface&#10;&#10;Description automatically generated">
            <a:extLst>
              <a:ext uri="{FF2B5EF4-FFF2-40B4-BE49-F238E27FC236}">
                <a16:creationId xmlns:a16="http://schemas.microsoft.com/office/drawing/2014/main" id="{03A269E1-DB63-43D2-AA70-E448AE944D8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Slide Number Placeholder 28">
            <a:extLst>
              <a:ext uri="{FF2B5EF4-FFF2-40B4-BE49-F238E27FC236}">
                <a16:creationId xmlns:a16="http://schemas.microsoft.com/office/drawing/2014/main" id="{E8AA2F74-00D8-4C33-A401-D57DCECF3D09}"/>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0" name="Copyright" hidden="1">
            <a:extLst>
              <a:ext uri="{FF2B5EF4-FFF2-40B4-BE49-F238E27FC236}">
                <a16:creationId xmlns:a16="http://schemas.microsoft.com/office/drawing/2014/main" id="{8C1A2113-FA18-4BF9-85F9-99BC12791CF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677448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C5060E-0A23-41F4-B518-1AAFC66D3C49}"/>
              </a:ext>
            </a:extLst>
          </p:cNvPr>
          <p:cNvGraphicFramePr>
            <a:graphicFrameLocks noChangeAspect="1"/>
          </p:cNvGraphicFramePr>
          <p:nvPr userDrawn="1">
            <p:custDataLst>
              <p:tags r:id="rId2"/>
            </p:custDataLst>
            <p:extLst>
              <p:ext uri="{D42A27DB-BD31-4B8C-83A1-F6EECF244321}">
                <p14:modId xmlns:p14="http://schemas.microsoft.com/office/powerpoint/2010/main" val="116145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8"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graphical user interface&#10;&#10;Description automatically generated">
            <a:extLst>
              <a:ext uri="{FF2B5EF4-FFF2-40B4-BE49-F238E27FC236}">
                <a16:creationId xmlns:a16="http://schemas.microsoft.com/office/drawing/2014/main" id="{C6F45373-C5F8-45B1-998B-42E43532D55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Copyright" hidden="1">
            <a:extLst>
              <a:ext uri="{FF2B5EF4-FFF2-40B4-BE49-F238E27FC236}">
                <a16:creationId xmlns:a16="http://schemas.microsoft.com/office/drawing/2014/main" id="{A3FB7B3A-CB26-4F71-9480-1CCAC851D126}"/>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2" name="Rectangle 11">
            <a:extLst>
              <a:ext uri="{FF2B5EF4-FFF2-40B4-BE49-F238E27FC236}">
                <a16:creationId xmlns:a16="http://schemas.microsoft.com/office/drawing/2014/main" id="{8CBE3D9E-7C4E-40BB-969F-99D1BAB571CB}"/>
              </a:ext>
            </a:extLst>
          </p:cNvPr>
          <p:cNvSpPr/>
          <p:nvPr userDrawn="1"/>
        </p:nvSpPr>
        <p:spPr>
          <a:xfrm>
            <a:off x="3875440" y="1583587"/>
            <a:ext cx="4584992" cy="2446824"/>
          </a:xfrm>
          <a:prstGeom prst="rect">
            <a:avLst/>
          </a:prstGeom>
        </p:spPr>
        <p:txBody>
          <a:bodyPr wrap="square" lIns="0" tIns="0" rIns="0" bIns="0" anchor="ctr">
            <a:spAutoFit/>
          </a:bodyPr>
          <a:lstStyle/>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ie von der Boston Consulting Group (BCG) erbrachten Leistungen und bereitgestellten Dokumente unterliegen den Geschäftsbedingungen von BCG (die wir auf Wunsch zur Verfügung stellen) oder einer sonstigen mit BCG getroffenen entsprechenden Vereinbarung. BCG erbringt keinerlei Beratung in rechtlichen, </a:t>
            </a:r>
            <a:r>
              <a:rPr lang="de-DE" sz="600" b="0" dirty="0" err="1">
                <a:solidFill>
                  <a:srgbClr val="0A4E78"/>
                </a:solidFill>
                <a:latin typeface="+mn-lt"/>
                <a:ea typeface="+mn-ea"/>
                <a:cs typeface="+mn-cs"/>
                <a:sym typeface="Novel Sans Pro" panose="02000000000000000000" pitchFamily="50" charset="0"/>
              </a:rPr>
              <a:t>rechnungswesenbezogenen</a:t>
            </a:r>
            <a:r>
              <a:rPr lang="de-DE" sz="600" b="0" dirty="0">
                <a:solidFill>
                  <a:srgbClr val="0A4E78"/>
                </a:solidFill>
                <a:latin typeface="+mn-lt"/>
                <a:ea typeface="+mn-ea"/>
                <a:cs typeface="+mn-cs"/>
                <a:sym typeface="Novel Sans Pro" panose="02000000000000000000" pitchFamily="50" charset="0"/>
              </a:rPr>
              <a:t> oder steuerlichen Fragen. Der Kunde ist dafür verantwortlich, zu diesen Themen unabhängige Beratung einzuholen, durch welche sich Auswirkungen auf die Empfehlungen von BCG ergeben können. Seitens BCG besteht keinerlei Verpflichtung, Aktualisierungen an den bereitgestellten Arbeitsergebnissen vorzunehmen, ungeachtet dessen, </a:t>
            </a:r>
            <a:r>
              <a:rPr lang="de-DE" sz="600" b="0" dirty="0" err="1">
                <a:solidFill>
                  <a:srgbClr val="0A4E78"/>
                </a:solidFill>
                <a:latin typeface="+mn-lt"/>
                <a:ea typeface="+mn-ea"/>
                <a:cs typeface="+mn-cs"/>
                <a:sym typeface="Novel Sans Pro" panose="02000000000000000000" pitchFamily="50" charset="0"/>
              </a:rPr>
              <a:t>dass</a:t>
            </a:r>
            <a:r>
              <a:rPr lang="de-DE" sz="600" b="0" dirty="0">
                <a:solidFill>
                  <a:srgbClr val="0A4E78"/>
                </a:solidFill>
                <a:latin typeface="+mn-lt"/>
                <a:ea typeface="+mn-ea"/>
                <a:cs typeface="+mn-cs"/>
                <a:sym typeface="Novel Sans Pro" panose="02000000000000000000" pitchFamily="50" charset="0"/>
              </a:rPr>
              <a:t> die darin enthaltenen Informationen sich als überholt oder ungenau erweisen könnten.</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ie Inhalte dieser Präsentation sind ausschließlich für den Vorstand oder die Unternehmensleitung des Kunden bestimmt und dienen allein den in der Präsentation genannten Zwecken. Die Arbeitsergebnisse dürfen ohne vorherige schriftliche Zustimmung durch BCG weder kopiert noch an natürliche oder juristische Personen außerhalb der Kundenorganisation („Dritte“) weitergegeben werden. Die Arbeitsergebnisse sind ausschließlich als Diskussionsgrundlage konzipiert und ohne begleitende mündliche Erläuterungen unvollständig. Sie dürfen daher nur im Zusammenhang mit dem Vortrag gesehen werden. </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es Weiteren ist es Dritten nicht erlaubt und für sie nicht angemessen, sich, für welchen Zweck auch immer, auf diese Arbeitsergebnisse zu beziehen. Soweit gesetzlich zulässig (und sofern von BCG nicht ausdrücklich schriftlich etwas anderes zugesagt wurde), übernimmt BCG keinerlei Haftung gegenüber Dritten. Dritte verzichten auf die Geltend-machung jeglicher Rechte und Ansprüche gegenüber BCG im Hinblick auf die erbrachten Leistungen, diese Präsentation oder sonstige Arbeitsergebnisse einschließlich deren Korrektheit oder Vollständigkeit. Erhalt und Kenntnisnahme dieses Dokuments gelten als Zustimmung hierzu. </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BCG erstellt keine Gutachten („</a:t>
            </a:r>
            <a:r>
              <a:rPr lang="de-DE" sz="600" b="0" dirty="0" err="1">
                <a:solidFill>
                  <a:srgbClr val="0A4E78"/>
                </a:solidFill>
                <a:latin typeface="+mn-lt"/>
                <a:ea typeface="+mn-ea"/>
                <a:cs typeface="+mn-cs"/>
                <a:sym typeface="Novel Sans Pro" panose="02000000000000000000" pitchFamily="50" charset="0"/>
              </a:rPr>
              <a:t>Fairness</a:t>
            </a:r>
            <a:r>
              <a:rPr lang="de-DE" sz="600" b="0" dirty="0">
                <a:solidFill>
                  <a:srgbClr val="0A4E78"/>
                </a:solidFill>
                <a:latin typeface="+mn-lt"/>
                <a:ea typeface="+mn-ea"/>
                <a:cs typeface="+mn-cs"/>
                <a:sym typeface="Novel Sans Pro" panose="02000000000000000000" pitchFamily="50" charset="0"/>
              </a:rPr>
              <a:t> </a:t>
            </a:r>
            <a:r>
              <a:rPr lang="de-DE" sz="600" b="0" dirty="0" err="1">
                <a:solidFill>
                  <a:srgbClr val="0A4E78"/>
                </a:solidFill>
                <a:latin typeface="+mn-lt"/>
                <a:ea typeface="+mn-ea"/>
                <a:cs typeface="+mn-cs"/>
                <a:sym typeface="Novel Sans Pro" panose="02000000000000000000" pitchFamily="50" charset="0"/>
              </a:rPr>
              <a:t>Opinions</a:t>
            </a:r>
            <a:r>
              <a:rPr lang="de-DE" sz="600" b="0" dirty="0">
                <a:solidFill>
                  <a:srgbClr val="0A4E78"/>
                </a:solidFill>
                <a:latin typeface="+mn-lt"/>
                <a:ea typeface="+mn-ea"/>
                <a:cs typeface="+mn-cs"/>
                <a:sym typeface="Novel Sans Pro" panose="02000000000000000000" pitchFamily="50" charset="0"/>
              </a:rPr>
              <a:t>“) oder Bewertungen zu Markttransaktionen. Die Arbeitsergebnisse sollten daher nicht als solche genutzt oder </a:t>
            </a:r>
            <a:r>
              <a:rPr lang="de-DE" sz="600" b="0" dirty="0" err="1">
                <a:solidFill>
                  <a:srgbClr val="0A4E78"/>
                </a:solidFill>
                <a:latin typeface="+mn-lt"/>
                <a:ea typeface="+mn-ea"/>
                <a:cs typeface="+mn-cs"/>
                <a:sym typeface="Novel Sans Pro" panose="02000000000000000000" pitchFamily="50" charset="0"/>
              </a:rPr>
              <a:t>aufgefasst</a:t>
            </a:r>
            <a:r>
              <a:rPr lang="de-DE" sz="600" b="0" dirty="0">
                <a:solidFill>
                  <a:srgbClr val="0A4E78"/>
                </a:solidFill>
                <a:latin typeface="+mn-lt"/>
                <a:ea typeface="+mn-ea"/>
                <a:cs typeface="+mn-cs"/>
                <a:sym typeface="Novel Sans Pro" panose="02000000000000000000" pitchFamily="50" charset="0"/>
              </a:rPr>
              <a:t> werden. Die in den Arbeitsergebnissen enthaltenen finanziellen Bewertungen, prognostizierten Markt- und Finanzdaten sowie </a:t>
            </a:r>
            <a:r>
              <a:rPr lang="de-DE" sz="600" b="0" dirty="0" err="1">
                <a:solidFill>
                  <a:srgbClr val="0A4E78"/>
                </a:solidFill>
                <a:latin typeface="+mn-lt"/>
                <a:ea typeface="+mn-ea"/>
                <a:cs typeface="+mn-cs"/>
                <a:sym typeface="Novel Sans Pro" panose="02000000000000000000" pitchFamily="50" charset="0"/>
              </a:rPr>
              <a:t>Schlussfolgerungen</a:t>
            </a:r>
            <a:r>
              <a:rPr lang="de-DE" sz="600" b="0" dirty="0">
                <a:solidFill>
                  <a:srgbClr val="0A4E78"/>
                </a:solidFill>
                <a:latin typeface="+mn-lt"/>
                <a:ea typeface="+mn-ea"/>
                <a:cs typeface="+mn-cs"/>
                <a:sym typeface="Novel Sans Pro" panose="02000000000000000000" pitchFamily="50" charset="0"/>
              </a:rPr>
              <a:t> basieren auf marktüblichen Bewertungsmethoden. Sie stellen keine endgültigen Vorhersagen dar und werden von BCG nicht zugesichert. BCG hat öffentlich zugängliche und/oder vertrauliche Daten und Annahmen, die BCG vom Kunden zur Verfügung gestellt wurden, verwendet. Eine eigenständige Überprüfung dieser Daten und Annahmen durch BCG ist nicht erfolgt. Sollten sich zugrunde liegende Daten oder operative Annahmen ändern, kann dies auch </a:t>
            </a:r>
            <a:r>
              <a:rPr lang="de-DE" sz="600" b="0" dirty="0" err="1">
                <a:solidFill>
                  <a:srgbClr val="0A4E78"/>
                </a:solidFill>
                <a:latin typeface="+mn-lt"/>
                <a:ea typeface="+mn-ea"/>
                <a:cs typeface="+mn-cs"/>
                <a:sym typeface="Novel Sans Pro" panose="02000000000000000000" pitchFamily="50" charset="0"/>
              </a:rPr>
              <a:t>Einfluss</a:t>
            </a:r>
            <a:r>
              <a:rPr lang="de-DE" sz="600" b="0" dirty="0">
                <a:solidFill>
                  <a:srgbClr val="0A4E78"/>
                </a:solidFill>
                <a:latin typeface="+mn-lt"/>
                <a:ea typeface="+mn-ea"/>
                <a:cs typeface="+mn-cs"/>
                <a:sym typeface="Novel Sans Pro" panose="02000000000000000000" pitchFamily="50" charset="0"/>
              </a:rPr>
              <a:t> auf die Analysen und </a:t>
            </a:r>
            <a:r>
              <a:rPr lang="de-DE" sz="600" b="0" dirty="0" err="1">
                <a:solidFill>
                  <a:srgbClr val="0A4E78"/>
                </a:solidFill>
                <a:latin typeface="+mn-lt"/>
                <a:ea typeface="+mn-ea"/>
                <a:cs typeface="+mn-cs"/>
                <a:sym typeface="Novel Sans Pro" panose="02000000000000000000" pitchFamily="50" charset="0"/>
              </a:rPr>
              <a:t>Schlussfolgerungen</a:t>
            </a:r>
            <a:r>
              <a:rPr lang="de-DE" sz="600" b="0" dirty="0">
                <a:solidFill>
                  <a:srgbClr val="0A4E78"/>
                </a:solidFill>
                <a:latin typeface="+mn-lt"/>
                <a:ea typeface="+mn-ea"/>
                <a:cs typeface="+mn-cs"/>
                <a:sym typeface="Novel Sans Pro" panose="02000000000000000000" pitchFamily="50" charset="0"/>
              </a:rPr>
              <a:t> haben.</a:t>
            </a:r>
          </a:p>
        </p:txBody>
      </p:sp>
      <p:sp>
        <p:nvSpPr>
          <p:cNvPr id="13" name="Title 6">
            <a:extLst>
              <a:ext uri="{FF2B5EF4-FFF2-40B4-BE49-F238E27FC236}">
                <a16:creationId xmlns:a16="http://schemas.microsoft.com/office/drawing/2014/main" id="{2B24C140-5947-4495-9DD8-F2147875AEA6}"/>
              </a:ext>
            </a:extLst>
          </p:cNvPr>
          <p:cNvSpPr txBox="1">
            <a:spLocks/>
          </p:cNvSpPr>
          <p:nvPr userDrawn="1"/>
        </p:nvSpPr>
        <p:spPr>
          <a:xfrm>
            <a:off x="639044" y="2522306"/>
            <a:ext cx="2564804" cy="56938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de-DE" sz="4000" i="1" dirty="0">
                <a:solidFill>
                  <a:srgbClr val="0A4E78"/>
                </a:solidFill>
                <a:latin typeface="+mn-lt"/>
                <a:ea typeface="+mn-ea"/>
                <a:cs typeface="+mn-cs"/>
                <a:sym typeface="Novel Sans Pro" panose="02000000000000000000" pitchFamily="50" charset="0"/>
              </a:rPr>
              <a:t>Disclaimer</a:t>
            </a:r>
          </a:p>
        </p:txBody>
      </p:sp>
      <p:cxnSp>
        <p:nvCxnSpPr>
          <p:cNvPr id="14" name="Straight Connector 13">
            <a:extLst>
              <a:ext uri="{FF2B5EF4-FFF2-40B4-BE49-F238E27FC236}">
                <a16:creationId xmlns:a16="http://schemas.microsoft.com/office/drawing/2014/main" id="{85EB69C5-B764-4755-9853-5AAA4329B3B4}"/>
              </a:ext>
            </a:extLst>
          </p:cNvPr>
          <p:cNvCxnSpPr/>
          <p:nvPr userDrawn="1"/>
        </p:nvCxnSpPr>
        <p:spPr>
          <a:xfrm>
            <a:off x="3563888" y="1554567"/>
            <a:ext cx="0" cy="2504864"/>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98F481F5-E625-4020-8B16-8E3A82986091}"/>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47041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d">
    <p:bg>
      <p:bgPr>
        <a:blipFill dpi="0" rotWithShape="0">
          <a:blip r:embed="rId4">
            <a:lum/>
          </a:blip>
          <a:srcRect/>
          <a:tile tx="0" ty="0" sx="100000" sy="100000" flip="none" algn="tl"/>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FA975-70B8-45C9-9965-AA1DAC63FF26}"/>
              </a:ext>
            </a:extLst>
          </p:cNvPr>
          <p:cNvGraphicFramePr>
            <a:graphicFrameLocks noChangeAspect="1"/>
          </p:cNvGraphicFramePr>
          <p:nvPr userDrawn="1">
            <p:custDataLst>
              <p:tags r:id="rId2"/>
            </p:custDataLst>
            <p:extLst>
              <p:ext uri="{D42A27DB-BD31-4B8C-83A1-F6EECF244321}">
                <p14:modId xmlns:p14="http://schemas.microsoft.com/office/powerpoint/2010/main" val="16092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2" name="think-cell Slide" r:id="rId5" imgW="328" imgH="328" progId="TCLayout.ActiveDocument.1">
                  <p:embed/>
                </p:oleObj>
              </mc:Choice>
              <mc:Fallback>
                <p:oleObj name="think-cell Slide" r:id="rId5" imgW="328" imgH="328" progId="TCLayout.ActiveDocument.1">
                  <p:embed/>
                  <p:pic>
                    <p:nvPicPr>
                      <p:cNvPr id="3" name="Object 2" hidden="1">
                        <a:extLst>
                          <a:ext uri="{FF2B5EF4-FFF2-40B4-BE49-F238E27FC236}">
                            <a16:creationId xmlns:a16="http://schemas.microsoft.com/office/drawing/2014/main" id="{796FA975-70B8-45C9-9965-AA1DAC63FF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F5BFB92-7E61-4C3C-8CB2-30DAF4BB4B65}"/>
              </a:ext>
            </a:extLst>
          </p:cNvPr>
          <p:cNvSpPr/>
          <p:nvPr userDrawn="1"/>
        </p:nvSpPr>
        <p:spPr bwMode="auto">
          <a:xfrm>
            <a:off x="7956377" y="0"/>
            <a:ext cx="254632" cy="5143500"/>
          </a:xfrm>
          <a:prstGeom prst="rect">
            <a:avLst/>
          </a:prstGeom>
          <a:gradFill flip="none" rotWithShape="1">
            <a:gsLst>
              <a:gs pos="53000">
                <a:srgbClr val="DAE2EA"/>
              </a:gs>
              <a:gs pos="2000">
                <a:srgbClr val="92ABC1"/>
              </a:gs>
              <a:gs pos="84000">
                <a:schemeClr val="accent3"/>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6" name="Rectangle 5">
            <a:extLst>
              <a:ext uri="{FF2B5EF4-FFF2-40B4-BE49-F238E27FC236}">
                <a16:creationId xmlns:a16="http://schemas.microsoft.com/office/drawing/2014/main" id="{D173D5C1-72A9-4494-AF52-1C6390610AA6}"/>
              </a:ext>
            </a:extLst>
          </p:cNvPr>
          <p:cNvSpPr/>
          <p:nvPr userDrawn="1"/>
        </p:nvSpPr>
        <p:spPr>
          <a:xfrm>
            <a:off x="0" y="0"/>
            <a:ext cx="7968343"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5" name="Rectangle 4">
            <a:extLst>
              <a:ext uri="{FF2B5EF4-FFF2-40B4-BE49-F238E27FC236}">
                <a16:creationId xmlns:a16="http://schemas.microsoft.com/office/drawing/2014/main" id="{54232AB3-A8C6-47D9-984F-04BDEEC241D4}"/>
              </a:ext>
            </a:extLst>
          </p:cNvPr>
          <p:cNvSpPr/>
          <p:nvPr userDrawn="1"/>
        </p:nvSpPr>
        <p:spPr>
          <a:xfrm>
            <a:off x="755576" y="1052847"/>
            <a:ext cx="6318068" cy="4093394"/>
          </a:xfrm>
          <a:prstGeom prst="rect">
            <a:avLst/>
          </a:prstGeom>
          <a:gradFill flip="none" rotWithShape="1">
            <a:gsLst>
              <a:gs pos="53000">
                <a:srgbClr val="DAE2EA"/>
              </a:gs>
              <a:gs pos="4000">
                <a:srgbClr val="7AA1BC"/>
              </a:gs>
              <a:gs pos="92000">
                <a:schemeClr val="bg1"/>
              </a:gs>
            </a:gsLst>
            <a:lin ang="162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buFont typeface="Novel Sans Pro" panose="02000000000000000000" pitchFamily="50" charset="0"/>
            </a:pPr>
            <a:endParaRPr lang="de-DE" sz="1200" dirty="0">
              <a:solidFill>
                <a:srgbClr val="000000"/>
              </a:solidFill>
              <a:latin typeface="+mn-lt"/>
              <a:ea typeface="+mn-ea"/>
              <a:cs typeface="+mn-cs"/>
              <a:sym typeface="Novel Sans Pro" panose="02000000000000000000" pitchFamily="50" charset="0"/>
            </a:endParaRPr>
          </a:p>
        </p:txBody>
      </p:sp>
      <p:pic>
        <p:nvPicPr>
          <p:cNvPr id="10" name="Picture 9" descr="Text&#10;&#10;Description automatically generated">
            <a:extLst>
              <a:ext uri="{FF2B5EF4-FFF2-40B4-BE49-F238E27FC236}">
                <a16:creationId xmlns:a16="http://schemas.microsoft.com/office/drawing/2014/main" id="{D97AD038-D52C-498B-AAD1-9BC59A82F3E6}"/>
              </a:ext>
            </a:extLst>
          </p:cNvPr>
          <p:cNvPicPr>
            <a:picLocks noChangeAspect="1"/>
          </p:cNvPicPr>
          <p:nvPr userDrawn="1"/>
        </p:nvPicPr>
        <p:blipFill>
          <a:blip r:embed="rId7">
            <a:clrChange>
              <a:clrFrom>
                <a:srgbClr val="FFFEFD"/>
              </a:clrFrom>
              <a:clrTo>
                <a:srgbClr val="FFFEFD">
                  <a:alpha val="0"/>
                </a:srgbClr>
              </a:clrTo>
            </a:clrChange>
          </a:blip>
          <a:stretch>
            <a:fillRect/>
          </a:stretch>
        </p:blipFill>
        <p:spPr>
          <a:xfrm>
            <a:off x="1303514" y="1803400"/>
            <a:ext cx="4651164" cy="1866557"/>
          </a:xfrm>
          <a:prstGeom prst="rect">
            <a:avLst/>
          </a:prstGeom>
        </p:spPr>
      </p:pic>
    </p:spTree>
    <p:extLst>
      <p:ext uri="{BB962C8B-B14F-4D97-AF65-F5344CB8AC3E}">
        <p14:creationId xmlns:p14="http://schemas.microsoft.com/office/powerpoint/2010/main" val="367893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yout guide">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FC41EC-4A62-48E2-8FB5-60F7E1219465}"/>
              </a:ext>
            </a:extLst>
          </p:cNvPr>
          <p:cNvGraphicFramePr>
            <a:graphicFrameLocks noChangeAspect="1"/>
          </p:cNvGraphicFramePr>
          <p:nvPr userDrawn="1">
            <p:custDataLst>
              <p:tags r:id="rId2"/>
            </p:custDataLst>
            <p:extLst>
              <p:ext uri="{D42A27DB-BD31-4B8C-83A1-F6EECF244321}">
                <p14:modId xmlns:p14="http://schemas.microsoft.com/office/powerpoint/2010/main" val="1674462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Copyright" hidden="1">
            <a:extLst>
              <a:ext uri="{FF2B5EF4-FFF2-40B4-BE49-F238E27FC236}">
                <a16:creationId xmlns:a16="http://schemas.microsoft.com/office/drawing/2014/main" id="{6D380E91-188D-4AD4-9AE6-A5CDF3B255A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grpSp>
        <p:nvGrpSpPr>
          <p:cNvPr id="9" name="Group 8">
            <a:extLst>
              <a:ext uri="{FF2B5EF4-FFF2-40B4-BE49-F238E27FC236}">
                <a16:creationId xmlns:a16="http://schemas.microsoft.com/office/drawing/2014/main" id="{24E90A2A-2AAC-4777-A542-E3B3CA46FAD0}"/>
              </a:ext>
            </a:extLst>
          </p:cNvPr>
          <p:cNvGrpSpPr/>
          <p:nvPr userDrawn="1"/>
        </p:nvGrpSpPr>
        <p:grpSpPr>
          <a:xfrm>
            <a:off x="-450" y="-2432"/>
            <a:ext cx="9144900" cy="5145932"/>
            <a:chOff x="-450" y="-2432"/>
            <a:chExt cx="9144900" cy="5145932"/>
          </a:xfrm>
        </p:grpSpPr>
        <p:grpSp>
          <p:nvGrpSpPr>
            <p:cNvPr id="3" name="Group 2">
              <a:extLst>
                <a:ext uri="{FF2B5EF4-FFF2-40B4-BE49-F238E27FC236}">
                  <a16:creationId xmlns:a16="http://schemas.microsoft.com/office/drawing/2014/main" id="{2F41BF0F-2652-400C-B23A-935C02AACA7D}"/>
                </a:ext>
              </a:extLst>
            </p:cNvPr>
            <p:cNvGrpSpPr/>
            <p:nvPr userDrawn="1"/>
          </p:nvGrpSpPr>
          <p:grpSpPr>
            <a:xfrm>
              <a:off x="-450" y="289560"/>
              <a:ext cx="9144900" cy="4298414"/>
              <a:chOff x="-450" y="467100"/>
              <a:chExt cx="9144900" cy="3934049"/>
            </a:xfrm>
          </p:grpSpPr>
          <p:cxnSp>
            <p:nvCxnSpPr>
              <p:cNvPr id="77" name="Straight Connector 76"/>
              <p:cNvCxnSpPr/>
              <p:nvPr/>
            </p:nvCxnSpPr>
            <p:spPr>
              <a:xfrm>
                <a:off x="-450" y="46710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450" y="685658"/>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450" y="90421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50" y="112320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50" y="134133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50" y="155989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450" y="177845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50" y="1997008"/>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450" y="221556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50" y="2434124"/>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50" y="265268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450" y="287124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450" y="308979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50" y="330835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50" y="352691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50" y="3745474"/>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450" y="3964032"/>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450" y="418259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450" y="440114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957750" y="267494"/>
              <a:ext cx="7228500" cy="4320381"/>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sp>
          <p:nvSpPr>
            <p:cNvPr id="53" name="Slide edges"/>
            <p:cNvSpPr>
              <a:spLocks/>
            </p:cNvSpPr>
            <p:nvPr userDrawn="1"/>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dirty="0">
                <a:ln>
                  <a:noFill/>
                </a:ln>
                <a:solidFill>
                  <a:srgbClr val="575757"/>
                </a:solidFill>
                <a:effectLst/>
                <a:uLnTx/>
                <a:uFillTx/>
                <a:latin typeface="+mn-lt"/>
                <a:ea typeface="+mn-ea"/>
                <a:cs typeface="+mn-cs"/>
                <a:sym typeface="Novel Sans Pro" panose="02000000000000000000" pitchFamily="50" charset="0"/>
              </a:endParaRPr>
            </a:p>
          </p:txBody>
        </p:sp>
        <p:sp>
          <p:nvSpPr>
            <p:cNvPr id="54" name="Footnote measure"/>
            <p:cNvSpPr>
              <a:spLocks noChangeArrowheads="1"/>
            </p:cNvSpPr>
            <p:nvPr userDrawn="1"/>
          </p:nvSpPr>
          <p:spPr bwMode="auto">
            <a:xfrm>
              <a:off x="472050" y="4586794"/>
              <a:ext cx="8199900" cy="33239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57" name="Whitespace measure"/>
            <p:cNvSpPr>
              <a:spLocks noChangeArrowheads="1"/>
            </p:cNvSpPr>
            <p:nvPr userDrawn="1"/>
          </p:nvSpPr>
          <p:spPr bwMode="auto">
            <a:xfrm>
              <a:off x="472050" y="1123200"/>
              <a:ext cx="8199172"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nvGrpSpPr>
            <p:cNvPr id="58" name="Five column measure"/>
            <p:cNvGrpSpPr/>
            <p:nvPr userDrawn="1"/>
          </p:nvGrpSpPr>
          <p:grpSpPr>
            <a:xfrm>
              <a:off x="472050" y="4481341"/>
              <a:ext cx="819990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sp>
          <p:nvSpPr>
            <p:cNvPr id="59" name="Live area"/>
            <p:cNvSpPr/>
            <p:nvPr userDrawn="1"/>
          </p:nvSpPr>
          <p:spPr>
            <a:xfrm>
              <a:off x="472050" y="1560601"/>
              <a:ext cx="8381448" cy="303150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60" name="Footnote example"/>
            <p:cNvSpPr txBox="1"/>
            <p:nvPr userDrawn="1"/>
          </p:nvSpPr>
          <p:spPr>
            <a:xfrm>
              <a:off x="472500" y="4507980"/>
              <a:ext cx="7627892" cy="3323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1.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  2.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  3. 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Anmerkung: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endPar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Quelle: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endPar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endParaRPr>
            </a:p>
          </p:txBody>
        </p:sp>
        <p:pic>
          <p:nvPicPr>
            <p:cNvPr id="51" name="Picture 50" descr="A picture containing graphical user interface&#10;&#10;Description automatically generated">
              <a:extLst>
                <a:ext uri="{FF2B5EF4-FFF2-40B4-BE49-F238E27FC236}">
                  <a16:creationId xmlns:a16="http://schemas.microsoft.com/office/drawing/2014/main" id="{92DA71EA-B602-4DA6-B561-5A81E91A1C8D}"/>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5" name="Rectangle 94">
              <a:extLst>
                <a:ext uri="{FF2B5EF4-FFF2-40B4-BE49-F238E27FC236}">
                  <a16:creationId xmlns:a16="http://schemas.microsoft.com/office/drawing/2014/main" id="{9ECE42BA-AEE8-4D1B-8B42-A3A45B0FB6DF}"/>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6" name="Rectangle 5">
              <a:extLst>
                <a:ext uri="{FF2B5EF4-FFF2-40B4-BE49-F238E27FC236}">
                  <a16:creationId xmlns:a16="http://schemas.microsoft.com/office/drawing/2014/main" id="{FCC98514-DA31-4C36-AA21-8E700642F218}"/>
                </a:ext>
              </a:extLst>
            </p:cNvPr>
            <p:cNvSpPr/>
            <p:nvPr userDrawn="1"/>
          </p:nvSpPr>
          <p:spPr bwMode="auto">
            <a:xfrm>
              <a:off x="0" y="0"/>
              <a:ext cx="467544" cy="5143500"/>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98" name="Rectangle 97">
              <a:extLst>
                <a:ext uri="{FF2B5EF4-FFF2-40B4-BE49-F238E27FC236}">
                  <a16:creationId xmlns:a16="http://schemas.microsoft.com/office/drawing/2014/main" id="{F5B62051-5A86-405F-B60D-675FBACBE25D}"/>
                </a:ext>
              </a:extLst>
            </p:cNvPr>
            <p:cNvSpPr/>
            <p:nvPr userDrawn="1"/>
          </p:nvSpPr>
          <p:spPr bwMode="auto">
            <a:xfrm>
              <a:off x="8852724" y="0"/>
              <a:ext cx="291276" cy="5143500"/>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99" name="Rectangle 98">
              <a:extLst>
                <a:ext uri="{FF2B5EF4-FFF2-40B4-BE49-F238E27FC236}">
                  <a16:creationId xmlns:a16="http://schemas.microsoft.com/office/drawing/2014/main" id="{9E3C542E-9560-4D03-84AB-7DD978EA9820}"/>
                </a:ext>
              </a:extLst>
            </p:cNvPr>
            <p:cNvSpPr/>
            <p:nvPr userDrawn="1"/>
          </p:nvSpPr>
          <p:spPr bwMode="auto">
            <a:xfrm>
              <a:off x="467544" y="0"/>
              <a:ext cx="8381448" cy="294198"/>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00" name="Rectangle 99">
              <a:extLst>
                <a:ext uri="{FF2B5EF4-FFF2-40B4-BE49-F238E27FC236}">
                  <a16:creationId xmlns:a16="http://schemas.microsoft.com/office/drawing/2014/main" id="{B10C38AB-C08B-441E-B886-1A670076C194}"/>
                </a:ext>
              </a:extLst>
            </p:cNvPr>
            <p:cNvSpPr/>
            <p:nvPr userDrawn="1"/>
          </p:nvSpPr>
          <p:spPr bwMode="auto">
            <a:xfrm>
              <a:off x="467544" y="1085004"/>
              <a:ext cx="8381448" cy="478634"/>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01" name="Rectangle 100">
              <a:extLst>
                <a:ext uri="{FF2B5EF4-FFF2-40B4-BE49-F238E27FC236}">
                  <a16:creationId xmlns:a16="http://schemas.microsoft.com/office/drawing/2014/main" id="{722E13EB-C433-4CBC-9F76-4E8E4E138BD5}"/>
                </a:ext>
              </a:extLst>
            </p:cNvPr>
            <p:cNvSpPr/>
            <p:nvPr userDrawn="1"/>
          </p:nvSpPr>
          <p:spPr bwMode="auto">
            <a:xfrm>
              <a:off x="467544" y="4803998"/>
              <a:ext cx="8381448" cy="339502"/>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grpSp>
    </p:spTree>
    <p:extLst>
      <p:ext uri="{BB962C8B-B14F-4D97-AF65-F5344CB8AC3E}">
        <p14:creationId xmlns:p14="http://schemas.microsoft.com/office/powerpoint/2010/main" val="47589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6FCFC0-55AE-405B-AC91-67D4E31FBE7B}"/>
              </a:ext>
            </a:extLst>
          </p:cNvPr>
          <p:cNvGraphicFramePr>
            <a:graphicFrameLocks noChangeAspect="1"/>
          </p:cNvGraphicFramePr>
          <p:nvPr userDrawn="1">
            <p:custDataLst>
              <p:tags r:id="rId2"/>
            </p:custDataLst>
            <p:extLst>
              <p:ext uri="{D42A27DB-BD31-4B8C-83A1-F6EECF244321}">
                <p14:modId xmlns:p14="http://schemas.microsoft.com/office/powerpoint/2010/main" val="3885654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A96FCFC0-55AE-405B-AC91-67D4E31FBE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p>
        </p:txBody>
      </p:sp>
      <p:sp>
        <p:nvSpPr>
          <p:cNvPr id="11" name="Rectangle 10"/>
          <p:cNvSpPr/>
          <p:nvPr userDrawn="1"/>
        </p:nvSpPr>
        <p:spPr bwMode="white">
          <a:xfrm>
            <a:off x="960520" y="1068061"/>
            <a:ext cx="713791" cy="713791"/>
          </a:xfrm>
          <a:prstGeom prst="rect">
            <a:avLst/>
          </a:prstGeom>
          <a:noFill/>
          <a:ln w="9525">
            <a:solidFill>
              <a:srgbClr val="0A4E7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pic>
        <p:nvPicPr>
          <p:cNvPr id="7" name="Picture 6" descr="A picture containing graphical user interface&#10;&#10;Description automatically generated">
            <a:extLst>
              <a:ext uri="{FF2B5EF4-FFF2-40B4-BE49-F238E27FC236}">
                <a16:creationId xmlns:a16="http://schemas.microsoft.com/office/drawing/2014/main" id="{1BBA4AFE-9EEC-49C4-B4D7-95D208E353DB}"/>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Copyright" hidden="1">
            <a:extLst>
              <a:ext uri="{FF2B5EF4-FFF2-40B4-BE49-F238E27FC236}">
                <a16:creationId xmlns:a16="http://schemas.microsoft.com/office/drawing/2014/main" id="{1FA9EF53-EC7F-4010-8E3C-90B1CEC17B4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3" name="Rectangle 12">
            <a:extLst>
              <a:ext uri="{FF2B5EF4-FFF2-40B4-BE49-F238E27FC236}">
                <a16:creationId xmlns:a16="http://schemas.microsoft.com/office/drawing/2014/main" id="{C358409F-798F-4A9E-966E-133F453B9C34}"/>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1335387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53000">
              <a:srgbClr val="A8BCCF"/>
            </a:gs>
            <a:gs pos="4000">
              <a:srgbClr val="4C7895"/>
            </a:gs>
            <a:gs pos="92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186402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47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 name="Rectangle 10"/>
          <p:cNvSpPr/>
          <p:nvPr userDrawn="1"/>
        </p:nvSpPr>
        <p:spPr bwMode="invGray">
          <a:xfrm>
            <a:off x="1041108" y="3518390"/>
            <a:ext cx="756000" cy="7560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e-DE" sz="1500" dirty="0">
              <a:solidFill>
                <a:prstClr val="white"/>
              </a:solidFill>
              <a:latin typeface="+mn-lt"/>
              <a:ea typeface="+mn-ea"/>
              <a:cs typeface="+mn-cs"/>
              <a:sym typeface="Novel Sans Pro" panose="02000000000000000000" pitchFamily="50" charset="0"/>
            </a:endParaRPr>
          </a:p>
        </p:txBody>
      </p:sp>
      <p:sp>
        <p:nvSpPr>
          <p:cNvPr id="12" name="Rectangle 11"/>
          <p:cNvSpPr/>
          <p:nvPr userDrawn="1">
            <p:custDataLst>
              <p:tags r:id="rId3"/>
            </p:custDataLst>
          </p:nvPr>
        </p:nvSpPr>
        <p:spPr>
          <a:xfrm>
            <a:off x="1957500" y="3518390"/>
            <a:ext cx="1101600"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rtl="0">
              <a:lnSpc>
                <a:spcPct val="95000"/>
              </a:lnSpc>
            </a:pPr>
            <a:endParaRPr lang="de-DE" sz="900" dirty="0">
              <a:solidFill>
                <a:srgbClr val="FFFFFF"/>
              </a:solidFill>
              <a:latin typeface="+mn-lt"/>
              <a:ea typeface="+mn-ea"/>
              <a:cs typeface="+mn-cs"/>
              <a:sym typeface="Novel Sans Pro" panose="02000000000000000000" pitchFamily="50" charset="0"/>
            </a:endParaRPr>
          </a:p>
        </p:txBody>
      </p:sp>
      <p:sp>
        <p:nvSpPr>
          <p:cNvPr id="2" name="TextBox 1"/>
          <p:cNvSpPr txBox="1"/>
          <p:nvPr userDrawn="1"/>
        </p:nvSpPr>
        <p:spPr>
          <a:xfrm>
            <a:off x="472500" y="680399"/>
            <a:ext cx="2586600" cy="2588400"/>
          </a:xfrm>
          <a:prstGeom prst="rect">
            <a:avLst/>
          </a:prstGeom>
          <a:noFill/>
          <a:ln>
            <a:solidFill>
              <a:schemeClr val="bg1"/>
            </a:solidFill>
            <a:miter lim="800000"/>
          </a:ln>
        </p:spPr>
        <p:txBody>
          <a:bodyPr wrap="square" lIns="459000" tIns="351000" rIns="0" bIns="0" rtlCol="0" anchor="t">
            <a:noAutofit/>
          </a:bodyPr>
          <a:lstStyle/>
          <a:p>
            <a:pPr rtl="0">
              <a:lnSpc>
                <a:spcPct val="90000"/>
              </a:lnSpc>
              <a:spcAft>
                <a:spcPts val="450"/>
              </a:spcAft>
            </a:pPr>
            <a:endParaRPr lang="de-DE" sz="4000" dirty="0">
              <a:solidFill>
                <a:schemeClr val="bg1"/>
              </a:solidFill>
              <a:latin typeface="+mn-lt"/>
              <a:ea typeface="+mn-ea"/>
              <a:cs typeface="+mn-cs"/>
              <a:sym typeface="Novel Sans Pro" panose="02000000000000000000" pitchFamily="50" charset="0"/>
            </a:endParaRPr>
          </a:p>
        </p:txBody>
      </p:sp>
      <p:sp>
        <p:nvSpPr>
          <p:cNvPr id="10" name="TextBox 1"/>
          <p:cNvSpPr txBox="1"/>
          <p:nvPr userDrawn="1"/>
        </p:nvSpPr>
        <p:spPr>
          <a:xfrm>
            <a:off x="784012" y="836562"/>
            <a:ext cx="1963038" cy="684803"/>
          </a:xfrm>
          <a:prstGeom prst="rect">
            <a:avLst/>
          </a:prstGeom>
          <a:noFill/>
        </p:spPr>
        <p:txBody>
          <a:bodyPr wrap="none" rtlCol="0">
            <a:spAutoFit/>
          </a:bodyPr>
          <a:lstStyle/>
          <a:p>
            <a:pPr algn="ctr" rtl="0" fontAlgn="auto">
              <a:lnSpc>
                <a:spcPct val="95000"/>
              </a:lnSpc>
              <a:spcBef>
                <a:spcPts val="0"/>
              </a:spcBef>
              <a:spcAft>
                <a:spcPts val="0"/>
              </a:spcAft>
            </a:pPr>
            <a:r>
              <a:rPr lang="de-DE" sz="4000" i="1" dirty="0">
                <a:solidFill>
                  <a:schemeClr val="bg1"/>
                </a:solidFill>
                <a:latin typeface="+mn-lt"/>
                <a:ea typeface="+mn-ea"/>
                <a:cs typeface="+mn-cs"/>
                <a:sym typeface="Novel Sans Pro" panose="02000000000000000000" pitchFamily="50" charset="0"/>
              </a:rPr>
              <a:t>Agenda</a:t>
            </a:r>
          </a:p>
        </p:txBody>
      </p:sp>
      <p:pic>
        <p:nvPicPr>
          <p:cNvPr id="13" name="Picture 12" descr="A picture containing graphical user interface&#10;&#10;Description automatically generated">
            <a:extLst>
              <a:ext uri="{FF2B5EF4-FFF2-40B4-BE49-F238E27FC236}">
                <a16:creationId xmlns:a16="http://schemas.microsoft.com/office/drawing/2014/main" id="{156BD86E-1BAE-4C12-861B-6FA6E472D703}"/>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EB72BF9E-F01A-460D-BEFB-6B5E2C5F9E53}"/>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5" name="Copyright" hidden="1">
            <a:extLst>
              <a:ext uri="{FF2B5EF4-FFF2-40B4-BE49-F238E27FC236}">
                <a16:creationId xmlns:a16="http://schemas.microsoft.com/office/drawing/2014/main" id="{2A0144A1-ED8B-4823-B83C-6A8D225FBDD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45501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861694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4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Rectangle 9"/>
          <p:cNvSpPr/>
          <p:nvPr userDrawn="1"/>
        </p:nvSpPr>
        <p:spPr bwMode="white">
          <a:xfrm>
            <a:off x="951526" y="107510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e-DE" sz="1500" dirty="0">
              <a:solidFill>
                <a:prstClr val="white"/>
              </a:solidFill>
              <a:latin typeface="+mn-lt"/>
              <a:ea typeface="+mn-ea"/>
              <a:cs typeface="+mn-cs"/>
              <a:sym typeface="Novel Sans Pro" panose="02000000000000000000" pitchFamily="50" charset="0"/>
            </a:endParaRPr>
          </a:p>
        </p:txBody>
      </p:sp>
      <p:pic>
        <p:nvPicPr>
          <p:cNvPr id="8" name="Picture 7" descr="A picture containing graphical user interface&#10;&#10;Description automatically generated">
            <a:extLst>
              <a:ext uri="{FF2B5EF4-FFF2-40B4-BE49-F238E27FC236}">
                <a16:creationId xmlns:a16="http://schemas.microsoft.com/office/drawing/2014/main" id="{F0CDDD64-D36D-4A5F-BDA8-19A3F75723B2}"/>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60D46829-E1F5-474C-9680-77DA928EC32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5382D87F-81DB-4F3B-858E-9F5A141FD112}"/>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099911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050450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45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Title 1"/>
          <p:cNvSpPr txBox="1">
            <a:spLocks/>
          </p:cNvSpPr>
          <p:nvPr userDrawn="1"/>
        </p:nvSpPr>
        <p:spPr>
          <a:xfrm>
            <a:off x="472500" y="467100"/>
            <a:ext cx="5392499" cy="45550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e-DE" sz="3200" i="1" dirty="0">
                <a:solidFill>
                  <a:srgbClr val="0A4E78"/>
                </a:solidFill>
                <a:latin typeface="+mn-lt"/>
                <a:ea typeface="+mn-ea"/>
                <a:cs typeface="+mn-cs"/>
                <a:sym typeface="Novel Sans Pro" panose="02000000000000000000" pitchFamily="50" charset="0"/>
              </a:rPr>
              <a:t>Agenda</a:t>
            </a:r>
          </a:p>
        </p:txBody>
      </p:sp>
      <p:cxnSp>
        <p:nvCxnSpPr>
          <p:cNvPr id="13" name="Straight Connector 12"/>
          <p:cNvCxnSpPr/>
          <p:nvPr userDrawn="1"/>
        </p:nvCxnSpPr>
        <p:spPr bwMode="white">
          <a:xfrm>
            <a:off x="464174" y="904500"/>
            <a:ext cx="8682228" cy="0"/>
          </a:xfrm>
          <a:prstGeom prst="line">
            <a:avLst/>
          </a:prstGeom>
          <a:ln w="9525" cmpd="sng">
            <a:solidFill>
              <a:srgbClr val="0A4E78"/>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descr="A picture containing graphical user interface&#10;&#10;Description automatically generated">
            <a:extLst>
              <a:ext uri="{FF2B5EF4-FFF2-40B4-BE49-F238E27FC236}">
                <a16:creationId xmlns:a16="http://schemas.microsoft.com/office/drawing/2014/main" id="{9D095A54-F653-40C3-A96B-68D696446EEB}"/>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11AC2A6D-0B59-4CDE-8E08-97411B74480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22161362-98EC-45CC-8048-4BAC75D64BCD}"/>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704130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79910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55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17" name="TextBox 16"/>
          <p:cNvSpPr txBox="1"/>
          <p:nvPr userDrawn="1"/>
        </p:nvSpPr>
        <p:spPr>
          <a:xfrm>
            <a:off x="472501" y="2405787"/>
            <a:ext cx="1939259" cy="455509"/>
          </a:xfrm>
          <a:prstGeom prst="rect">
            <a:avLst/>
          </a:prstGeom>
          <a:noFill/>
        </p:spPr>
        <p:txBody>
          <a:bodyPr wrap="square" lIns="0" tIns="0" rIns="0" bIns="0" rtlCol="0" anchor="t">
            <a:spAutoFit/>
          </a:bodyPr>
          <a:lstStyle/>
          <a:p>
            <a:pPr rtl="0">
              <a:lnSpc>
                <a:spcPct val="90000"/>
              </a:lnSpc>
              <a:spcAft>
                <a:spcPts val="450"/>
              </a:spcAft>
            </a:pPr>
            <a:r>
              <a:rPr lang="de-DE" sz="3200" i="1" dirty="0">
                <a:solidFill>
                  <a:schemeClr val="bg1"/>
                </a:solidFill>
                <a:latin typeface="+mn-lt"/>
                <a:ea typeface="+mn-ea"/>
                <a:cs typeface="+mn-cs"/>
                <a:sym typeface="Novel Sans Pro" panose="02000000000000000000" pitchFamily="50" charset="0"/>
              </a:rPr>
              <a:t>Agenda</a:t>
            </a:r>
          </a:p>
        </p:txBody>
      </p:sp>
      <p:pic>
        <p:nvPicPr>
          <p:cNvPr id="8" name="Picture 7" descr="A picture containing graphical user interface&#10;&#10;Description automatically generated">
            <a:extLst>
              <a:ext uri="{FF2B5EF4-FFF2-40B4-BE49-F238E27FC236}">
                <a16:creationId xmlns:a16="http://schemas.microsoft.com/office/drawing/2014/main" id="{245FD048-0A33-4064-98D4-B4BB444E60C3}"/>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Slide Number Placeholder 28">
            <a:extLst>
              <a:ext uri="{FF2B5EF4-FFF2-40B4-BE49-F238E27FC236}">
                <a16:creationId xmlns:a16="http://schemas.microsoft.com/office/drawing/2014/main" id="{F7FBB253-D019-4B34-8D03-2816DBD093BE}"/>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FACCDC4B-8E0D-46E1-AE6B-6007326C5391}"/>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809680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338203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65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9" name="TextBox 1"/>
          <p:cNvSpPr txBox="1"/>
          <p:nvPr userDrawn="1"/>
        </p:nvSpPr>
        <p:spPr>
          <a:xfrm>
            <a:off x="784012" y="836562"/>
            <a:ext cx="1963038" cy="684803"/>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de-DE" sz="4000" i="1" dirty="0">
                <a:solidFill>
                  <a:srgbClr val="0A4E78"/>
                </a:solidFill>
                <a:latin typeface="+mn-lt"/>
                <a:ea typeface="+mn-ea"/>
                <a:cs typeface="+mn-cs"/>
                <a:sym typeface="Novel Sans Pro" panose="02000000000000000000" pitchFamily="50" charset="0"/>
              </a:rPr>
              <a:t>Agenda</a:t>
            </a:r>
          </a:p>
        </p:txBody>
      </p:sp>
      <p:sp>
        <p:nvSpPr>
          <p:cNvPr id="12" name="Rectangle 11">
            <a:extLst>
              <a:ext uri="{FF2B5EF4-FFF2-40B4-BE49-F238E27FC236}">
                <a16:creationId xmlns:a16="http://schemas.microsoft.com/office/drawing/2014/main" id="{A7B2ED90-86A5-4CFB-81BE-20293BB32CDB}"/>
              </a:ext>
            </a:extLst>
          </p:cNvPr>
          <p:cNvSpPr/>
          <p:nvPr userDrawn="1"/>
        </p:nvSpPr>
        <p:spPr bwMode="invGray">
          <a:xfrm>
            <a:off x="1041108" y="3518390"/>
            <a:ext cx="756000" cy="756000"/>
          </a:xfrm>
          <a:prstGeom prst="rect">
            <a:avLst/>
          </a:prstGeom>
          <a:noFill/>
          <a:ln w="9525" cap="flat" cmpd="sng" algn="ctr">
            <a:solidFill>
              <a:srgbClr val="0A4E78"/>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e-DE" sz="1500" dirty="0">
              <a:solidFill>
                <a:prstClr val="white"/>
              </a:solidFill>
              <a:latin typeface="+mn-lt"/>
              <a:ea typeface="+mn-ea"/>
              <a:cs typeface="+mn-cs"/>
              <a:sym typeface="Novel Sans Pro" panose="02000000000000000000" pitchFamily="50" charset="0"/>
            </a:endParaRPr>
          </a:p>
        </p:txBody>
      </p:sp>
      <p:sp>
        <p:nvSpPr>
          <p:cNvPr id="13" name="Rectangle 12">
            <a:extLst>
              <a:ext uri="{FF2B5EF4-FFF2-40B4-BE49-F238E27FC236}">
                <a16:creationId xmlns:a16="http://schemas.microsoft.com/office/drawing/2014/main" id="{FE744E4B-C1E3-4E4A-8AE1-D6C466FE272D}"/>
              </a:ext>
            </a:extLst>
          </p:cNvPr>
          <p:cNvSpPr/>
          <p:nvPr userDrawn="1">
            <p:custDataLst>
              <p:tags r:id="rId3"/>
            </p:custDataLst>
          </p:nvPr>
        </p:nvSpPr>
        <p:spPr>
          <a:xfrm>
            <a:off x="1957500" y="3518390"/>
            <a:ext cx="1101600" cy="1101132"/>
          </a:xfrm>
          <a:prstGeom prst="rect">
            <a:avLst/>
          </a:prstGeom>
          <a:noFill/>
          <a:ln w="9525" cap="flat" cmpd="sng" algn="ctr">
            <a:solidFill>
              <a:srgbClr val="0A4E78"/>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rtl="0">
              <a:lnSpc>
                <a:spcPct val="95000"/>
              </a:lnSpc>
            </a:pPr>
            <a:endParaRPr lang="de-DE" sz="900" dirty="0">
              <a:solidFill>
                <a:srgbClr val="FFFFFF"/>
              </a:solidFill>
              <a:latin typeface="+mn-lt"/>
              <a:ea typeface="+mn-ea"/>
              <a:cs typeface="+mn-cs"/>
              <a:sym typeface="Novel Sans Pro" panose="02000000000000000000" pitchFamily="50" charset="0"/>
            </a:endParaRPr>
          </a:p>
        </p:txBody>
      </p:sp>
      <p:sp>
        <p:nvSpPr>
          <p:cNvPr id="8" name="TextBox 7">
            <a:extLst>
              <a:ext uri="{FF2B5EF4-FFF2-40B4-BE49-F238E27FC236}">
                <a16:creationId xmlns:a16="http://schemas.microsoft.com/office/drawing/2014/main" id="{70128BB4-EABE-485F-8468-9598EA2E87B7}"/>
              </a:ext>
            </a:extLst>
          </p:cNvPr>
          <p:cNvSpPr txBox="1"/>
          <p:nvPr userDrawn="1"/>
        </p:nvSpPr>
        <p:spPr>
          <a:xfrm>
            <a:off x="472500" y="680399"/>
            <a:ext cx="2586600" cy="2588400"/>
          </a:xfrm>
          <a:prstGeom prst="rect">
            <a:avLst/>
          </a:prstGeom>
          <a:noFill/>
          <a:ln>
            <a:solidFill>
              <a:srgbClr val="0A4E78"/>
            </a:solidFill>
            <a:miter lim="800000"/>
          </a:ln>
        </p:spPr>
        <p:txBody>
          <a:bodyPr wrap="square" lIns="459000" tIns="351000" rIns="0" bIns="0" rtlCol="0" anchor="t">
            <a:noAutofit/>
          </a:bodyPr>
          <a:lstStyle/>
          <a:p>
            <a:pPr rtl="0">
              <a:lnSpc>
                <a:spcPct val="90000"/>
              </a:lnSpc>
              <a:spcAft>
                <a:spcPts val="450"/>
              </a:spcAft>
            </a:pPr>
            <a:endParaRPr lang="de-DE" sz="4000" dirty="0">
              <a:solidFill>
                <a:schemeClr val="bg1"/>
              </a:solidFill>
              <a:latin typeface="+mn-lt"/>
              <a:ea typeface="+mn-ea"/>
              <a:cs typeface="+mn-cs"/>
              <a:sym typeface="Novel Sans Pro" panose="02000000000000000000" pitchFamily="50"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DC8DF761-1102-4CC5-B688-B2A1DE75E87C}"/>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Copyright" hidden="1">
            <a:extLst>
              <a:ext uri="{FF2B5EF4-FFF2-40B4-BE49-F238E27FC236}">
                <a16:creationId xmlns:a16="http://schemas.microsoft.com/office/drawing/2014/main" id="{DD3620D0-91C9-491D-931B-293F1065405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302362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8847403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75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nvSpPr>
        <p:spPr bwMode="white">
          <a:xfrm>
            <a:off x="963557" y="1071098"/>
            <a:ext cx="710754" cy="710754"/>
          </a:xfrm>
          <a:prstGeom prst="rect">
            <a:avLst/>
          </a:prstGeom>
          <a:noFill/>
          <a:ln w="9525" cap="flat" cmpd="sng" algn="ctr">
            <a:solidFill>
              <a:srgbClr val="0A4E78"/>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10" name="Rectangle 9"/>
          <p:cNvSpPr/>
          <p:nvPr userDrawn="1"/>
        </p:nvSpPr>
        <p:spPr>
          <a:xfrm>
            <a:off x="963900" y="2000700"/>
            <a:ext cx="7214400" cy="2400300"/>
          </a:xfrm>
          <a:prstGeom prst="rect">
            <a:avLst/>
          </a:prstGeom>
          <a:noFill/>
          <a:ln w="9525" cap="flat" cmpd="sng" algn="ctr">
            <a:solidFill>
              <a:srgbClr val="0A4E78"/>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e-DE" sz="1500" dirty="0">
              <a:solidFill>
                <a:prstClr val="white"/>
              </a:solidFill>
              <a:latin typeface="+mn-lt"/>
              <a:ea typeface="+mn-ea"/>
              <a:cs typeface="+mn-cs"/>
              <a:sym typeface="Novel Sans Pro" panose="02000000000000000000" pitchFamily="50" charset="0"/>
            </a:endParaRPr>
          </a:p>
        </p:txBody>
      </p:sp>
      <p:pic>
        <p:nvPicPr>
          <p:cNvPr id="6" name="Picture 5" descr="A picture containing graphical user interface&#10;&#10;Description automatically generated">
            <a:extLst>
              <a:ext uri="{FF2B5EF4-FFF2-40B4-BE49-F238E27FC236}">
                <a16:creationId xmlns:a16="http://schemas.microsoft.com/office/drawing/2014/main" id="{D381E56C-229B-4A74-B330-CE79DA0373E2}"/>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7" name="Copyright" hidden="1">
            <a:extLst>
              <a:ext uri="{FF2B5EF4-FFF2-40B4-BE49-F238E27FC236}">
                <a16:creationId xmlns:a16="http://schemas.microsoft.com/office/drawing/2014/main" id="{96CCDDAC-0948-4C92-82A5-B0EDFADED73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824418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346003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86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cxnSp>
        <p:nvCxnSpPr>
          <p:cNvPr id="9" name="Straight Connector 8"/>
          <p:cNvCxnSpPr/>
          <p:nvPr userDrawn="1"/>
        </p:nvCxnSpPr>
        <p:spPr bwMode="white">
          <a:xfrm>
            <a:off x="464174" y="904500"/>
            <a:ext cx="8682228" cy="0"/>
          </a:xfrm>
          <a:prstGeom prst="line">
            <a:avLst/>
          </a:prstGeom>
          <a:ln w="9525" cap="flat" cmpd="sng" algn="ctr">
            <a:solidFill>
              <a:srgbClr val="0A4E78"/>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880D1D58-6ABF-47D3-BFF7-772AB1CF7CF6}"/>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Copyright" hidden="1">
            <a:extLst>
              <a:ext uri="{FF2B5EF4-FFF2-40B4-BE49-F238E27FC236}">
                <a16:creationId xmlns:a16="http://schemas.microsoft.com/office/drawing/2014/main" id="{43C72ECD-4E63-4F1C-9BD0-58B658CEF72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4" name="Title 3">
            <a:extLst>
              <a:ext uri="{FF2B5EF4-FFF2-40B4-BE49-F238E27FC236}">
                <a16:creationId xmlns:a16="http://schemas.microsoft.com/office/drawing/2014/main" id="{76D125E9-7432-47D8-AD5A-D3FFFFD17404}"/>
              </a:ext>
            </a:extLst>
          </p:cNvPr>
          <p:cNvSpPr>
            <a:spLocks noGrp="1"/>
          </p:cNvSpPr>
          <p:nvPr>
            <p:ph type="title" hasCustomPrompt="1"/>
          </p:nvPr>
        </p:nvSpPr>
        <p:spPr/>
        <p:txBody>
          <a:bodyPr vert="horz"/>
          <a:lstStyle>
            <a:lvl1pPr rtl="0">
              <a:defRPr>
                <a:latin typeface="+mj-lt"/>
                <a:ea typeface="+mj-ea"/>
                <a:cs typeface="+mj-cs"/>
                <a:sym typeface="Novel Sans Pro" panose="02000000000000000000" pitchFamily="50" charset="0"/>
              </a:defRPr>
            </a:lvl1pPr>
          </a:lstStyle>
          <a:p>
            <a:r>
              <a:rPr lang="de-DE" dirty="0"/>
              <a:t>Agenda</a:t>
            </a:r>
          </a:p>
        </p:txBody>
      </p:sp>
    </p:spTree>
    <p:extLst>
      <p:ext uri="{BB962C8B-B14F-4D97-AF65-F5344CB8AC3E}">
        <p14:creationId xmlns:p14="http://schemas.microsoft.com/office/powerpoint/2010/main" val="949852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53000">
              <a:srgbClr val="A8BCCF"/>
            </a:gs>
            <a:gs pos="4000">
              <a:srgbClr val="4C7895"/>
            </a:gs>
            <a:gs pos="92000">
              <a:srgbClr val="FFFFFF"/>
            </a:gs>
          </a:gsLst>
          <a:lin ang="162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823608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96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10" name="TextBox 9"/>
          <p:cNvSpPr txBox="1"/>
          <p:nvPr userDrawn="1"/>
        </p:nvSpPr>
        <p:spPr>
          <a:xfrm>
            <a:off x="472501" y="2446609"/>
            <a:ext cx="1435203" cy="341632"/>
          </a:xfrm>
          <a:prstGeom prst="rect">
            <a:avLst/>
          </a:prstGeom>
          <a:noFill/>
        </p:spPr>
        <p:txBody>
          <a:bodyPr wrap="square" lIns="0" tIns="0" rIns="0" bIns="0" rtlCol="0" anchor="t">
            <a:spAutoFit/>
          </a:bodyPr>
          <a:lstStyle/>
          <a:p>
            <a:pPr rtl="0">
              <a:lnSpc>
                <a:spcPct val="90000"/>
              </a:lnSpc>
              <a:spcAft>
                <a:spcPts val="450"/>
              </a:spcAft>
            </a:pPr>
            <a:r>
              <a:rPr lang="de-DE" sz="2400" i="1" dirty="0">
                <a:solidFill>
                  <a:schemeClr val="bg1"/>
                </a:solidFill>
                <a:latin typeface="+mn-lt"/>
                <a:ea typeface="+mn-ea"/>
                <a:cs typeface="+mn-cs"/>
                <a:sym typeface="Novel Sans Pro" panose="02000000000000000000" pitchFamily="50" charset="0"/>
              </a:rPr>
              <a:t>Agenda</a:t>
            </a:r>
          </a:p>
        </p:txBody>
      </p:sp>
      <p:pic>
        <p:nvPicPr>
          <p:cNvPr id="8" name="Picture 7" descr="A picture containing graphical user interface&#10;&#10;Description automatically generated">
            <a:extLst>
              <a:ext uri="{FF2B5EF4-FFF2-40B4-BE49-F238E27FC236}">
                <a16:creationId xmlns:a16="http://schemas.microsoft.com/office/drawing/2014/main" id="{F6AC124A-8403-42FC-BBBF-5C4FF188186D}"/>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Slide Number Placeholder 28">
            <a:extLst>
              <a:ext uri="{FF2B5EF4-FFF2-40B4-BE49-F238E27FC236}">
                <a16:creationId xmlns:a16="http://schemas.microsoft.com/office/drawing/2014/main" id="{98B2E92A-6A9E-4EBC-8E05-4138DB9B4D08}"/>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5FD44F8D-52DE-425D-970E-7F89C29DDA0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4261977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1041093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6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D206603-4F24-4F9E-B1E3-1236AE712847}"/>
              </a:ext>
            </a:extLst>
          </p:cNvPr>
          <p:cNvSpPr txBox="1"/>
          <p:nvPr userDrawn="1"/>
        </p:nvSpPr>
        <p:spPr>
          <a:xfrm>
            <a:off x="472500" y="2010058"/>
            <a:ext cx="2114550" cy="1123384"/>
          </a:xfrm>
          <a:prstGeom prst="rect">
            <a:avLst/>
          </a:prstGeom>
          <a:noFill/>
        </p:spPr>
        <p:txBody>
          <a:bodyPr wrap="square" lIns="0" tIns="0" rIns="0" bIns="0" rtlCol="0" anchor="ctr">
            <a:spAutoFit/>
          </a:bodyPr>
          <a:lstStyle>
            <a:defPPr>
              <a:defRPr lang="de-DE"/>
            </a:defPPr>
            <a:lvl1pPr marL="0" lvl="0" indent="0">
              <a:lnSpc>
                <a:spcPct val="90000"/>
              </a:lnSpc>
              <a:spcAft>
                <a:spcPts val="0"/>
              </a:spcAft>
              <a:buFontTx/>
              <a:buNone/>
              <a:defRPr sz="4000" i="1">
                <a:solidFill>
                  <a:srgbClr val="0A4E78"/>
                </a:solidFill>
                <a:latin typeface="+mn-lt"/>
                <a:cs typeface="+mn-cs"/>
              </a:defRPr>
            </a:lvl1pPr>
          </a:lstStyle>
          <a:p>
            <a:pPr marL="0" lvl="0" indent="0" rtl="0"/>
            <a:r>
              <a:rPr lang="de-DE" dirty="0">
                <a:latin typeface="+mn-lt"/>
                <a:ea typeface="+mn-ea"/>
                <a:cs typeface="+mn-cs"/>
                <a:sym typeface="Novel Sans Pro" panose="02000000000000000000" pitchFamily="50" charset="0"/>
              </a:rPr>
              <a:t>Table </a:t>
            </a:r>
            <a:r>
              <a:rPr lang="de-DE" dirty="0" err="1">
                <a:latin typeface="+mn-lt"/>
                <a:ea typeface="+mn-ea"/>
                <a:cs typeface="+mn-cs"/>
                <a:sym typeface="Novel Sans Pro" panose="02000000000000000000" pitchFamily="50" charset="0"/>
              </a:rPr>
              <a:t>of</a:t>
            </a:r>
            <a:r>
              <a:rPr lang="de-DE" dirty="0">
                <a:latin typeface="+mn-lt"/>
                <a:ea typeface="+mn-ea"/>
                <a:cs typeface="+mn-cs"/>
                <a:sym typeface="Novel Sans Pro" panose="02000000000000000000" pitchFamily="50" charset="0"/>
              </a:rPr>
              <a:t> </a:t>
            </a:r>
            <a:r>
              <a:rPr lang="de-DE" dirty="0" err="1">
                <a:latin typeface="+mn-lt"/>
                <a:ea typeface="+mn-ea"/>
                <a:cs typeface="+mn-cs"/>
                <a:sym typeface="Novel Sans Pro" panose="02000000000000000000" pitchFamily="50" charset="0"/>
              </a:rPr>
              <a:t>contents</a:t>
            </a:r>
            <a:endParaRPr lang="de-DE" dirty="0">
              <a:latin typeface="+mn-lt"/>
              <a:ea typeface="+mn-ea"/>
              <a:cs typeface="+mn-cs"/>
              <a:sym typeface="Novel Sans Pro" panose="02000000000000000000" pitchFamily="50" charset="0"/>
            </a:endParaRPr>
          </a:p>
        </p:txBody>
      </p:sp>
      <p:pic>
        <p:nvPicPr>
          <p:cNvPr id="11" name="Picture 10" descr="A picture containing graphical user interface&#10;&#10;Description automatically generated">
            <a:extLst>
              <a:ext uri="{FF2B5EF4-FFF2-40B4-BE49-F238E27FC236}">
                <a16:creationId xmlns:a16="http://schemas.microsoft.com/office/drawing/2014/main" id="{FCD87D8E-C59A-4080-938B-2E5D5302E916}"/>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34051B23-A2AA-48C0-93FC-56B1F04B071A}"/>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478A19F3-A371-49C0-9437-5A057B65F0E4}"/>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702852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E7ADCA-9655-4E3F-A3C5-401C0C1EEF2A}"/>
              </a:ext>
            </a:extLst>
          </p:cNvPr>
          <p:cNvGraphicFramePr>
            <a:graphicFrameLocks noChangeAspect="1"/>
          </p:cNvGraphicFramePr>
          <p:nvPr userDrawn="1">
            <p:custDataLst>
              <p:tags r:id="rId2"/>
            </p:custDataLst>
            <p:extLst>
              <p:ext uri="{D42A27DB-BD31-4B8C-83A1-F6EECF244321}">
                <p14:modId xmlns:p14="http://schemas.microsoft.com/office/powerpoint/2010/main" val="1144439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ADE7ADCA-9655-4E3F-A3C5-401C0C1EEF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72500" y="2870100"/>
            <a:ext cx="8202600" cy="1530900"/>
          </a:xfrm>
        </p:spPr>
        <p:txBody>
          <a:bodyPr vert="horz" anchor="t">
            <a:noAutofit/>
          </a:bodyPr>
          <a:lstStyle>
            <a:lvl1pPr rtl="0">
              <a:defRPr sz="40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p>
        </p:txBody>
      </p:sp>
      <p:cxnSp>
        <p:nvCxnSpPr>
          <p:cNvPr id="10" name="Straight Connector 9"/>
          <p:cNvCxnSpPr/>
          <p:nvPr userDrawn="1"/>
        </p:nvCxnSpPr>
        <p:spPr bwMode="white">
          <a:xfrm>
            <a:off x="472501" y="2760012"/>
            <a:ext cx="8668940" cy="0"/>
          </a:xfrm>
          <a:prstGeom prst="line">
            <a:avLst/>
          </a:prstGeom>
          <a:ln w="19050" cmpd="sng">
            <a:solidFill>
              <a:srgbClr val="0A4E78"/>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16903EDB-ECF6-441F-BA0E-630DE6E44EEE}"/>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Rectangle 7">
            <a:extLst>
              <a:ext uri="{FF2B5EF4-FFF2-40B4-BE49-F238E27FC236}">
                <a16:creationId xmlns:a16="http://schemas.microsoft.com/office/drawing/2014/main" id="{F68F1132-EC37-4B98-88DD-142A782E7647}"/>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4182447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53000">
              <a:srgbClr val="A8BCCF"/>
            </a:gs>
            <a:gs pos="4000">
              <a:srgbClr val="4C7895"/>
            </a:gs>
            <a:gs pos="92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64970A-2D6E-4A62-A3C9-6D7F49F68200}"/>
              </a:ext>
            </a:extLst>
          </p:cNvPr>
          <p:cNvGraphicFramePr>
            <a:graphicFrameLocks noChangeAspect="1"/>
          </p:cNvGraphicFramePr>
          <p:nvPr userDrawn="1">
            <p:custDataLst>
              <p:tags r:id="rId2"/>
            </p:custDataLst>
            <p:extLst>
              <p:ext uri="{D42A27DB-BD31-4B8C-83A1-F6EECF244321}">
                <p14:modId xmlns:p14="http://schemas.microsoft.com/office/powerpoint/2010/main" val="131310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3A64970A-2D6E-4A62-A3C9-6D7F49F682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4" name="Rectangle 23"/>
          <p:cNvSpPr/>
          <p:nvPr userDrawn="1"/>
        </p:nvSpPr>
        <p:spPr bwMode="white">
          <a:xfrm>
            <a:off x="0" y="0"/>
            <a:ext cx="305963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24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descr="A picture containing graphical user interface&#10;&#10;Description automatically generated">
            <a:extLst>
              <a:ext uri="{FF2B5EF4-FFF2-40B4-BE49-F238E27FC236}">
                <a16:creationId xmlns:a16="http://schemas.microsoft.com/office/drawing/2014/main" id="{4964D6B7-3375-40A3-8F5A-AA03F80772F1}"/>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1EDDC968-A27D-4266-BC48-4942DBAE30C5}"/>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B9B42BF9-7712-42AB-92DC-EE29E141C7D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081560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D2D2F-8AB9-4F58-BFDA-973A38537A3E}"/>
              </a:ext>
            </a:extLst>
          </p:cNvPr>
          <p:cNvGraphicFramePr>
            <a:graphicFrameLocks noChangeAspect="1"/>
          </p:cNvGraphicFramePr>
          <p:nvPr userDrawn="1">
            <p:custDataLst>
              <p:tags r:id="rId2"/>
            </p:custDataLst>
            <p:extLst>
              <p:ext uri="{D42A27DB-BD31-4B8C-83A1-F6EECF244321}">
                <p14:modId xmlns:p14="http://schemas.microsoft.com/office/powerpoint/2010/main" val="73846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9" name="Picture 8" descr="A picture containing graphical user interface&#10;&#10;Description automatically generated">
            <a:extLst>
              <a:ext uri="{FF2B5EF4-FFF2-40B4-BE49-F238E27FC236}">
                <a16:creationId xmlns:a16="http://schemas.microsoft.com/office/drawing/2014/main" id="{CC762A48-347C-4227-AC98-3AFA1BCF6028}"/>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0FDF337C-8DF0-4D67-B82F-E294AF3D5F6F}"/>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F8F65E99-E8A1-456A-ACA7-9D2ADB0959FD}"/>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72368D8D-0FBE-4216-BB94-7B0DCD648DDD}"/>
              </a:ext>
            </a:extLst>
          </p:cNvPr>
          <p:cNvSpPr>
            <a:spLocks noGrp="1"/>
          </p:cNvSpPr>
          <p:nvPr>
            <p:ph type="title"/>
          </p:nvPr>
        </p:nvSpPr>
        <p:spPr>
          <a:xfrm>
            <a:off x="472501" y="300174"/>
            <a:ext cx="4675564" cy="415498"/>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603527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jp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72">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008C8E-83B4-4B57-B899-FEDA051E8016}"/>
              </a:ext>
            </a:extLst>
          </p:cNvPr>
          <p:cNvGraphicFramePr>
            <a:graphicFrameLocks noChangeAspect="1"/>
          </p:cNvGraphicFramePr>
          <p:nvPr userDrawn="1">
            <p:custDataLst>
              <p:tags r:id="rId71"/>
            </p:custDataLst>
            <p:extLst>
              <p:ext uri="{D42A27DB-BD31-4B8C-83A1-F6EECF244321}">
                <p14:modId xmlns:p14="http://schemas.microsoft.com/office/powerpoint/2010/main" val="2957846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73" imgW="328" imgH="328" progId="TCLayout.ActiveDocument.1">
                  <p:embed/>
                </p:oleObj>
              </mc:Choice>
              <mc:Fallback>
                <p:oleObj name="think-cell Slide" r:id="rId73" imgW="328" imgH="328" progId="TCLayout.ActiveDocument.1">
                  <p:embed/>
                  <p:pic>
                    <p:nvPicPr>
                      <p:cNvPr id="0" name=""/>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1026" name="Rectangle 9"/>
          <p:cNvSpPr>
            <a:spLocks noGrp="1" noChangeArrowheads="1"/>
          </p:cNvSpPr>
          <p:nvPr>
            <p:ph type="title"/>
          </p:nvPr>
        </p:nvSpPr>
        <p:spPr bwMode="auto">
          <a:xfrm>
            <a:off x="472500" y="300174"/>
            <a:ext cx="6331747"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spAutoFit/>
          </a:bodyPr>
          <a:lstStyle/>
          <a:p>
            <a:pPr lvl="0"/>
            <a:r>
              <a:rPr lang="de-DE" altLang="de-DE" dirty="0"/>
              <a:t>Titelmasterformat durch Klicken bearbeiten</a:t>
            </a:r>
            <a:br>
              <a:rPr lang="de-DE" altLang="de-DE" dirty="0"/>
            </a:br>
            <a:endParaRPr lang="de-DE" altLang="de-DE" dirty="0"/>
          </a:p>
        </p:txBody>
      </p:sp>
      <p:sp>
        <p:nvSpPr>
          <p:cNvPr id="1027" name="Rectangle 10"/>
          <p:cNvSpPr>
            <a:spLocks noGrp="1" noChangeArrowheads="1"/>
          </p:cNvSpPr>
          <p:nvPr>
            <p:ph type="body" idx="1"/>
          </p:nvPr>
        </p:nvSpPr>
        <p:spPr bwMode="auto">
          <a:xfrm>
            <a:off x="472500" y="1563638"/>
            <a:ext cx="8381448" cy="309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bodyPr>
          <a:lstStyle/>
          <a:p>
            <a:pPr lvl="0"/>
            <a:r>
              <a:rPr lang="de-DE" dirty="0"/>
              <a:t>Click to edit Master text styles</a:t>
            </a:r>
          </a:p>
          <a:p>
            <a:pPr lvl="1"/>
            <a:r>
              <a:rPr lang="de-DE" dirty="0"/>
              <a:t>Second level</a:t>
            </a:r>
          </a:p>
          <a:p>
            <a:pPr lvl="2"/>
            <a:r>
              <a:rPr lang="de-DE" dirty="0"/>
              <a:t>Third level</a:t>
            </a:r>
          </a:p>
          <a:p>
            <a:pPr lvl="3"/>
            <a:r>
              <a:rPr lang="de-DE" dirty="0"/>
              <a:t>Fourth level</a:t>
            </a:r>
          </a:p>
          <a:p>
            <a:pPr lvl="4"/>
            <a:r>
              <a:rPr lang="de-DE" dirty="0"/>
              <a:t>Fifth level</a:t>
            </a:r>
            <a:endParaRPr lang="de-DE" altLang="de-DE" dirty="0"/>
          </a:p>
        </p:txBody>
      </p:sp>
      <p:sp>
        <p:nvSpPr>
          <p:cNvPr id="35" name="Slide Number Placeholder 28">
            <a:extLst>
              <a:ext uri="{FF2B5EF4-FFF2-40B4-BE49-F238E27FC236}">
                <a16:creationId xmlns:a16="http://schemas.microsoft.com/office/drawing/2014/main" id="{E2B4108C-4F82-4894-9C0E-33F0E641BBA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cxnSp>
        <p:nvCxnSpPr>
          <p:cNvPr id="19" name="Straight Connector 18">
            <a:extLst>
              <a:ext uri="{FF2B5EF4-FFF2-40B4-BE49-F238E27FC236}">
                <a16:creationId xmlns:a16="http://schemas.microsoft.com/office/drawing/2014/main" id="{A5C11A8C-FA8C-4E8A-8232-33A323B46F6C}"/>
              </a:ext>
            </a:extLst>
          </p:cNvPr>
          <p:cNvCxnSpPr/>
          <p:nvPr userDrawn="1"/>
        </p:nvCxnSpPr>
        <p:spPr bwMode="auto">
          <a:xfrm>
            <a:off x="8894214" y="252746"/>
            <a:ext cx="0" cy="5112568"/>
          </a:xfrm>
          <a:prstGeom prst="lin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3701" r:id="rId1"/>
    <p:sldLayoutId id="214748381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99" r:id="rId27"/>
    <p:sldLayoutId id="2147483800" r:id="rId28"/>
    <p:sldLayoutId id="2147483801" r:id="rId29"/>
    <p:sldLayoutId id="2147483802" r:id="rId30"/>
    <p:sldLayoutId id="2147483803" r:id="rId31"/>
    <p:sldLayoutId id="2147483745" r:id="rId32"/>
    <p:sldLayoutId id="2147483747" r:id="rId33"/>
    <p:sldLayoutId id="2147483813"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 id="2147483770" r:id="rId56"/>
    <p:sldLayoutId id="2147483771" r:id="rId57"/>
    <p:sldLayoutId id="2147483815" r:id="rId58"/>
    <p:sldLayoutId id="2147483773" r:id="rId59"/>
    <p:sldLayoutId id="2147483804" r:id="rId60"/>
    <p:sldLayoutId id="2147483805" r:id="rId61"/>
    <p:sldLayoutId id="2147483806" r:id="rId62"/>
    <p:sldLayoutId id="2147483807" r:id="rId63"/>
    <p:sldLayoutId id="2147483808" r:id="rId64"/>
    <p:sldLayoutId id="2147483809" r:id="rId65"/>
    <p:sldLayoutId id="2147483810" r:id="rId66"/>
    <p:sldLayoutId id="2147483811" r:id="rId67"/>
    <p:sldLayoutId id="2147483812" r:id="rId68"/>
  </p:sldLayoutIdLst>
  <p:txStyles>
    <p:titleStyle>
      <a:lvl1pPr algn="l" rtl="0" eaLnBrk="1" fontAlgn="base" hangingPunct="1">
        <a:spcBef>
          <a:spcPct val="0"/>
        </a:spcBef>
        <a:spcAft>
          <a:spcPct val="0"/>
        </a:spcAft>
        <a:defRPr sz="2400" i="1">
          <a:solidFill>
            <a:srgbClr val="0A4E78"/>
          </a:solidFill>
          <a:latin typeface="+mj-lt"/>
          <a:ea typeface="+mj-ea"/>
          <a:cs typeface="+mj-cs"/>
          <a:sym typeface="Novel Sans Pro" panose="02000000000000000000" pitchFamily="50" charset="0"/>
        </a:defRPr>
      </a:lvl1pPr>
      <a:lvl2pPr algn="l" rtl="0" eaLnBrk="1" fontAlgn="base" hangingPunct="1">
        <a:spcBef>
          <a:spcPct val="0"/>
        </a:spcBef>
        <a:spcAft>
          <a:spcPct val="0"/>
        </a:spcAft>
        <a:defRPr sz="2800" i="1">
          <a:solidFill>
            <a:srgbClr val="0A4E78"/>
          </a:solidFill>
          <a:latin typeface="Arial" charset="0"/>
          <a:cs typeface="Arial" charset="0"/>
        </a:defRPr>
      </a:lvl2pPr>
      <a:lvl3pPr algn="l" rtl="0" eaLnBrk="1" fontAlgn="base" hangingPunct="1">
        <a:spcBef>
          <a:spcPct val="0"/>
        </a:spcBef>
        <a:spcAft>
          <a:spcPct val="0"/>
        </a:spcAft>
        <a:defRPr sz="2800" i="1">
          <a:solidFill>
            <a:srgbClr val="0A4E78"/>
          </a:solidFill>
          <a:latin typeface="Arial" charset="0"/>
          <a:cs typeface="Arial" charset="0"/>
        </a:defRPr>
      </a:lvl3pPr>
      <a:lvl4pPr algn="l" rtl="0" eaLnBrk="1" fontAlgn="base" hangingPunct="1">
        <a:spcBef>
          <a:spcPct val="0"/>
        </a:spcBef>
        <a:spcAft>
          <a:spcPct val="0"/>
        </a:spcAft>
        <a:defRPr sz="2800" i="1">
          <a:solidFill>
            <a:srgbClr val="0A4E78"/>
          </a:solidFill>
          <a:latin typeface="Arial" charset="0"/>
          <a:cs typeface="Arial" charset="0"/>
        </a:defRPr>
      </a:lvl4pPr>
      <a:lvl5pPr algn="l" rtl="0" eaLnBrk="1" fontAlgn="base" hangingPunct="1">
        <a:spcBef>
          <a:spcPct val="0"/>
        </a:spcBef>
        <a:spcAft>
          <a:spcPct val="0"/>
        </a:spcAft>
        <a:defRPr sz="2800" i="1">
          <a:solidFill>
            <a:srgbClr val="0A4E78"/>
          </a:solidFill>
          <a:latin typeface="Arial" charset="0"/>
          <a:cs typeface="Arial" charset="0"/>
        </a:defRPr>
      </a:lvl5pPr>
      <a:lvl6pPr marL="457200" algn="l" rtl="0" eaLnBrk="1" fontAlgn="base" hangingPunct="1">
        <a:spcBef>
          <a:spcPct val="0"/>
        </a:spcBef>
        <a:spcAft>
          <a:spcPct val="0"/>
        </a:spcAft>
        <a:defRPr sz="2800" i="1">
          <a:solidFill>
            <a:srgbClr val="0A4E78"/>
          </a:solidFill>
          <a:latin typeface="Arial" charset="0"/>
          <a:cs typeface="Arial" charset="0"/>
        </a:defRPr>
      </a:lvl6pPr>
      <a:lvl7pPr marL="914400" algn="l" rtl="0" eaLnBrk="1" fontAlgn="base" hangingPunct="1">
        <a:spcBef>
          <a:spcPct val="0"/>
        </a:spcBef>
        <a:spcAft>
          <a:spcPct val="0"/>
        </a:spcAft>
        <a:defRPr sz="2800" i="1">
          <a:solidFill>
            <a:srgbClr val="0A4E78"/>
          </a:solidFill>
          <a:latin typeface="Arial" charset="0"/>
          <a:cs typeface="Arial" charset="0"/>
        </a:defRPr>
      </a:lvl7pPr>
      <a:lvl8pPr marL="1371600" algn="l" rtl="0" eaLnBrk="1" fontAlgn="base" hangingPunct="1">
        <a:spcBef>
          <a:spcPct val="0"/>
        </a:spcBef>
        <a:spcAft>
          <a:spcPct val="0"/>
        </a:spcAft>
        <a:defRPr sz="2800" i="1">
          <a:solidFill>
            <a:srgbClr val="0A4E78"/>
          </a:solidFill>
          <a:latin typeface="Arial" charset="0"/>
          <a:cs typeface="Arial" charset="0"/>
        </a:defRPr>
      </a:lvl8pPr>
      <a:lvl9pPr marL="1828800" algn="l" rtl="0" eaLnBrk="1" fontAlgn="base" hangingPunct="1">
        <a:spcBef>
          <a:spcPct val="0"/>
        </a:spcBef>
        <a:spcAft>
          <a:spcPct val="0"/>
        </a:spcAft>
        <a:defRPr sz="2800" i="1">
          <a:solidFill>
            <a:srgbClr val="0A4E78"/>
          </a:solidFill>
          <a:latin typeface="Arial" charset="0"/>
          <a:cs typeface="Arial" charset="0"/>
        </a:defRPr>
      </a:lvl9pPr>
    </p:titleStyle>
    <p:bodyStyle>
      <a:lvl1pPr marL="342900" indent="-342900" algn="l" rtl="0" eaLnBrk="1" fontAlgn="base" hangingPunct="1">
        <a:spcBef>
          <a:spcPct val="20000"/>
        </a:spcBef>
        <a:spcAft>
          <a:spcPct val="0"/>
        </a:spcAft>
        <a:defRPr>
          <a:solidFill>
            <a:srgbClr val="0A4E78"/>
          </a:solidFill>
          <a:latin typeface="+mn-lt"/>
          <a:ea typeface="+mn-ea"/>
          <a:cs typeface="+mn-cs"/>
          <a:sym typeface="Novel Sans Pro" panose="02000000000000000000" pitchFamily="50" charset="0"/>
        </a:defRPr>
      </a:lvl1pPr>
      <a:lvl2pPr marL="432000" indent="-216000" algn="l" rtl="0" eaLnBrk="1" fontAlgn="base" hangingPunct="1">
        <a:spcBef>
          <a:spcPct val="20000"/>
        </a:spcBef>
        <a:spcAft>
          <a:spcPct val="0"/>
        </a:spcAft>
        <a:buFont typeface="Arial" panose="020B0604020202020204" pitchFamily="34" charset="0"/>
        <a:buChar char="•"/>
        <a:defRPr>
          <a:solidFill>
            <a:srgbClr val="0A4E78"/>
          </a:solidFill>
          <a:latin typeface="+mn-lt"/>
          <a:ea typeface="+mn-ea"/>
          <a:cs typeface="+mn-cs"/>
          <a:sym typeface="Novel Sans Pro" panose="02000000000000000000" pitchFamily="50" charset="0"/>
        </a:defRPr>
      </a:lvl2pPr>
      <a:lvl3pPr marL="864000" indent="-216000" algn="l" rtl="0" eaLnBrk="1" fontAlgn="base" hangingPunct="1">
        <a:spcBef>
          <a:spcPct val="20000"/>
        </a:spcBef>
        <a:spcAft>
          <a:spcPct val="0"/>
        </a:spcAft>
        <a:buFont typeface="Symbol" panose="05050102010706020507" pitchFamily="18" charset="2"/>
        <a:buChar char="-"/>
        <a:defRPr>
          <a:solidFill>
            <a:srgbClr val="0A4E78"/>
          </a:solidFill>
          <a:latin typeface="+mn-lt"/>
          <a:ea typeface="+mn-ea"/>
          <a:cs typeface="+mn-cs"/>
          <a:sym typeface="Novel Sans Pro" panose="02000000000000000000" pitchFamily="50" charset="0"/>
        </a:defRPr>
      </a:lvl3pPr>
      <a:lvl4pPr marL="1296000" indent="-216000" algn="l" rtl="0" eaLnBrk="1" fontAlgn="base" hangingPunct="1">
        <a:spcBef>
          <a:spcPct val="20000"/>
        </a:spcBef>
        <a:spcAft>
          <a:spcPct val="0"/>
        </a:spcAft>
        <a:buFont typeface="Symbol" panose="05050102010706020507" pitchFamily="18" charset="2"/>
        <a:buChar char="-"/>
        <a:defRPr>
          <a:solidFill>
            <a:srgbClr val="0A4E78"/>
          </a:solidFill>
          <a:latin typeface="+mn-lt"/>
          <a:ea typeface="+mn-ea"/>
          <a:cs typeface="+mn-cs"/>
          <a:sym typeface="Novel Sans Pro" panose="02000000000000000000" pitchFamily="50" charset="0"/>
        </a:defRPr>
      </a:lvl4pPr>
      <a:lvl5pPr marL="1728000" indent="-216000" algn="l" rtl="0" eaLnBrk="1" fontAlgn="base" hangingPunct="1">
        <a:spcBef>
          <a:spcPct val="20000"/>
        </a:spcBef>
        <a:spcAft>
          <a:spcPct val="0"/>
        </a:spcAft>
        <a:buFont typeface="Symbol" panose="05050102010706020507" pitchFamily="18" charset="2"/>
        <a:buChar char="-"/>
        <a:defRPr>
          <a:solidFill>
            <a:srgbClr val="0A4E78"/>
          </a:solidFill>
          <a:latin typeface="+mn-lt"/>
          <a:ea typeface="+mn-ea"/>
          <a:cs typeface="+mn-cs"/>
          <a:sym typeface="Novel Sans Pro" panose="02000000000000000000" pitchFamily="50" charset="0"/>
        </a:defRPr>
      </a:lvl5pPr>
      <a:lvl6pPr marL="2514600" indent="-228600" algn="l" rtl="0" eaLnBrk="1" fontAlgn="base" hangingPunct="1">
        <a:spcBef>
          <a:spcPct val="20000"/>
        </a:spcBef>
        <a:spcAft>
          <a:spcPct val="0"/>
        </a:spcAft>
        <a:defRPr>
          <a:solidFill>
            <a:srgbClr val="0A4E78"/>
          </a:solidFill>
          <a:latin typeface="+mn-lt"/>
          <a:cs typeface="+mn-cs"/>
        </a:defRPr>
      </a:lvl6pPr>
      <a:lvl7pPr marL="2971800" indent="-228600" algn="l" rtl="0" eaLnBrk="1" fontAlgn="base" hangingPunct="1">
        <a:spcBef>
          <a:spcPct val="20000"/>
        </a:spcBef>
        <a:spcAft>
          <a:spcPct val="0"/>
        </a:spcAft>
        <a:defRPr>
          <a:solidFill>
            <a:srgbClr val="0A4E78"/>
          </a:solidFill>
          <a:latin typeface="+mn-lt"/>
          <a:cs typeface="+mn-cs"/>
        </a:defRPr>
      </a:lvl7pPr>
      <a:lvl8pPr marL="3429000" indent="-228600" algn="l" rtl="0" eaLnBrk="1" fontAlgn="base" hangingPunct="1">
        <a:spcBef>
          <a:spcPct val="20000"/>
        </a:spcBef>
        <a:spcAft>
          <a:spcPct val="0"/>
        </a:spcAft>
        <a:defRPr>
          <a:solidFill>
            <a:srgbClr val="0A4E78"/>
          </a:solidFill>
          <a:latin typeface="+mn-lt"/>
          <a:cs typeface="+mn-cs"/>
        </a:defRPr>
      </a:lvl8pPr>
      <a:lvl9pPr marL="3886200" indent="-228600" algn="l" rtl="0" eaLnBrk="1" fontAlgn="base" hangingPunct="1">
        <a:spcBef>
          <a:spcPct val="20000"/>
        </a:spcBef>
        <a:spcAft>
          <a:spcPct val="0"/>
        </a:spcAft>
        <a:defRPr>
          <a:solidFill>
            <a:srgbClr val="0A4E78"/>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5" userDrawn="1">
          <p15:clr>
            <a:srgbClr val="F26B43"/>
          </p15:clr>
        </p15:guide>
        <p15:guide id="2" pos="295" userDrawn="1">
          <p15:clr>
            <a:srgbClr val="F26B43"/>
          </p15:clr>
        </p15:guide>
        <p15:guide id="3" orient="horz" pos="2935" userDrawn="1">
          <p15:clr>
            <a:srgbClr val="F26B43"/>
          </p15:clr>
        </p15:guide>
        <p15:guide id="4" pos="5577" userDrawn="1">
          <p15:clr>
            <a:srgbClr val="F26B43"/>
          </p15:clr>
        </p15:guide>
        <p15:guide id="5" orient="horz" pos="189" userDrawn="1">
          <p15:clr>
            <a:srgbClr val="F26B43"/>
          </p15:clr>
        </p15:guide>
        <p15:guide id="6" orient="horz" pos="6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73.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xml"/><Relationship Id="rId1" Type="http://schemas.openxmlformats.org/officeDocument/2006/relationships/vmlDrawing" Target="../drawings/vmlDrawing76.vml"/><Relationship Id="rId6" Type="http://schemas.openxmlformats.org/officeDocument/2006/relationships/image" Target="../media/image23.emf"/><Relationship Id="rId5" Type="http://schemas.openxmlformats.org/officeDocument/2006/relationships/oleObject" Target="../embeddings/oleObject77.bin"/><Relationship Id="rId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0.xml"/><Relationship Id="rId1" Type="http://schemas.openxmlformats.org/officeDocument/2006/relationships/vmlDrawing" Target="../drawings/vmlDrawing77.vml"/><Relationship Id="rId6" Type="http://schemas.openxmlformats.org/officeDocument/2006/relationships/image" Target="../media/image23.emf"/><Relationship Id="rId5" Type="http://schemas.openxmlformats.org/officeDocument/2006/relationships/oleObject" Target="../embeddings/oleObject78.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xml"/><Relationship Id="rId1" Type="http://schemas.openxmlformats.org/officeDocument/2006/relationships/vmlDrawing" Target="../drawings/vmlDrawing78.vml"/><Relationship Id="rId6" Type="http://schemas.openxmlformats.org/officeDocument/2006/relationships/image" Target="../media/image23.emf"/><Relationship Id="rId5" Type="http://schemas.openxmlformats.org/officeDocument/2006/relationships/oleObject" Target="../embeddings/oleObject79.bin"/><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5.xml"/><Relationship Id="rId7" Type="http://schemas.openxmlformats.org/officeDocument/2006/relationships/oleObject" Target="../embeddings/oleObject72.bin"/><Relationship Id="rId2" Type="http://schemas.openxmlformats.org/officeDocument/2006/relationships/tags" Target="../tags/tag74.xml"/><Relationship Id="rId1" Type="http://schemas.openxmlformats.org/officeDocument/2006/relationships/vmlDrawing" Target="../drawings/vmlDrawing71.vml"/><Relationship Id="rId6" Type="http://schemas.openxmlformats.org/officeDocument/2006/relationships/image" Target="../media/image15.emf"/><Relationship Id="rId5" Type="http://schemas.openxmlformats.org/officeDocument/2006/relationships/oleObject" Target="../embeddings/oleObject71.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4"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xml"/><Relationship Id="rId1" Type="http://schemas.openxmlformats.org/officeDocument/2006/relationships/vmlDrawing" Target="../drawings/vmlDrawing72.vml"/><Relationship Id="rId5" Type="http://schemas.openxmlformats.org/officeDocument/2006/relationships/image" Target="../media/image15.emf"/><Relationship Id="rId4" Type="http://schemas.openxmlformats.org/officeDocument/2006/relationships/oleObject" Target="../embeddings/oleObject73.bin"/></Relationships>
</file>

<file path=ppt/slides/_rels/slide5.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4"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slideLayout" Target="../slideLayouts/slideLayout3.xml"/><Relationship Id="rId7" Type="http://schemas.microsoft.com/office/2007/relationships/hdphoto" Target="../media/hdphoto1.wdp"/><Relationship Id="rId12" Type="http://schemas.openxmlformats.org/officeDocument/2006/relationships/image" Target="../media/image21.jpeg"/><Relationship Id="rId2" Type="http://schemas.openxmlformats.org/officeDocument/2006/relationships/tags" Target="../tags/tag83.xml"/><Relationship Id="rId1" Type="http://schemas.openxmlformats.org/officeDocument/2006/relationships/vmlDrawing" Target="../drawings/vmlDrawing73.vml"/><Relationship Id="rId6" Type="http://schemas.openxmlformats.org/officeDocument/2006/relationships/image" Target="../media/image16.png"/><Relationship Id="rId11" Type="http://schemas.openxmlformats.org/officeDocument/2006/relationships/image" Target="../media/image20.jpeg"/><Relationship Id="rId5" Type="http://schemas.openxmlformats.org/officeDocument/2006/relationships/image" Target="../media/image15.emf"/><Relationship Id="rId10" Type="http://schemas.openxmlformats.org/officeDocument/2006/relationships/image" Target="../media/image19.jpeg"/><Relationship Id="rId4" Type="http://schemas.openxmlformats.org/officeDocument/2006/relationships/oleObject" Target="../embeddings/oleObject74.bin"/><Relationship Id="rId9" Type="http://schemas.openxmlformats.org/officeDocument/2006/relationships/image" Target="../media/image18.jpg"/></Relationships>
</file>

<file path=ppt/slides/_rels/slide7.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 Id="rId4"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xml"/><Relationship Id="rId1" Type="http://schemas.openxmlformats.org/officeDocument/2006/relationships/vmlDrawing" Target="../drawings/vmlDrawing74.vml"/><Relationship Id="rId5" Type="http://schemas.openxmlformats.org/officeDocument/2006/relationships/image" Target="../media/image15.emf"/><Relationship Id="rId4" Type="http://schemas.openxmlformats.org/officeDocument/2006/relationships/oleObject" Target="../embeddings/oleObject7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xml"/><Relationship Id="rId1" Type="http://schemas.openxmlformats.org/officeDocument/2006/relationships/vmlDrawing" Target="../drawings/vmlDrawing75.vml"/><Relationship Id="rId6" Type="http://schemas.openxmlformats.org/officeDocument/2006/relationships/image" Target="../media/image23.emf"/><Relationship Id="rId5" Type="http://schemas.openxmlformats.org/officeDocument/2006/relationships/oleObject" Target="../embeddings/oleObject76.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184FC5-FEE7-42D7-A5EB-B6E0DDEA9044}"/>
              </a:ext>
            </a:extLst>
          </p:cNvPr>
          <p:cNvGraphicFramePr>
            <a:graphicFrameLocks noChangeAspect="1"/>
          </p:cNvGraphicFramePr>
          <p:nvPr>
            <p:custDataLst>
              <p:tags r:id="rId2"/>
            </p:custDataLst>
            <p:extLst>
              <p:ext uri="{D42A27DB-BD31-4B8C-83A1-F6EECF244321}">
                <p14:modId xmlns:p14="http://schemas.microsoft.com/office/powerpoint/2010/main" val="205776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6" name="think-cell Slide" r:id="rId5" imgW="328" imgH="328" progId="TCLayout.ActiveDocument.1">
                  <p:embed/>
                </p:oleObj>
              </mc:Choice>
              <mc:Fallback>
                <p:oleObj name="think-cell Slide" r:id="rId5" imgW="328" imgH="32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46" name="Rectangle 2"/>
          <p:cNvSpPr>
            <a:spLocks noGrp="1" noChangeArrowheads="1"/>
          </p:cNvSpPr>
          <p:nvPr>
            <p:ph type="ctrTitle"/>
          </p:nvPr>
        </p:nvSpPr>
        <p:spPr>
          <a:xfrm>
            <a:off x="2411760" y="1845737"/>
            <a:ext cx="5325716" cy="1277273"/>
          </a:xfrm>
        </p:spPr>
        <p:txBody>
          <a:bodyPr vert="horz"/>
          <a:lstStyle/>
          <a:p>
            <a:r>
              <a:rPr lang="de-DE" altLang="de-DE" dirty="0">
                <a:latin typeface="+mj-lt"/>
                <a:sym typeface="Novel Sans Pro" panose="02000000000000000000" pitchFamily="50" charset="0"/>
              </a:rPr>
              <a:t>Bildmaterial zur Kommunikation</a:t>
            </a:r>
          </a:p>
        </p:txBody>
      </p:sp>
      <p:sp>
        <p:nvSpPr>
          <p:cNvPr id="6147" name="Rectangle 3"/>
          <p:cNvSpPr>
            <a:spLocks noGrp="1" noChangeArrowheads="1"/>
          </p:cNvSpPr>
          <p:nvPr>
            <p:ph type="subTitle" idx="1"/>
          </p:nvPr>
        </p:nvSpPr>
        <p:spPr/>
        <p:txBody>
          <a:bodyPr/>
          <a:lstStyle/>
          <a:p>
            <a:r>
              <a:rPr lang="de-DE" altLang="de-DE" dirty="0">
                <a:latin typeface="+mn-lt"/>
                <a:sym typeface="Novel Sans Pro" panose="02000000000000000000" pitchFamily="50" charset="0"/>
              </a:rPr>
              <a:t>PCR-Pool-Tests in der Kindertagesbetreuung</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E10F2B4-9639-4A81-95C0-5314BA791586}"/>
              </a:ext>
            </a:extLst>
          </p:cNvPr>
          <p:cNvGraphicFramePr>
            <a:graphicFrameLocks noChangeAspect="1"/>
          </p:cNvGraphicFramePr>
          <p:nvPr>
            <p:custDataLst>
              <p:tags r:id="rId2"/>
            </p:custDataLst>
            <p:extLst>
              <p:ext uri="{D42A27DB-BD31-4B8C-83A1-F6EECF244321}">
                <p14:modId xmlns:p14="http://schemas.microsoft.com/office/powerpoint/2010/main" val="32626543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7830" name="think-cell Slide" r:id="rId5" imgW="473" imgH="476" progId="TCLayout.ActiveDocument.1">
                  <p:embed/>
                </p:oleObj>
              </mc:Choice>
              <mc:Fallback>
                <p:oleObj name="think-cell Slide" r:id="rId5" imgW="473" imgH="476" progId="TCLayout.ActiveDocument.1">
                  <p:embed/>
                  <p:pic>
                    <p:nvPicPr>
                      <p:cNvPr id="9" name="Object 8" hidden="1">
                        <a:extLst>
                          <a:ext uri="{FF2B5EF4-FFF2-40B4-BE49-F238E27FC236}">
                            <a16:creationId xmlns:a16="http://schemas.microsoft.com/office/drawing/2014/main" id="{3E10F2B4-9639-4A81-95C0-5314BA79158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Title 2"/>
          <p:cNvSpPr>
            <a:spLocks noGrp="1"/>
          </p:cNvSpPr>
          <p:nvPr>
            <p:ph type="title"/>
          </p:nvPr>
        </p:nvSpPr>
        <p:spPr>
          <a:xfrm>
            <a:off x="472500" y="300174"/>
            <a:ext cx="7987932" cy="784830"/>
          </a:xfrm>
        </p:spPr>
        <p:txBody>
          <a:bodyPr vert="horz"/>
          <a:lstStyle/>
          <a:p>
            <a:r>
              <a:rPr lang="de-DE" dirty="0"/>
              <a:t>Die Entnahme der Individualprobe besteht</a:t>
            </a:r>
            <a:br>
              <a:rPr lang="de-DE" dirty="0"/>
            </a:br>
            <a:r>
              <a:rPr lang="de-DE" dirty="0"/>
              <a:t>aus drei einfachen Schritten und findet an jedem Testtag statt</a:t>
            </a:r>
          </a:p>
        </p:txBody>
      </p:sp>
      <p:sp>
        <p:nvSpPr>
          <p:cNvPr id="112" name="TextBox 111">
            <a:extLst>
              <a:ext uri="{FF2B5EF4-FFF2-40B4-BE49-F238E27FC236}">
                <a16:creationId xmlns:a16="http://schemas.microsoft.com/office/drawing/2014/main" id="{31FB72D5-6818-4840-83BD-13106DCEDD4D}"/>
              </a:ext>
            </a:extLst>
          </p:cNvPr>
          <p:cNvSpPr txBox="1"/>
          <p:nvPr/>
        </p:nvSpPr>
        <p:spPr>
          <a:xfrm>
            <a:off x="1171869" y="3597440"/>
            <a:ext cx="1620000" cy="69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de-DE" sz="900" dirty="0">
                <a:solidFill>
                  <a:srgbClr val="000000"/>
                </a:solidFill>
              </a:rPr>
              <a:t>Das Kind erhält Abstrichtupfer im Transportrohr für Individualtest, holt diesen aus dem Rörchen und lutscht für 30 Sekunden an dem Tupfer wie an einem "Lolli".</a:t>
            </a:r>
            <a:endParaRPr lang="de-DE" sz="788" strike="sngStrike" dirty="0">
              <a:solidFill>
                <a:srgbClr val="FF0000"/>
              </a:solidFill>
            </a:endParaRPr>
          </a:p>
        </p:txBody>
      </p:sp>
      <p:cxnSp>
        <p:nvCxnSpPr>
          <p:cNvPr id="168" name="Straight Arrow Connector 167">
            <a:extLst>
              <a:ext uri="{FF2B5EF4-FFF2-40B4-BE49-F238E27FC236}">
                <a16:creationId xmlns:a16="http://schemas.microsoft.com/office/drawing/2014/main" id="{794C40C7-50E6-4082-85B0-A9DF7146DC1F}"/>
              </a:ext>
            </a:extLst>
          </p:cNvPr>
          <p:cNvCxnSpPr>
            <a:cxnSpLocks/>
          </p:cNvCxnSpPr>
          <p:nvPr/>
        </p:nvCxnSpPr>
        <p:spPr>
          <a:xfrm>
            <a:off x="3491880" y="2806909"/>
            <a:ext cx="1008112" cy="0"/>
          </a:xfrm>
          <a:prstGeom prst="straightConnector1">
            <a:avLst/>
          </a:prstGeom>
          <a:ln w="9525" cap="rnd" cmpd="sng" algn="ctr">
            <a:solidFill>
              <a:srgbClr val="003B59"/>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6FF16777-40EF-4FB6-A39A-5D3B7AD3B4D6}"/>
              </a:ext>
            </a:extLst>
          </p:cNvPr>
          <p:cNvCxnSpPr>
            <a:cxnSpLocks/>
          </p:cNvCxnSpPr>
          <p:nvPr/>
        </p:nvCxnSpPr>
        <p:spPr>
          <a:xfrm>
            <a:off x="5486392" y="2806909"/>
            <a:ext cx="1216049" cy="0"/>
          </a:xfrm>
          <a:prstGeom prst="straightConnector1">
            <a:avLst/>
          </a:prstGeom>
          <a:ln w="9525" cap="rnd" cmpd="sng" algn="ctr">
            <a:solidFill>
              <a:srgbClr val="003B59"/>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3E8819CC-8981-4A5C-B4A4-4782619DB655}"/>
              </a:ext>
            </a:extLst>
          </p:cNvPr>
          <p:cNvSpPr txBox="1"/>
          <p:nvPr/>
        </p:nvSpPr>
        <p:spPr>
          <a:xfrm>
            <a:off x="4244139" y="3597440"/>
            <a:ext cx="1620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de-DE" sz="900" dirty="0">
                <a:solidFill>
                  <a:srgbClr val="000000"/>
                </a:solidFill>
              </a:rPr>
              <a:t>Der Tupfer wird wieder in das Rörchen zurück gesteckt.</a:t>
            </a:r>
            <a:endParaRPr lang="de-DE" sz="788" dirty="0">
              <a:solidFill>
                <a:srgbClr val="FF0000"/>
              </a:solidFill>
            </a:endParaRPr>
          </a:p>
        </p:txBody>
      </p:sp>
      <p:sp>
        <p:nvSpPr>
          <p:cNvPr id="59" name="TextBox 58">
            <a:extLst>
              <a:ext uri="{FF2B5EF4-FFF2-40B4-BE49-F238E27FC236}">
                <a16:creationId xmlns:a16="http://schemas.microsoft.com/office/drawing/2014/main" id="{BE0E6178-FE8C-4AE2-A908-A5A7C5168519}"/>
              </a:ext>
            </a:extLst>
          </p:cNvPr>
          <p:cNvSpPr txBox="1"/>
          <p:nvPr/>
        </p:nvSpPr>
        <p:spPr>
          <a:xfrm>
            <a:off x="6641250" y="3528189"/>
            <a:ext cx="1819182"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de-DE" sz="900" dirty="0">
                <a:solidFill>
                  <a:srgbClr val="000000"/>
                </a:solidFill>
              </a:rPr>
              <a:t>Die Proben aller Kinder des Pools werden zusammen in einem Beutel gesammelt und dieser eindeutig beschriftet oder etikettiert.</a:t>
            </a:r>
            <a:endParaRPr lang="de-DE" sz="900" dirty="0">
              <a:solidFill>
                <a:srgbClr val="FF0000"/>
              </a:solidFill>
            </a:endParaRPr>
          </a:p>
        </p:txBody>
      </p:sp>
      <p:grpSp>
        <p:nvGrpSpPr>
          <p:cNvPr id="49" name="Group 48">
            <a:extLst>
              <a:ext uri="{FF2B5EF4-FFF2-40B4-BE49-F238E27FC236}">
                <a16:creationId xmlns:a16="http://schemas.microsoft.com/office/drawing/2014/main" id="{F67BAC67-D9E4-420E-B998-2BC29A719CD0}"/>
              </a:ext>
            </a:extLst>
          </p:cNvPr>
          <p:cNvGrpSpPr>
            <a:grpSpLocks noChangeAspect="1"/>
          </p:cNvGrpSpPr>
          <p:nvPr/>
        </p:nvGrpSpPr>
        <p:grpSpPr>
          <a:xfrm>
            <a:off x="1021371" y="2311120"/>
            <a:ext cx="990663" cy="991581"/>
            <a:chOff x="5273800" y="2606041"/>
            <a:chExt cx="1644396" cy="1645920"/>
          </a:xfrm>
        </p:grpSpPr>
        <p:sp>
          <p:nvSpPr>
            <p:cNvPr id="50" name="AutoShape 8">
              <a:extLst>
                <a:ext uri="{FF2B5EF4-FFF2-40B4-BE49-F238E27FC236}">
                  <a16:creationId xmlns:a16="http://schemas.microsoft.com/office/drawing/2014/main" id="{0568C434-8770-44DB-A17A-78807354E9BB}"/>
                </a:ext>
              </a:extLst>
            </p:cNvPr>
            <p:cNvSpPr>
              <a:spLocks noChangeAspect="1" noChangeArrowheads="1" noTextEdit="1"/>
            </p:cNvSpPr>
            <p:nvPr/>
          </p:nvSpPr>
          <p:spPr bwMode="auto">
            <a:xfrm>
              <a:off x="5273800" y="2606041"/>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grpSp>
          <p:nvGrpSpPr>
            <p:cNvPr id="51" name="Group 50">
              <a:extLst>
                <a:ext uri="{FF2B5EF4-FFF2-40B4-BE49-F238E27FC236}">
                  <a16:creationId xmlns:a16="http://schemas.microsoft.com/office/drawing/2014/main" id="{36E79197-832F-4A52-9FFD-E4A1A3B2D741}"/>
                </a:ext>
              </a:extLst>
            </p:cNvPr>
            <p:cNvGrpSpPr/>
            <p:nvPr/>
          </p:nvGrpSpPr>
          <p:grpSpPr>
            <a:xfrm>
              <a:off x="5521451" y="2919602"/>
              <a:ext cx="1147571" cy="1058037"/>
              <a:chOff x="5521451" y="2919603"/>
              <a:chExt cx="1147572" cy="1058037"/>
            </a:xfrm>
          </p:grpSpPr>
          <p:sp>
            <p:nvSpPr>
              <p:cNvPr id="52" name="Freeform 10">
                <a:extLst>
                  <a:ext uri="{FF2B5EF4-FFF2-40B4-BE49-F238E27FC236}">
                    <a16:creationId xmlns:a16="http://schemas.microsoft.com/office/drawing/2014/main" id="{0FB193AA-7F36-41F6-82F1-5855400EE297}"/>
                  </a:ext>
                </a:extLst>
              </p:cNvPr>
              <p:cNvSpPr>
                <a:spLocks/>
              </p:cNvSpPr>
              <p:nvPr/>
            </p:nvSpPr>
            <p:spPr bwMode="auto">
              <a:xfrm>
                <a:off x="5799200" y="3358896"/>
                <a:ext cx="592455" cy="417957"/>
              </a:xfrm>
              <a:custGeom>
                <a:avLst/>
                <a:gdLst>
                  <a:gd name="T0" fmla="*/ 0 w 830"/>
                  <a:gd name="T1" fmla="*/ 3 h 585"/>
                  <a:gd name="T2" fmla="*/ 0 w 830"/>
                  <a:gd name="T3" fmla="*/ 9 h 585"/>
                  <a:gd name="T4" fmla="*/ 61 w 830"/>
                  <a:gd name="T5" fmla="*/ 112 h 585"/>
                  <a:gd name="T6" fmla="*/ 180 w 830"/>
                  <a:gd name="T7" fmla="*/ 381 h 585"/>
                  <a:gd name="T8" fmla="*/ 180 w 830"/>
                  <a:gd name="T9" fmla="*/ 550 h 585"/>
                  <a:gd name="T10" fmla="*/ 224 w 830"/>
                  <a:gd name="T11" fmla="*/ 585 h 585"/>
                  <a:gd name="T12" fmla="*/ 224 w 830"/>
                  <a:gd name="T13" fmla="*/ 421 h 585"/>
                  <a:gd name="T14" fmla="*/ 415 w 830"/>
                  <a:gd name="T15" fmla="*/ 511 h 585"/>
                  <a:gd name="T16" fmla="*/ 606 w 830"/>
                  <a:gd name="T17" fmla="*/ 420 h 585"/>
                  <a:gd name="T18" fmla="*/ 606 w 830"/>
                  <a:gd name="T19" fmla="*/ 585 h 585"/>
                  <a:gd name="T20" fmla="*/ 650 w 830"/>
                  <a:gd name="T21" fmla="*/ 546 h 585"/>
                  <a:gd name="T22" fmla="*/ 650 w 830"/>
                  <a:gd name="T23" fmla="*/ 380 h 585"/>
                  <a:gd name="T24" fmla="*/ 769 w 830"/>
                  <a:gd name="T25" fmla="*/ 112 h 585"/>
                  <a:gd name="T26" fmla="*/ 830 w 830"/>
                  <a:gd name="T27" fmla="*/ 6 h 585"/>
                  <a:gd name="T28" fmla="*/ 830 w 830"/>
                  <a:gd name="T29" fmla="*/ 0 h 585"/>
                  <a:gd name="T30" fmla="*/ 781 w 830"/>
                  <a:gd name="T31" fmla="*/ 23 h 585"/>
                  <a:gd name="T32" fmla="*/ 740 w 830"/>
                  <a:gd name="T33" fmla="*/ 78 h 585"/>
                  <a:gd name="T34" fmla="*/ 730 w 830"/>
                  <a:gd name="T35" fmla="*/ 90 h 585"/>
                  <a:gd name="T36" fmla="*/ 611 w 830"/>
                  <a:gd name="T37" fmla="*/ 358 h 585"/>
                  <a:gd name="T38" fmla="*/ 415 w 830"/>
                  <a:gd name="T39" fmla="*/ 467 h 585"/>
                  <a:gd name="T40" fmla="*/ 219 w 830"/>
                  <a:gd name="T41" fmla="*/ 358 h 585"/>
                  <a:gd name="T42" fmla="*/ 100 w 830"/>
                  <a:gd name="T43" fmla="*/ 90 h 585"/>
                  <a:gd name="T44" fmla="*/ 90 w 830"/>
                  <a:gd name="T45" fmla="*/ 78 h 585"/>
                  <a:gd name="T46" fmla="*/ 50 w 830"/>
                  <a:gd name="T47" fmla="*/ 27 h 585"/>
                  <a:gd name="T48" fmla="*/ 0 w 830"/>
                  <a:gd name="T49" fmla="*/ 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0" y="3"/>
                    </a:move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cubicBezTo>
                      <a:pt x="781" y="23"/>
                      <a:pt x="781" y="23"/>
                      <a:pt x="781" y="23"/>
                    </a:cubicBez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lnTo>
                      <a:pt x="0" y="3"/>
                    </a:ln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sp>
            <p:nvSpPr>
              <p:cNvPr id="53" name="Freeform 11">
                <a:extLst>
                  <a:ext uri="{FF2B5EF4-FFF2-40B4-BE49-F238E27FC236}">
                    <a16:creationId xmlns:a16="http://schemas.microsoft.com/office/drawing/2014/main" id="{45F95BA4-08A8-4F7A-8059-62A2F3260BE2}"/>
                  </a:ext>
                </a:extLst>
              </p:cNvPr>
              <p:cNvSpPr>
                <a:spLocks noEditPoints="1"/>
              </p:cNvSpPr>
              <p:nvPr/>
            </p:nvSpPr>
            <p:spPr bwMode="auto">
              <a:xfrm>
                <a:off x="5521451" y="2919603"/>
                <a:ext cx="1147572" cy="1058037"/>
              </a:xfrm>
              <a:custGeom>
                <a:avLst/>
                <a:gdLst>
                  <a:gd name="T0" fmla="*/ 329 w 1608"/>
                  <a:gd name="T1" fmla="*/ 640 h 1481"/>
                  <a:gd name="T2" fmla="*/ 74 w 1608"/>
                  <a:gd name="T3" fmla="*/ 827 h 1481"/>
                  <a:gd name="T4" fmla="*/ 65 w 1608"/>
                  <a:gd name="T5" fmla="*/ 819 h 1481"/>
                  <a:gd name="T6" fmla="*/ 0 w 1608"/>
                  <a:gd name="T7" fmla="*/ 447 h 1481"/>
                  <a:gd name="T8" fmla="*/ 351 w 1608"/>
                  <a:gd name="T9" fmla="*/ 258 h 1481"/>
                  <a:gd name="T10" fmla="*/ 352 w 1608"/>
                  <a:gd name="T11" fmla="*/ 258 h 1481"/>
                  <a:gd name="T12" fmla="*/ 326 w 1608"/>
                  <a:gd name="T13" fmla="*/ 398 h 1481"/>
                  <a:gd name="T14" fmla="*/ 329 w 1608"/>
                  <a:gd name="T15" fmla="*/ 640 h 1481"/>
                  <a:gd name="T16" fmla="*/ 1493 w 1608"/>
                  <a:gd name="T17" fmla="*/ 1481 h 1481"/>
                  <a:gd name="T18" fmla="*/ 1514 w 1608"/>
                  <a:gd name="T19" fmla="*/ 1458 h 1481"/>
                  <a:gd name="T20" fmla="*/ 1513 w 1608"/>
                  <a:gd name="T21" fmla="*/ 1452 h 1481"/>
                  <a:gd name="T22" fmla="*/ 1100 w 1608"/>
                  <a:gd name="T23" fmla="*/ 1153 h 1481"/>
                  <a:gd name="T24" fmla="*/ 802 w 1608"/>
                  <a:gd name="T25" fmla="*/ 1294 h 1481"/>
                  <a:gd name="T26" fmla="*/ 500 w 1608"/>
                  <a:gd name="T27" fmla="*/ 1153 h 1481"/>
                  <a:gd name="T28" fmla="*/ 97 w 1608"/>
                  <a:gd name="T29" fmla="*/ 1433 h 1481"/>
                  <a:gd name="T30" fmla="*/ 94 w 1608"/>
                  <a:gd name="T31" fmla="*/ 1457 h 1481"/>
                  <a:gd name="T32" fmla="*/ 115 w 1608"/>
                  <a:gd name="T33" fmla="*/ 1481 h 1481"/>
                  <a:gd name="T34" fmla="*/ 1493 w 1608"/>
                  <a:gd name="T35" fmla="*/ 1481 h 1481"/>
                  <a:gd name="T36" fmla="*/ 1238 w 1608"/>
                  <a:gd name="T37" fmla="*/ 405 h 1481"/>
                  <a:gd name="T38" fmla="*/ 805 w 1608"/>
                  <a:gd name="T39" fmla="*/ 0 h 1481"/>
                  <a:gd name="T40" fmla="*/ 370 w 1608"/>
                  <a:gd name="T41" fmla="*/ 405 h 1481"/>
                  <a:gd name="T42" fmla="*/ 389 w 1608"/>
                  <a:gd name="T43" fmla="*/ 548 h 1481"/>
                  <a:gd name="T44" fmla="*/ 389 w 1608"/>
                  <a:gd name="T45" fmla="*/ 548 h 1481"/>
                  <a:gd name="T46" fmla="*/ 430 w 1608"/>
                  <a:gd name="T47" fmla="*/ 594 h 1481"/>
                  <a:gd name="T48" fmla="*/ 436 w 1608"/>
                  <a:gd name="T49" fmla="*/ 598 h 1481"/>
                  <a:gd name="T50" fmla="*/ 451 w 1608"/>
                  <a:gd name="T51" fmla="*/ 600 h 1481"/>
                  <a:gd name="T52" fmla="*/ 459 w 1608"/>
                  <a:gd name="T53" fmla="*/ 590 h 1481"/>
                  <a:gd name="T54" fmla="*/ 554 w 1608"/>
                  <a:gd name="T55" fmla="*/ 331 h 1481"/>
                  <a:gd name="T56" fmla="*/ 564 w 1608"/>
                  <a:gd name="T57" fmla="*/ 339 h 1481"/>
                  <a:gd name="T58" fmla="*/ 556 w 1608"/>
                  <a:gd name="T59" fmla="*/ 399 h 1481"/>
                  <a:gd name="T60" fmla="*/ 564 w 1608"/>
                  <a:gd name="T61" fmla="*/ 409 h 1481"/>
                  <a:gd name="T62" fmla="*/ 1124 w 1608"/>
                  <a:gd name="T63" fmla="*/ 317 h 1481"/>
                  <a:gd name="T64" fmla="*/ 1137 w 1608"/>
                  <a:gd name="T65" fmla="*/ 323 h 1481"/>
                  <a:gd name="T66" fmla="*/ 1141 w 1608"/>
                  <a:gd name="T67" fmla="*/ 598 h 1481"/>
                  <a:gd name="T68" fmla="*/ 1149 w 1608"/>
                  <a:gd name="T69" fmla="*/ 606 h 1481"/>
                  <a:gd name="T70" fmla="*/ 1170 w 1608"/>
                  <a:gd name="T71" fmla="*/ 606 h 1481"/>
                  <a:gd name="T72" fmla="*/ 1176 w 1608"/>
                  <a:gd name="T73" fmla="*/ 602 h 1481"/>
                  <a:gd name="T74" fmla="*/ 1221 w 1608"/>
                  <a:gd name="T75" fmla="*/ 542 h 1481"/>
                  <a:gd name="T76" fmla="*/ 1221 w 1608"/>
                  <a:gd name="T77" fmla="*/ 544 h 1481"/>
                  <a:gd name="T78" fmla="*/ 1238 w 1608"/>
                  <a:gd name="T79" fmla="*/ 405 h 1481"/>
                  <a:gd name="T80" fmla="*/ 1257 w 1608"/>
                  <a:gd name="T81" fmla="*/ 258 h 1481"/>
                  <a:gd name="T82" fmla="*/ 1256 w 1608"/>
                  <a:gd name="T83" fmla="*/ 258 h 1481"/>
                  <a:gd name="T84" fmla="*/ 1282 w 1608"/>
                  <a:gd name="T85" fmla="*/ 398 h 1481"/>
                  <a:gd name="T86" fmla="*/ 1279 w 1608"/>
                  <a:gd name="T87" fmla="*/ 640 h 1481"/>
                  <a:gd name="T88" fmla="*/ 1534 w 1608"/>
                  <a:gd name="T89" fmla="*/ 827 h 1481"/>
                  <a:gd name="T90" fmla="*/ 1543 w 1608"/>
                  <a:gd name="T91" fmla="*/ 819 h 1481"/>
                  <a:gd name="T92" fmla="*/ 1608 w 1608"/>
                  <a:gd name="T93" fmla="*/ 447 h 1481"/>
                  <a:gd name="T94" fmla="*/ 1257 w 1608"/>
                  <a:gd name="T95" fmla="*/ 258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8" h="1481">
                    <a:moveTo>
                      <a:pt x="329" y="640"/>
                    </a:moveTo>
                    <a:cubicBezTo>
                      <a:pt x="329" y="751"/>
                      <a:pt x="166" y="821"/>
                      <a:pt x="74" y="827"/>
                    </a:cubicBezTo>
                    <a:cubicBezTo>
                      <a:pt x="70" y="827"/>
                      <a:pt x="65" y="823"/>
                      <a:pt x="65" y="819"/>
                    </a:cubicBezTo>
                    <a:cubicBezTo>
                      <a:pt x="63" y="566"/>
                      <a:pt x="0" y="576"/>
                      <a:pt x="0" y="447"/>
                    </a:cubicBezTo>
                    <a:cubicBezTo>
                      <a:pt x="0" y="318"/>
                      <a:pt x="166" y="260"/>
                      <a:pt x="351" y="258"/>
                    </a:cubicBezTo>
                    <a:cubicBezTo>
                      <a:pt x="351" y="258"/>
                      <a:pt x="352" y="258"/>
                      <a:pt x="352" y="258"/>
                    </a:cubicBezTo>
                    <a:cubicBezTo>
                      <a:pt x="336" y="303"/>
                      <a:pt x="327" y="350"/>
                      <a:pt x="326" y="398"/>
                    </a:cubicBezTo>
                    <a:cubicBezTo>
                      <a:pt x="245" y="406"/>
                      <a:pt x="329" y="529"/>
                      <a:pt x="329" y="640"/>
                    </a:cubicBezTo>
                    <a:close/>
                    <a:moveTo>
                      <a:pt x="1493" y="1481"/>
                    </a:moveTo>
                    <a:cubicBezTo>
                      <a:pt x="1505" y="1481"/>
                      <a:pt x="1515" y="1470"/>
                      <a:pt x="1514" y="1458"/>
                    </a:cubicBezTo>
                    <a:cubicBezTo>
                      <a:pt x="1514" y="1456"/>
                      <a:pt x="1513" y="1454"/>
                      <a:pt x="1513" y="1452"/>
                    </a:cubicBezTo>
                    <a:cubicBezTo>
                      <a:pt x="1481" y="1202"/>
                      <a:pt x="1124" y="1155"/>
                      <a:pt x="1100" y="1153"/>
                    </a:cubicBezTo>
                    <a:cubicBezTo>
                      <a:pt x="1057" y="1212"/>
                      <a:pt x="983" y="1294"/>
                      <a:pt x="802" y="1294"/>
                    </a:cubicBezTo>
                    <a:cubicBezTo>
                      <a:pt x="621" y="1294"/>
                      <a:pt x="537" y="1196"/>
                      <a:pt x="500" y="1153"/>
                    </a:cubicBezTo>
                    <a:cubicBezTo>
                      <a:pt x="478" y="1153"/>
                      <a:pt x="128" y="1168"/>
                      <a:pt x="97" y="1433"/>
                    </a:cubicBezTo>
                    <a:cubicBezTo>
                      <a:pt x="96" y="1441"/>
                      <a:pt x="95" y="1449"/>
                      <a:pt x="94" y="1457"/>
                    </a:cubicBezTo>
                    <a:cubicBezTo>
                      <a:pt x="93" y="1470"/>
                      <a:pt x="103" y="1481"/>
                      <a:pt x="115" y="1481"/>
                    </a:cubicBezTo>
                    <a:lnTo>
                      <a:pt x="1493" y="1481"/>
                    </a:lnTo>
                    <a:close/>
                    <a:moveTo>
                      <a:pt x="1238" y="405"/>
                    </a:moveTo>
                    <a:cubicBezTo>
                      <a:pt x="1238" y="182"/>
                      <a:pt x="1050" y="0"/>
                      <a:pt x="805" y="0"/>
                    </a:cubicBezTo>
                    <a:cubicBezTo>
                      <a:pt x="560" y="0"/>
                      <a:pt x="370" y="182"/>
                      <a:pt x="370" y="405"/>
                    </a:cubicBezTo>
                    <a:cubicBezTo>
                      <a:pt x="370" y="455"/>
                      <a:pt x="370" y="504"/>
                      <a:pt x="389" y="548"/>
                    </a:cubicBezTo>
                    <a:cubicBezTo>
                      <a:pt x="389" y="548"/>
                      <a:pt x="389" y="548"/>
                      <a:pt x="389" y="548"/>
                    </a:cubicBezTo>
                    <a:cubicBezTo>
                      <a:pt x="418" y="572"/>
                      <a:pt x="428" y="586"/>
                      <a:pt x="430" y="594"/>
                    </a:cubicBezTo>
                    <a:cubicBezTo>
                      <a:pt x="432" y="596"/>
                      <a:pt x="434" y="598"/>
                      <a:pt x="436" y="598"/>
                    </a:cubicBezTo>
                    <a:cubicBezTo>
                      <a:pt x="451" y="600"/>
                      <a:pt x="451" y="600"/>
                      <a:pt x="451" y="600"/>
                    </a:cubicBezTo>
                    <a:cubicBezTo>
                      <a:pt x="455" y="600"/>
                      <a:pt x="461" y="596"/>
                      <a:pt x="459" y="590"/>
                    </a:cubicBezTo>
                    <a:cubicBezTo>
                      <a:pt x="457" y="548"/>
                      <a:pt x="453" y="373"/>
                      <a:pt x="554" y="331"/>
                    </a:cubicBezTo>
                    <a:cubicBezTo>
                      <a:pt x="560" y="327"/>
                      <a:pt x="566" y="333"/>
                      <a:pt x="564" y="339"/>
                    </a:cubicBezTo>
                    <a:cubicBezTo>
                      <a:pt x="556" y="399"/>
                      <a:pt x="556" y="399"/>
                      <a:pt x="556" y="399"/>
                    </a:cubicBezTo>
                    <a:cubicBezTo>
                      <a:pt x="554" y="405"/>
                      <a:pt x="558" y="409"/>
                      <a:pt x="564" y="409"/>
                    </a:cubicBezTo>
                    <a:cubicBezTo>
                      <a:pt x="634" y="403"/>
                      <a:pt x="1038" y="367"/>
                      <a:pt x="1124" y="317"/>
                    </a:cubicBezTo>
                    <a:cubicBezTo>
                      <a:pt x="1131" y="313"/>
                      <a:pt x="1137" y="317"/>
                      <a:pt x="1137" y="323"/>
                    </a:cubicBezTo>
                    <a:cubicBezTo>
                      <a:pt x="1141" y="518"/>
                      <a:pt x="1141" y="580"/>
                      <a:pt x="1141" y="598"/>
                    </a:cubicBezTo>
                    <a:cubicBezTo>
                      <a:pt x="1141" y="602"/>
                      <a:pt x="1145" y="606"/>
                      <a:pt x="1149" y="606"/>
                    </a:cubicBezTo>
                    <a:cubicBezTo>
                      <a:pt x="1170" y="606"/>
                      <a:pt x="1170" y="606"/>
                      <a:pt x="1170" y="606"/>
                    </a:cubicBezTo>
                    <a:cubicBezTo>
                      <a:pt x="1172" y="606"/>
                      <a:pt x="1174" y="604"/>
                      <a:pt x="1176" y="602"/>
                    </a:cubicBezTo>
                    <a:cubicBezTo>
                      <a:pt x="1213" y="562"/>
                      <a:pt x="1221" y="544"/>
                      <a:pt x="1221" y="542"/>
                    </a:cubicBezTo>
                    <a:cubicBezTo>
                      <a:pt x="1221" y="542"/>
                      <a:pt x="1221" y="542"/>
                      <a:pt x="1221" y="544"/>
                    </a:cubicBezTo>
                    <a:cubicBezTo>
                      <a:pt x="1240" y="500"/>
                      <a:pt x="1238" y="453"/>
                      <a:pt x="1238" y="405"/>
                    </a:cubicBezTo>
                    <a:close/>
                    <a:moveTo>
                      <a:pt x="1257" y="258"/>
                    </a:moveTo>
                    <a:cubicBezTo>
                      <a:pt x="1257" y="258"/>
                      <a:pt x="1256" y="258"/>
                      <a:pt x="1256" y="258"/>
                    </a:cubicBezTo>
                    <a:cubicBezTo>
                      <a:pt x="1272" y="303"/>
                      <a:pt x="1281" y="350"/>
                      <a:pt x="1282" y="398"/>
                    </a:cubicBezTo>
                    <a:cubicBezTo>
                      <a:pt x="1363" y="406"/>
                      <a:pt x="1279" y="529"/>
                      <a:pt x="1279" y="640"/>
                    </a:cubicBezTo>
                    <a:cubicBezTo>
                      <a:pt x="1279" y="751"/>
                      <a:pt x="1442" y="821"/>
                      <a:pt x="1534" y="827"/>
                    </a:cubicBezTo>
                    <a:cubicBezTo>
                      <a:pt x="1538" y="827"/>
                      <a:pt x="1543" y="823"/>
                      <a:pt x="1543" y="819"/>
                    </a:cubicBezTo>
                    <a:cubicBezTo>
                      <a:pt x="1545" y="566"/>
                      <a:pt x="1608" y="576"/>
                      <a:pt x="1608" y="447"/>
                    </a:cubicBezTo>
                    <a:cubicBezTo>
                      <a:pt x="1608" y="318"/>
                      <a:pt x="1442" y="260"/>
                      <a:pt x="1257" y="25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grpSp>
      </p:grpSp>
      <p:grpSp>
        <p:nvGrpSpPr>
          <p:cNvPr id="54" name="Group 53">
            <a:extLst>
              <a:ext uri="{FF2B5EF4-FFF2-40B4-BE49-F238E27FC236}">
                <a16:creationId xmlns:a16="http://schemas.microsoft.com/office/drawing/2014/main" id="{83C12701-AF4A-4966-9BE1-E728CB1DBAB8}"/>
              </a:ext>
            </a:extLst>
          </p:cNvPr>
          <p:cNvGrpSpPr>
            <a:grpSpLocks noChangeAspect="1"/>
          </p:cNvGrpSpPr>
          <p:nvPr/>
        </p:nvGrpSpPr>
        <p:grpSpPr>
          <a:xfrm>
            <a:off x="1952459" y="2310110"/>
            <a:ext cx="992681" cy="993600"/>
            <a:chOff x="5273803" y="2606040"/>
            <a:chExt cx="1644397" cy="1645920"/>
          </a:xfrm>
        </p:grpSpPr>
        <p:sp>
          <p:nvSpPr>
            <p:cNvPr id="55" name="AutoShape 3">
              <a:extLst>
                <a:ext uri="{FF2B5EF4-FFF2-40B4-BE49-F238E27FC236}">
                  <a16:creationId xmlns:a16="http://schemas.microsoft.com/office/drawing/2014/main" id="{5968C5F5-8DC1-4430-B3CD-8B6B44AD1067}"/>
                </a:ext>
              </a:extLst>
            </p:cNvPr>
            <p:cNvSpPr>
              <a:spLocks noChangeAspect="1" noChangeArrowheads="1" noTextEdit="1"/>
            </p:cNvSpPr>
            <p:nvPr/>
          </p:nvSpPr>
          <p:spPr bwMode="auto">
            <a:xfrm>
              <a:off x="5273803"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endParaRPr lang="de-DE" dirty="0"/>
            </a:p>
          </p:txBody>
        </p:sp>
        <p:grpSp>
          <p:nvGrpSpPr>
            <p:cNvPr id="56" name="Group 55">
              <a:extLst>
                <a:ext uri="{FF2B5EF4-FFF2-40B4-BE49-F238E27FC236}">
                  <a16:creationId xmlns:a16="http://schemas.microsoft.com/office/drawing/2014/main" id="{2E87540E-45E4-4284-9217-D0F3EBDD08A3}"/>
                </a:ext>
              </a:extLst>
            </p:cNvPr>
            <p:cNvGrpSpPr/>
            <p:nvPr/>
          </p:nvGrpSpPr>
          <p:grpSpPr>
            <a:xfrm>
              <a:off x="5588507" y="2918841"/>
              <a:ext cx="1014985" cy="1058037"/>
              <a:chOff x="5588507" y="2918841"/>
              <a:chExt cx="1014984" cy="1058037"/>
            </a:xfrm>
          </p:grpSpPr>
          <p:sp>
            <p:nvSpPr>
              <p:cNvPr id="57" name="Freeform 5">
                <a:extLst>
                  <a:ext uri="{FF2B5EF4-FFF2-40B4-BE49-F238E27FC236}">
                    <a16:creationId xmlns:a16="http://schemas.microsoft.com/office/drawing/2014/main" id="{697008A4-EC5D-462A-A87A-8628AC93B5F1}"/>
                  </a:ext>
                </a:extLst>
              </p:cNvPr>
              <p:cNvSpPr>
                <a:spLocks/>
              </p:cNvSpPr>
              <p:nvPr/>
            </p:nvSpPr>
            <p:spPr bwMode="auto">
              <a:xfrm>
                <a:off x="5799962" y="3358134"/>
                <a:ext cx="592074" cy="417957"/>
              </a:xfrm>
              <a:custGeom>
                <a:avLst/>
                <a:gdLst>
                  <a:gd name="T0" fmla="*/ 781 w 830"/>
                  <a:gd name="T1" fmla="*/ 23 h 585"/>
                  <a:gd name="T2" fmla="*/ 740 w 830"/>
                  <a:gd name="T3" fmla="*/ 78 h 585"/>
                  <a:gd name="T4" fmla="*/ 730 w 830"/>
                  <a:gd name="T5" fmla="*/ 90 h 585"/>
                  <a:gd name="T6" fmla="*/ 611 w 830"/>
                  <a:gd name="T7" fmla="*/ 358 h 585"/>
                  <a:gd name="T8" fmla="*/ 415 w 830"/>
                  <a:gd name="T9" fmla="*/ 467 h 585"/>
                  <a:gd name="T10" fmla="*/ 219 w 830"/>
                  <a:gd name="T11" fmla="*/ 358 h 585"/>
                  <a:gd name="T12" fmla="*/ 100 w 830"/>
                  <a:gd name="T13" fmla="*/ 90 h 585"/>
                  <a:gd name="T14" fmla="*/ 90 w 830"/>
                  <a:gd name="T15" fmla="*/ 78 h 585"/>
                  <a:gd name="T16" fmla="*/ 50 w 830"/>
                  <a:gd name="T17" fmla="*/ 27 h 585"/>
                  <a:gd name="T18" fmla="*/ 0 w 830"/>
                  <a:gd name="T19" fmla="*/ 3 h 585"/>
                  <a:gd name="T20" fmla="*/ 0 w 830"/>
                  <a:gd name="T21" fmla="*/ 9 h 585"/>
                  <a:gd name="T22" fmla="*/ 61 w 830"/>
                  <a:gd name="T23" fmla="*/ 112 h 585"/>
                  <a:gd name="T24" fmla="*/ 180 w 830"/>
                  <a:gd name="T25" fmla="*/ 381 h 585"/>
                  <a:gd name="T26" fmla="*/ 180 w 830"/>
                  <a:gd name="T27" fmla="*/ 550 h 585"/>
                  <a:gd name="T28" fmla="*/ 224 w 830"/>
                  <a:gd name="T29" fmla="*/ 585 h 585"/>
                  <a:gd name="T30" fmla="*/ 224 w 830"/>
                  <a:gd name="T31" fmla="*/ 421 h 585"/>
                  <a:gd name="T32" fmla="*/ 415 w 830"/>
                  <a:gd name="T33" fmla="*/ 511 h 585"/>
                  <a:gd name="T34" fmla="*/ 606 w 830"/>
                  <a:gd name="T35" fmla="*/ 420 h 585"/>
                  <a:gd name="T36" fmla="*/ 606 w 830"/>
                  <a:gd name="T37" fmla="*/ 585 h 585"/>
                  <a:gd name="T38" fmla="*/ 650 w 830"/>
                  <a:gd name="T39" fmla="*/ 546 h 585"/>
                  <a:gd name="T40" fmla="*/ 650 w 830"/>
                  <a:gd name="T41" fmla="*/ 380 h 585"/>
                  <a:gd name="T42" fmla="*/ 769 w 830"/>
                  <a:gd name="T43" fmla="*/ 112 h 585"/>
                  <a:gd name="T44" fmla="*/ 830 w 830"/>
                  <a:gd name="T45" fmla="*/ 6 h 585"/>
                  <a:gd name="T46" fmla="*/ 830 w 830"/>
                  <a:gd name="T47" fmla="*/ 0 h 585"/>
                  <a:gd name="T48" fmla="*/ 781 w 830"/>
                  <a:gd name="T49" fmla="*/ 2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781" y="23"/>
                    </a:move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cubicBezTo>
                      <a:pt x="0" y="3"/>
                      <a:pt x="0" y="3"/>
                      <a:pt x="0" y="3"/>
                    </a:cubicBez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lnTo>
                      <a:pt x="781" y="23"/>
                    </a:ln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de-DE" dirty="0"/>
              </a:p>
            </p:txBody>
          </p:sp>
          <p:sp>
            <p:nvSpPr>
              <p:cNvPr id="58" name="Freeform 6">
                <a:extLst>
                  <a:ext uri="{FF2B5EF4-FFF2-40B4-BE49-F238E27FC236}">
                    <a16:creationId xmlns:a16="http://schemas.microsoft.com/office/drawing/2014/main" id="{60034527-B171-4E3E-9F8B-4B18B7BFC864}"/>
                  </a:ext>
                </a:extLst>
              </p:cNvPr>
              <p:cNvSpPr>
                <a:spLocks noEditPoints="1"/>
              </p:cNvSpPr>
              <p:nvPr/>
            </p:nvSpPr>
            <p:spPr bwMode="auto">
              <a:xfrm>
                <a:off x="5588507" y="2918841"/>
                <a:ext cx="1014984" cy="1058037"/>
              </a:xfrm>
              <a:custGeom>
                <a:avLst/>
                <a:gdLst>
                  <a:gd name="T0" fmla="*/ 22 w 1422"/>
                  <a:gd name="T1" fmla="*/ 1481 h 1481"/>
                  <a:gd name="T2" fmla="*/ 1 w 1422"/>
                  <a:gd name="T3" fmla="*/ 1457 h 1481"/>
                  <a:gd name="T4" fmla="*/ 4 w 1422"/>
                  <a:gd name="T5" fmla="*/ 1433 h 1481"/>
                  <a:gd name="T6" fmla="*/ 407 w 1422"/>
                  <a:gd name="T7" fmla="*/ 1153 h 1481"/>
                  <a:gd name="T8" fmla="*/ 709 w 1422"/>
                  <a:gd name="T9" fmla="*/ 1294 h 1481"/>
                  <a:gd name="T10" fmla="*/ 1007 w 1422"/>
                  <a:gd name="T11" fmla="*/ 1153 h 1481"/>
                  <a:gd name="T12" fmla="*/ 1420 w 1422"/>
                  <a:gd name="T13" fmla="*/ 1452 h 1481"/>
                  <a:gd name="T14" fmla="*/ 1421 w 1422"/>
                  <a:gd name="T15" fmla="*/ 1458 h 1481"/>
                  <a:gd name="T16" fmla="*/ 1400 w 1422"/>
                  <a:gd name="T17" fmla="*/ 1481 h 1481"/>
                  <a:gd name="T18" fmla="*/ 22 w 1422"/>
                  <a:gd name="T19" fmla="*/ 1481 h 1481"/>
                  <a:gd name="T20" fmla="*/ 1143 w 1422"/>
                  <a:gd name="T21" fmla="*/ 404 h 1481"/>
                  <a:gd name="T22" fmla="*/ 710 w 1422"/>
                  <a:gd name="T23" fmla="*/ 0 h 1481"/>
                  <a:gd name="T24" fmla="*/ 279 w 1422"/>
                  <a:gd name="T25" fmla="*/ 404 h 1481"/>
                  <a:gd name="T26" fmla="*/ 295 w 1422"/>
                  <a:gd name="T27" fmla="*/ 545 h 1481"/>
                  <a:gd name="T28" fmla="*/ 295 w 1422"/>
                  <a:gd name="T29" fmla="*/ 545 h 1481"/>
                  <a:gd name="T30" fmla="*/ 338 w 1422"/>
                  <a:gd name="T31" fmla="*/ 591 h 1481"/>
                  <a:gd name="T32" fmla="*/ 344 w 1422"/>
                  <a:gd name="T33" fmla="*/ 595 h 1481"/>
                  <a:gd name="T34" fmla="*/ 359 w 1422"/>
                  <a:gd name="T35" fmla="*/ 597 h 1481"/>
                  <a:gd name="T36" fmla="*/ 367 w 1422"/>
                  <a:gd name="T37" fmla="*/ 589 h 1481"/>
                  <a:gd name="T38" fmla="*/ 459 w 1422"/>
                  <a:gd name="T39" fmla="*/ 328 h 1481"/>
                  <a:gd name="T40" fmla="*/ 472 w 1422"/>
                  <a:gd name="T41" fmla="*/ 336 h 1481"/>
                  <a:gd name="T42" fmla="*/ 464 w 1422"/>
                  <a:gd name="T43" fmla="*/ 392 h 1481"/>
                  <a:gd name="T44" fmla="*/ 474 w 1422"/>
                  <a:gd name="T45" fmla="*/ 400 h 1481"/>
                  <a:gd name="T46" fmla="*/ 640 w 1422"/>
                  <a:gd name="T47" fmla="*/ 306 h 1481"/>
                  <a:gd name="T48" fmla="*/ 652 w 1422"/>
                  <a:gd name="T49" fmla="*/ 316 h 1481"/>
                  <a:gd name="T50" fmla="*/ 630 w 1422"/>
                  <a:gd name="T51" fmla="*/ 356 h 1481"/>
                  <a:gd name="T52" fmla="*/ 638 w 1422"/>
                  <a:gd name="T53" fmla="*/ 368 h 1481"/>
                  <a:gd name="T54" fmla="*/ 817 w 1422"/>
                  <a:gd name="T55" fmla="*/ 346 h 1481"/>
                  <a:gd name="T56" fmla="*/ 817 w 1422"/>
                  <a:gd name="T57" fmla="*/ 346 h 1481"/>
                  <a:gd name="T58" fmla="*/ 1028 w 1422"/>
                  <a:gd name="T59" fmla="*/ 316 h 1481"/>
                  <a:gd name="T60" fmla="*/ 1043 w 1422"/>
                  <a:gd name="T61" fmla="*/ 322 h 1481"/>
                  <a:gd name="T62" fmla="*/ 1047 w 1422"/>
                  <a:gd name="T63" fmla="*/ 595 h 1481"/>
                  <a:gd name="T64" fmla="*/ 1055 w 1422"/>
                  <a:gd name="T65" fmla="*/ 603 h 1481"/>
                  <a:gd name="T66" fmla="*/ 1073 w 1422"/>
                  <a:gd name="T67" fmla="*/ 603 h 1481"/>
                  <a:gd name="T68" fmla="*/ 1080 w 1422"/>
                  <a:gd name="T69" fmla="*/ 601 h 1481"/>
                  <a:gd name="T70" fmla="*/ 1127 w 1422"/>
                  <a:gd name="T71" fmla="*/ 541 h 1481"/>
                  <a:gd name="T72" fmla="*/ 1127 w 1422"/>
                  <a:gd name="T73" fmla="*/ 541 h 1481"/>
                  <a:gd name="T74" fmla="*/ 1143 w 1422"/>
                  <a:gd name="T75" fmla="*/ 40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2" h="1481">
                    <a:moveTo>
                      <a:pt x="22" y="1481"/>
                    </a:moveTo>
                    <a:cubicBezTo>
                      <a:pt x="10" y="1481"/>
                      <a:pt x="0" y="1470"/>
                      <a:pt x="1" y="1457"/>
                    </a:cubicBezTo>
                    <a:cubicBezTo>
                      <a:pt x="2" y="1449"/>
                      <a:pt x="3" y="1441"/>
                      <a:pt x="4" y="1433"/>
                    </a:cubicBezTo>
                    <a:cubicBezTo>
                      <a:pt x="35" y="1168"/>
                      <a:pt x="385" y="1153"/>
                      <a:pt x="407" y="1153"/>
                    </a:cubicBezTo>
                    <a:cubicBezTo>
                      <a:pt x="444" y="1196"/>
                      <a:pt x="528" y="1294"/>
                      <a:pt x="709" y="1294"/>
                    </a:cubicBezTo>
                    <a:cubicBezTo>
                      <a:pt x="890" y="1294"/>
                      <a:pt x="964" y="1212"/>
                      <a:pt x="1007" y="1153"/>
                    </a:cubicBezTo>
                    <a:cubicBezTo>
                      <a:pt x="1031" y="1155"/>
                      <a:pt x="1388" y="1202"/>
                      <a:pt x="1420" y="1452"/>
                    </a:cubicBezTo>
                    <a:cubicBezTo>
                      <a:pt x="1420" y="1454"/>
                      <a:pt x="1421" y="1456"/>
                      <a:pt x="1421" y="1458"/>
                    </a:cubicBezTo>
                    <a:cubicBezTo>
                      <a:pt x="1422" y="1470"/>
                      <a:pt x="1412" y="1481"/>
                      <a:pt x="1400" y="1481"/>
                    </a:cubicBezTo>
                    <a:lnTo>
                      <a:pt x="22" y="1481"/>
                    </a:lnTo>
                    <a:close/>
                    <a:moveTo>
                      <a:pt x="1143" y="404"/>
                    </a:moveTo>
                    <a:cubicBezTo>
                      <a:pt x="1143" y="180"/>
                      <a:pt x="954" y="0"/>
                      <a:pt x="710" y="0"/>
                    </a:cubicBezTo>
                    <a:cubicBezTo>
                      <a:pt x="466" y="0"/>
                      <a:pt x="279" y="180"/>
                      <a:pt x="279" y="404"/>
                    </a:cubicBezTo>
                    <a:cubicBezTo>
                      <a:pt x="279" y="452"/>
                      <a:pt x="279" y="500"/>
                      <a:pt x="295" y="545"/>
                    </a:cubicBezTo>
                    <a:cubicBezTo>
                      <a:pt x="295" y="545"/>
                      <a:pt x="295" y="545"/>
                      <a:pt x="295" y="545"/>
                    </a:cubicBezTo>
                    <a:cubicBezTo>
                      <a:pt x="326" y="569"/>
                      <a:pt x="334" y="585"/>
                      <a:pt x="338" y="591"/>
                    </a:cubicBezTo>
                    <a:cubicBezTo>
                      <a:pt x="338" y="593"/>
                      <a:pt x="342" y="595"/>
                      <a:pt x="344" y="595"/>
                    </a:cubicBezTo>
                    <a:cubicBezTo>
                      <a:pt x="359" y="597"/>
                      <a:pt x="359" y="597"/>
                      <a:pt x="359" y="597"/>
                    </a:cubicBezTo>
                    <a:cubicBezTo>
                      <a:pt x="363" y="597"/>
                      <a:pt x="367" y="593"/>
                      <a:pt x="367" y="589"/>
                    </a:cubicBezTo>
                    <a:cubicBezTo>
                      <a:pt x="365" y="547"/>
                      <a:pt x="361" y="370"/>
                      <a:pt x="459" y="328"/>
                    </a:cubicBezTo>
                    <a:cubicBezTo>
                      <a:pt x="466" y="326"/>
                      <a:pt x="472" y="330"/>
                      <a:pt x="472" y="336"/>
                    </a:cubicBezTo>
                    <a:cubicBezTo>
                      <a:pt x="464" y="392"/>
                      <a:pt x="464" y="392"/>
                      <a:pt x="464" y="392"/>
                    </a:cubicBezTo>
                    <a:cubicBezTo>
                      <a:pt x="461" y="398"/>
                      <a:pt x="468" y="404"/>
                      <a:pt x="474" y="400"/>
                    </a:cubicBezTo>
                    <a:cubicBezTo>
                      <a:pt x="507" y="384"/>
                      <a:pt x="589" y="344"/>
                      <a:pt x="640" y="306"/>
                    </a:cubicBezTo>
                    <a:cubicBezTo>
                      <a:pt x="646" y="302"/>
                      <a:pt x="655" y="308"/>
                      <a:pt x="652" y="316"/>
                    </a:cubicBezTo>
                    <a:cubicBezTo>
                      <a:pt x="646" y="328"/>
                      <a:pt x="638" y="344"/>
                      <a:pt x="630" y="356"/>
                    </a:cubicBezTo>
                    <a:cubicBezTo>
                      <a:pt x="626" y="360"/>
                      <a:pt x="630" y="368"/>
                      <a:pt x="638" y="368"/>
                    </a:cubicBezTo>
                    <a:cubicBezTo>
                      <a:pt x="817" y="346"/>
                      <a:pt x="817" y="346"/>
                      <a:pt x="817" y="346"/>
                    </a:cubicBezTo>
                    <a:cubicBezTo>
                      <a:pt x="817" y="346"/>
                      <a:pt x="817" y="346"/>
                      <a:pt x="817" y="346"/>
                    </a:cubicBezTo>
                    <a:cubicBezTo>
                      <a:pt x="829" y="348"/>
                      <a:pt x="969" y="360"/>
                      <a:pt x="1028" y="316"/>
                    </a:cubicBezTo>
                    <a:cubicBezTo>
                      <a:pt x="1034" y="312"/>
                      <a:pt x="1043" y="316"/>
                      <a:pt x="1043" y="322"/>
                    </a:cubicBezTo>
                    <a:cubicBezTo>
                      <a:pt x="1045" y="517"/>
                      <a:pt x="1047" y="577"/>
                      <a:pt x="1047" y="595"/>
                    </a:cubicBezTo>
                    <a:cubicBezTo>
                      <a:pt x="1047" y="599"/>
                      <a:pt x="1051" y="603"/>
                      <a:pt x="1055" y="603"/>
                    </a:cubicBezTo>
                    <a:cubicBezTo>
                      <a:pt x="1073" y="603"/>
                      <a:pt x="1073" y="603"/>
                      <a:pt x="1073" y="603"/>
                    </a:cubicBezTo>
                    <a:cubicBezTo>
                      <a:pt x="1078" y="603"/>
                      <a:pt x="1080" y="603"/>
                      <a:pt x="1080" y="601"/>
                    </a:cubicBezTo>
                    <a:cubicBezTo>
                      <a:pt x="1119" y="561"/>
                      <a:pt x="1125" y="541"/>
                      <a:pt x="1127" y="541"/>
                    </a:cubicBezTo>
                    <a:cubicBezTo>
                      <a:pt x="1127" y="541"/>
                      <a:pt x="1127" y="541"/>
                      <a:pt x="1127" y="541"/>
                    </a:cubicBezTo>
                    <a:cubicBezTo>
                      <a:pt x="1143" y="498"/>
                      <a:pt x="1143" y="452"/>
                      <a:pt x="1143" y="404"/>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de-DE" dirty="0"/>
              </a:p>
            </p:txBody>
          </p:sp>
        </p:grpSp>
      </p:grpSp>
      <p:grpSp>
        <p:nvGrpSpPr>
          <p:cNvPr id="42" name="Group 41">
            <a:extLst>
              <a:ext uri="{FF2B5EF4-FFF2-40B4-BE49-F238E27FC236}">
                <a16:creationId xmlns:a16="http://schemas.microsoft.com/office/drawing/2014/main" id="{C299EF13-81BC-49A5-BDDE-3391199AD28D}"/>
              </a:ext>
            </a:extLst>
          </p:cNvPr>
          <p:cNvGrpSpPr/>
          <p:nvPr/>
        </p:nvGrpSpPr>
        <p:grpSpPr>
          <a:xfrm>
            <a:off x="472499" y="1594843"/>
            <a:ext cx="8200013" cy="262417"/>
            <a:chOff x="629999" y="1319511"/>
            <a:chExt cx="2588445" cy="349889"/>
          </a:xfrm>
        </p:grpSpPr>
        <p:sp>
          <p:nvSpPr>
            <p:cNvPr id="43" name="ee4pContent1">
              <a:extLst>
                <a:ext uri="{FF2B5EF4-FFF2-40B4-BE49-F238E27FC236}">
                  <a16:creationId xmlns:a16="http://schemas.microsoft.com/office/drawing/2014/main" id="{0CAD074B-19C4-4657-8212-3EE6D0415F43}"/>
                </a:ext>
              </a:extLst>
            </p:cNvPr>
            <p:cNvSpPr txBox="1"/>
            <p:nvPr/>
          </p:nvSpPr>
          <p:spPr>
            <a:xfrm>
              <a:off x="629999" y="1319511"/>
              <a:ext cx="2588444" cy="3077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defPPr>
                <a:defRPr lang="en-US"/>
              </a:defPPr>
              <a:lvl1pPr>
                <a:buSzPct val="100000"/>
                <a:buFont typeface="Trebuchet MS" panose="020B0603020202020204" pitchFamily="34" charset="0"/>
                <a:buChar char="​"/>
                <a:defRPr sz="1200">
                  <a:solidFill>
                    <a:srgbClr val="008DC9"/>
                  </a:solidFill>
                </a:defRPr>
              </a:lvl1pPr>
              <a:lvl2pPr marL="288000" lvl="1" indent="-180000">
                <a:buClr>
                  <a:srgbClr val="008DC9"/>
                </a:buClr>
                <a:buSzPct val="100000"/>
                <a:buFont typeface="Trebuchet MS" panose="020B0603020202020204" pitchFamily="34" charset="0"/>
                <a:buChar char="•"/>
                <a:defRPr sz="1200">
                  <a:solidFill>
                    <a:srgbClr val="008DC9"/>
                  </a:solidFill>
                </a:defRPr>
              </a:lvl2pPr>
              <a:lvl3pPr marL="576000" lvl="2" indent="-180000">
                <a:buClr>
                  <a:srgbClr val="008DC9"/>
                </a:buClr>
                <a:buSzPct val="100000"/>
                <a:buFont typeface="Arial" panose="020B0604020202020204" pitchFamily="34" charset="0"/>
                <a:buChar char="–"/>
                <a:defRPr sz="1200">
                  <a:solidFill>
                    <a:srgbClr val="008DC9"/>
                  </a:solidFill>
                </a:defRPr>
              </a:lvl3pPr>
              <a:lvl4pPr marL="0" lvl="3">
                <a:buSzPct val="100000"/>
                <a:buFont typeface="Trebuchet MS" panose="020B0603020202020204" pitchFamily="34" charset="0"/>
                <a:buChar char="​"/>
                <a:defRPr sz="1600">
                  <a:solidFill>
                    <a:srgbClr val="006A97"/>
                  </a:solidFill>
                </a:defRPr>
              </a:lvl4pPr>
              <a:lvl5pPr marL="0" lvl="4">
                <a:buSzPct val="100000"/>
                <a:buFont typeface="Trebuchet MS" panose="020B0603020202020204" pitchFamily="34" charset="0"/>
                <a:buChar char="​"/>
                <a:defRPr sz="1600" b="1">
                  <a:solidFill>
                    <a:srgbClr val="008DC9"/>
                  </a:solidFill>
                </a:defRPr>
              </a:lvl5pPr>
              <a:lvl6pPr marL="288000" lvl="5" indent="-180000">
                <a:buClr>
                  <a:srgbClr val="008DC9"/>
                </a:buClr>
                <a:buSzPct val="100000"/>
                <a:buFont typeface="Trebuchet MS" panose="020B0603020202020204" pitchFamily="34" charset="0"/>
                <a:buChar char="•"/>
                <a:defRPr sz="1600">
                  <a:solidFill>
                    <a:srgbClr val="008DC9"/>
                  </a:solidFill>
                </a:defRPr>
              </a:lvl6pPr>
              <a:lvl7pPr marL="0" lvl="6">
                <a:buSzPct val="100000"/>
                <a:buFont typeface="Trebuchet MS" panose="020B0603020202020204" pitchFamily="34" charset="0"/>
                <a:buChar char="​"/>
                <a:defRPr sz="4400">
                  <a:solidFill>
                    <a:srgbClr val="008DC9"/>
                  </a:solidFill>
                </a:defRPr>
              </a:lvl7pPr>
              <a:lvl8pPr marL="0" lvl="7">
                <a:buSzPct val="100000"/>
                <a:buFont typeface="Trebuchet MS" panose="020B0603020202020204" pitchFamily="34" charset="0"/>
                <a:buChar char="​"/>
                <a:defRPr sz="4000">
                  <a:solidFill>
                    <a:srgbClr val="006A97"/>
                  </a:solidFill>
                </a:defRPr>
              </a:lvl8pPr>
              <a:lvl9pPr marL="0" lvl="8">
                <a:buSzPct val="100000"/>
                <a:buFont typeface="Trebuchet MS" panose="020B0603020202020204" pitchFamily="34" charset="0"/>
                <a:buChar char="​"/>
                <a:defRPr sz="2400">
                  <a:solidFill>
                    <a:srgbClr val="006A97"/>
                  </a:solidFill>
                </a:defRPr>
              </a:lvl9pPr>
            </a:lstStyle>
            <a:p>
              <a:r>
                <a:rPr lang="de-DE" b="1" dirty="0">
                  <a:solidFill>
                    <a:srgbClr val="0A4E78"/>
                  </a:solidFill>
                </a:rPr>
                <a:t>Entnahme der Individualprobe in der Einrichtung oder zuhause</a:t>
              </a:r>
            </a:p>
          </p:txBody>
        </p:sp>
        <p:cxnSp>
          <p:nvCxnSpPr>
            <p:cNvPr id="44" name="Straight Connector 43">
              <a:extLst>
                <a:ext uri="{FF2B5EF4-FFF2-40B4-BE49-F238E27FC236}">
                  <a16:creationId xmlns:a16="http://schemas.microsoft.com/office/drawing/2014/main" id="{AF276F4E-AD2C-4747-AFF8-3BB341E393B4}"/>
                </a:ext>
              </a:extLst>
            </p:cNvPr>
            <p:cNvCxnSpPr>
              <a:cxnSpLocks/>
            </p:cNvCxnSpPr>
            <p:nvPr/>
          </p:nvCxnSpPr>
          <p:spPr>
            <a:xfrm>
              <a:off x="630000" y="1669400"/>
              <a:ext cx="2588444" cy="0"/>
            </a:xfrm>
            <a:prstGeom prst="line">
              <a:avLst/>
            </a:prstGeom>
            <a:ln w="19050" cap="rnd" cmpd="sng" algn="ctr">
              <a:solidFill>
                <a:srgbClr val="006A9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3" name="Freeform: Shape 62">
            <a:extLst>
              <a:ext uri="{FF2B5EF4-FFF2-40B4-BE49-F238E27FC236}">
                <a16:creationId xmlns:a16="http://schemas.microsoft.com/office/drawing/2014/main" id="{7F89AABA-67BA-42EE-A5B0-E801FFF38AED}"/>
              </a:ext>
            </a:extLst>
          </p:cNvPr>
          <p:cNvSpPr/>
          <p:nvPr/>
        </p:nvSpPr>
        <p:spPr bwMode="auto">
          <a:xfrm rot="10800000">
            <a:off x="639518" y="2779095"/>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2" name="Group 1">
            <a:extLst>
              <a:ext uri="{FF2B5EF4-FFF2-40B4-BE49-F238E27FC236}">
                <a16:creationId xmlns:a16="http://schemas.microsoft.com/office/drawing/2014/main" id="{44FF3930-6C1A-471A-B7C6-91BE8325D740}"/>
              </a:ext>
            </a:extLst>
          </p:cNvPr>
          <p:cNvGrpSpPr/>
          <p:nvPr/>
        </p:nvGrpSpPr>
        <p:grpSpPr>
          <a:xfrm rot="10800000">
            <a:off x="877747" y="2798517"/>
            <a:ext cx="270468" cy="557996"/>
            <a:chOff x="609145" y="2671863"/>
            <a:chExt cx="270468" cy="557996"/>
          </a:xfrm>
        </p:grpSpPr>
        <p:sp>
          <p:nvSpPr>
            <p:cNvPr id="62" name="Rectangle: Rounded Corners 61">
              <a:extLst>
                <a:ext uri="{FF2B5EF4-FFF2-40B4-BE49-F238E27FC236}">
                  <a16:creationId xmlns:a16="http://schemas.microsoft.com/office/drawing/2014/main" id="{D87CC7EB-9B10-461C-919F-8428F15C5A0F}"/>
                </a:ext>
              </a:extLst>
            </p:cNvPr>
            <p:cNvSpPr/>
            <p:nvPr/>
          </p:nvSpPr>
          <p:spPr bwMode="auto">
            <a:xfrm>
              <a:off x="609145" y="2671863"/>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46" name="Group 45">
              <a:extLst>
                <a:ext uri="{FF2B5EF4-FFF2-40B4-BE49-F238E27FC236}">
                  <a16:creationId xmlns:a16="http://schemas.microsoft.com/office/drawing/2014/main" id="{A6DCB94B-5C1F-4743-9616-EE43A40D39F9}"/>
                </a:ext>
              </a:extLst>
            </p:cNvPr>
            <p:cNvGrpSpPr/>
            <p:nvPr/>
          </p:nvGrpSpPr>
          <p:grpSpPr>
            <a:xfrm rot="9000000">
              <a:off x="641775" y="2724299"/>
              <a:ext cx="164431" cy="505560"/>
              <a:chOff x="1080621" y="2982166"/>
              <a:chExt cx="225378" cy="692942"/>
            </a:xfrm>
          </p:grpSpPr>
          <p:sp>
            <p:nvSpPr>
              <p:cNvPr id="48" name="Rectangle 47">
                <a:extLst>
                  <a:ext uri="{FF2B5EF4-FFF2-40B4-BE49-F238E27FC236}">
                    <a16:creationId xmlns:a16="http://schemas.microsoft.com/office/drawing/2014/main" id="{5089234A-04A3-4163-9FE2-7625359FBDDE}"/>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60" name="Teardrop 59">
                <a:extLst>
                  <a:ext uri="{FF2B5EF4-FFF2-40B4-BE49-F238E27FC236}">
                    <a16:creationId xmlns:a16="http://schemas.microsoft.com/office/drawing/2014/main" id="{4D652487-DAC4-47C5-A9CB-5065C8F21B8D}"/>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grpSp>
        <p:nvGrpSpPr>
          <p:cNvPr id="4" name="Group 3">
            <a:extLst>
              <a:ext uri="{FF2B5EF4-FFF2-40B4-BE49-F238E27FC236}">
                <a16:creationId xmlns:a16="http://schemas.microsoft.com/office/drawing/2014/main" id="{3766CCAD-F77E-4B1F-8D5E-CDBB67C076DA}"/>
              </a:ext>
            </a:extLst>
          </p:cNvPr>
          <p:cNvGrpSpPr/>
          <p:nvPr/>
        </p:nvGrpSpPr>
        <p:grpSpPr>
          <a:xfrm flipH="1">
            <a:off x="2747394" y="2779095"/>
            <a:ext cx="508697" cy="584754"/>
            <a:chOff x="2825959" y="2779095"/>
            <a:chExt cx="508697" cy="584754"/>
          </a:xfrm>
        </p:grpSpPr>
        <p:sp>
          <p:nvSpPr>
            <p:cNvPr id="64" name="Freeform: Shape 63">
              <a:extLst>
                <a:ext uri="{FF2B5EF4-FFF2-40B4-BE49-F238E27FC236}">
                  <a16:creationId xmlns:a16="http://schemas.microsoft.com/office/drawing/2014/main" id="{0A2DA89C-4776-445E-9823-020DD7C1C02C}"/>
                </a:ext>
              </a:extLst>
            </p:cNvPr>
            <p:cNvSpPr/>
            <p:nvPr/>
          </p:nvSpPr>
          <p:spPr bwMode="auto">
            <a:xfrm rot="10800000">
              <a:off x="2825959" y="2779095"/>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65" name="Group 64">
              <a:extLst>
                <a:ext uri="{FF2B5EF4-FFF2-40B4-BE49-F238E27FC236}">
                  <a16:creationId xmlns:a16="http://schemas.microsoft.com/office/drawing/2014/main" id="{F442A1E8-A3ED-42EB-A15D-DB4BC6C149DC}"/>
                </a:ext>
              </a:extLst>
            </p:cNvPr>
            <p:cNvGrpSpPr/>
            <p:nvPr/>
          </p:nvGrpSpPr>
          <p:grpSpPr>
            <a:xfrm rot="10800000">
              <a:off x="3064188" y="2798517"/>
              <a:ext cx="270468" cy="557996"/>
              <a:chOff x="609145" y="2671863"/>
              <a:chExt cx="270468" cy="557996"/>
            </a:xfrm>
          </p:grpSpPr>
          <p:sp>
            <p:nvSpPr>
              <p:cNvPr id="66" name="Rectangle: Rounded Corners 65">
                <a:extLst>
                  <a:ext uri="{FF2B5EF4-FFF2-40B4-BE49-F238E27FC236}">
                    <a16:creationId xmlns:a16="http://schemas.microsoft.com/office/drawing/2014/main" id="{2E4D8E1F-9827-4D27-97E1-5D409DC537C5}"/>
                  </a:ext>
                </a:extLst>
              </p:cNvPr>
              <p:cNvSpPr/>
              <p:nvPr/>
            </p:nvSpPr>
            <p:spPr bwMode="auto">
              <a:xfrm>
                <a:off x="609145" y="2671863"/>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67" name="Group 66">
                <a:extLst>
                  <a:ext uri="{FF2B5EF4-FFF2-40B4-BE49-F238E27FC236}">
                    <a16:creationId xmlns:a16="http://schemas.microsoft.com/office/drawing/2014/main" id="{03CB23A5-0376-4B21-AA3B-67B61F507BFB}"/>
                  </a:ext>
                </a:extLst>
              </p:cNvPr>
              <p:cNvGrpSpPr/>
              <p:nvPr/>
            </p:nvGrpSpPr>
            <p:grpSpPr>
              <a:xfrm rot="9000000">
                <a:off x="641775" y="2724299"/>
                <a:ext cx="164431" cy="505560"/>
                <a:chOff x="1080621" y="2982166"/>
                <a:chExt cx="225378" cy="692942"/>
              </a:xfrm>
            </p:grpSpPr>
            <p:sp>
              <p:nvSpPr>
                <p:cNvPr id="68" name="Rectangle 67">
                  <a:extLst>
                    <a:ext uri="{FF2B5EF4-FFF2-40B4-BE49-F238E27FC236}">
                      <a16:creationId xmlns:a16="http://schemas.microsoft.com/office/drawing/2014/main" id="{F311FBF8-0C2E-4209-A948-DE7171D74B20}"/>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69" name="Teardrop 68">
                  <a:extLst>
                    <a:ext uri="{FF2B5EF4-FFF2-40B4-BE49-F238E27FC236}">
                      <a16:creationId xmlns:a16="http://schemas.microsoft.com/office/drawing/2014/main" id="{CC1B588A-EF99-4E25-9F43-0A6A3A0E47A7}"/>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grpSp>
      <p:grpSp>
        <p:nvGrpSpPr>
          <p:cNvPr id="70" name="Group 69">
            <a:extLst>
              <a:ext uri="{FF2B5EF4-FFF2-40B4-BE49-F238E27FC236}">
                <a16:creationId xmlns:a16="http://schemas.microsoft.com/office/drawing/2014/main" id="{358385C7-73FE-4D22-AFA9-64A02703C83B}"/>
              </a:ext>
            </a:extLst>
          </p:cNvPr>
          <p:cNvGrpSpPr/>
          <p:nvPr/>
        </p:nvGrpSpPr>
        <p:grpSpPr>
          <a:xfrm>
            <a:off x="4425726" y="2498926"/>
            <a:ext cx="926227" cy="927085"/>
            <a:chOff x="528540" y="3656094"/>
            <a:chExt cx="926227" cy="927085"/>
          </a:xfrm>
        </p:grpSpPr>
        <p:grpSp>
          <p:nvGrpSpPr>
            <p:cNvPr id="71" name="Group 70">
              <a:extLst>
                <a:ext uri="{FF2B5EF4-FFF2-40B4-BE49-F238E27FC236}">
                  <a16:creationId xmlns:a16="http://schemas.microsoft.com/office/drawing/2014/main" id="{B6A85EC8-19B1-4407-AB04-0F96BC7F01EA}"/>
                </a:ext>
              </a:extLst>
            </p:cNvPr>
            <p:cNvGrpSpPr/>
            <p:nvPr/>
          </p:nvGrpSpPr>
          <p:grpSpPr>
            <a:xfrm>
              <a:off x="856419" y="3775060"/>
              <a:ext cx="270468" cy="691986"/>
              <a:chOff x="791086" y="3775060"/>
              <a:chExt cx="270468" cy="691986"/>
            </a:xfrm>
          </p:grpSpPr>
          <p:sp>
            <p:nvSpPr>
              <p:cNvPr id="76" name="Rectangle: Rounded Corners 75">
                <a:extLst>
                  <a:ext uri="{FF2B5EF4-FFF2-40B4-BE49-F238E27FC236}">
                    <a16:creationId xmlns:a16="http://schemas.microsoft.com/office/drawing/2014/main" id="{1CC5B239-69BD-44E1-BACD-8BAE46BEF094}"/>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77" name="Freeform: Shape 76">
                <a:extLst>
                  <a:ext uri="{FF2B5EF4-FFF2-40B4-BE49-F238E27FC236}">
                    <a16:creationId xmlns:a16="http://schemas.microsoft.com/office/drawing/2014/main" id="{602BE108-0C54-4324-99C0-1705BB1DDB1C}"/>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72" name="Group 71">
              <a:extLst>
                <a:ext uri="{FF2B5EF4-FFF2-40B4-BE49-F238E27FC236}">
                  <a16:creationId xmlns:a16="http://schemas.microsoft.com/office/drawing/2014/main" id="{5BA99FB0-05B0-4A6C-B528-44F7EE54489F}"/>
                </a:ext>
              </a:extLst>
            </p:cNvPr>
            <p:cNvGrpSpPr/>
            <p:nvPr/>
          </p:nvGrpSpPr>
          <p:grpSpPr>
            <a:xfrm rot="9000000">
              <a:off x="889049" y="3827496"/>
              <a:ext cx="164431" cy="505560"/>
              <a:chOff x="1080621" y="2982166"/>
              <a:chExt cx="225378" cy="692942"/>
            </a:xfrm>
          </p:grpSpPr>
          <p:sp>
            <p:nvSpPr>
              <p:cNvPr id="74" name="Rectangle 73">
                <a:extLst>
                  <a:ext uri="{FF2B5EF4-FFF2-40B4-BE49-F238E27FC236}">
                    <a16:creationId xmlns:a16="http://schemas.microsoft.com/office/drawing/2014/main" id="{C6D8F579-EB12-4211-9594-47C1049933ED}"/>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75" name="Teardrop 74">
                <a:extLst>
                  <a:ext uri="{FF2B5EF4-FFF2-40B4-BE49-F238E27FC236}">
                    <a16:creationId xmlns:a16="http://schemas.microsoft.com/office/drawing/2014/main" id="{02B7AF8C-77DD-4026-A6FB-53574A17311D}"/>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73" name="AutoShape 8">
              <a:extLst>
                <a:ext uri="{FF2B5EF4-FFF2-40B4-BE49-F238E27FC236}">
                  <a16:creationId xmlns:a16="http://schemas.microsoft.com/office/drawing/2014/main" id="{B8D59B51-1A16-46CC-9290-52BB92F75073}"/>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78" name="Group 77">
            <a:extLst>
              <a:ext uri="{FF2B5EF4-FFF2-40B4-BE49-F238E27FC236}">
                <a16:creationId xmlns:a16="http://schemas.microsoft.com/office/drawing/2014/main" id="{5E5F1CA2-A50B-4991-99CE-7B8ED7844133}"/>
              </a:ext>
            </a:extLst>
          </p:cNvPr>
          <p:cNvGrpSpPr/>
          <p:nvPr/>
        </p:nvGrpSpPr>
        <p:grpSpPr>
          <a:xfrm>
            <a:off x="4756325" y="2498926"/>
            <a:ext cx="926227" cy="927085"/>
            <a:chOff x="528540" y="3656094"/>
            <a:chExt cx="926227" cy="927085"/>
          </a:xfrm>
        </p:grpSpPr>
        <p:grpSp>
          <p:nvGrpSpPr>
            <p:cNvPr id="79" name="Group 78">
              <a:extLst>
                <a:ext uri="{FF2B5EF4-FFF2-40B4-BE49-F238E27FC236}">
                  <a16:creationId xmlns:a16="http://schemas.microsoft.com/office/drawing/2014/main" id="{6508F0D0-2A34-45C7-8373-57B8E0A08993}"/>
                </a:ext>
              </a:extLst>
            </p:cNvPr>
            <p:cNvGrpSpPr/>
            <p:nvPr/>
          </p:nvGrpSpPr>
          <p:grpSpPr>
            <a:xfrm>
              <a:off x="856419" y="3775060"/>
              <a:ext cx="270468" cy="691986"/>
              <a:chOff x="791086" y="3775060"/>
              <a:chExt cx="270468" cy="691986"/>
            </a:xfrm>
          </p:grpSpPr>
          <p:sp>
            <p:nvSpPr>
              <p:cNvPr id="84" name="Rectangle: Rounded Corners 83">
                <a:extLst>
                  <a:ext uri="{FF2B5EF4-FFF2-40B4-BE49-F238E27FC236}">
                    <a16:creationId xmlns:a16="http://schemas.microsoft.com/office/drawing/2014/main" id="{0755C8CE-DFE6-497B-ACA3-E7FFE627BD79}"/>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85" name="Freeform: Shape 84">
                <a:extLst>
                  <a:ext uri="{FF2B5EF4-FFF2-40B4-BE49-F238E27FC236}">
                    <a16:creationId xmlns:a16="http://schemas.microsoft.com/office/drawing/2014/main" id="{9501DBB8-19E3-42DC-B8B0-31E012251F5F}"/>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80" name="Group 79">
              <a:extLst>
                <a:ext uri="{FF2B5EF4-FFF2-40B4-BE49-F238E27FC236}">
                  <a16:creationId xmlns:a16="http://schemas.microsoft.com/office/drawing/2014/main" id="{30F9FCFC-6BF0-4E17-9D14-4584D5421460}"/>
                </a:ext>
              </a:extLst>
            </p:cNvPr>
            <p:cNvGrpSpPr/>
            <p:nvPr/>
          </p:nvGrpSpPr>
          <p:grpSpPr>
            <a:xfrm rot="9000000">
              <a:off x="889049" y="3827496"/>
              <a:ext cx="164431" cy="505560"/>
              <a:chOff x="1080621" y="2982166"/>
              <a:chExt cx="225378" cy="692942"/>
            </a:xfrm>
          </p:grpSpPr>
          <p:sp>
            <p:nvSpPr>
              <p:cNvPr id="82" name="Rectangle 81">
                <a:extLst>
                  <a:ext uri="{FF2B5EF4-FFF2-40B4-BE49-F238E27FC236}">
                    <a16:creationId xmlns:a16="http://schemas.microsoft.com/office/drawing/2014/main" id="{E6B51701-C926-4A2A-96D4-95AE681B5A52}"/>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83" name="Teardrop 82">
                <a:extLst>
                  <a:ext uri="{FF2B5EF4-FFF2-40B4-BE49-F238E27FC236}">
                    <a16:creationId xmlns:a16="http://schemas.microsoft.com/office/drawing/2014/main" id="{BD387CC7-9827-41FC-9EDC-75C9ED2AA573}"/>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81" name="AutoShape 8">
              <a:extLst>
                <a:ext uri="{FF2B5EF4-FFF2-40B4-BE49-F238E27FC236}">
                  <a16:creationId xmlns:a16="http://schemas.microsoft.com/office/drawing/2014/main" id="{1861ED24-AF9C-4CAF-A3EF-5E67AE86AE7B}"/>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8" name="Group 7">
            <a:extLst>
              <a:ext uri="{FF2B5EF4-FFF2-40B4-BE49-F238E27FC236}">
                <a16:creationId xmlns:a16="http://schemas.microsoft.com/office/drawing/2014/main" id="{44F7EF3B-3D73-41E9-95CC-2A2E55EDC302}"/>
              </a:ext>
            </a:extLst>
          </p:cNvPr>
          <p:cNvGrpSpPr/>
          <p:nvPr/>
        </p:nvGrpSpPr>
        <p:grpSpPr>
          <a:xfrm>
            <a:off x="6935579" y="2086042"/>
            <a:ext cx="1230523" cy="1356175"/>
            <a:chOff x="7166696" y="2208432"/>
            <a:chExt cx="1230523" cy="1356175"/>
          </a:xfrm>
        </p:grpSpPr>
        <p:grpSp>
          <p:nvGrpSpPr>
            <p:cNvPr id="87" name="Group 86">
              <a:extLst>
                <a:ext uri="{FF2B5EF4-FFF2-40B4-BE49-F238E27FC236}">
                  <a16:creationId xmlns:a16="http://schemas.microsoft.com/office/drawing/2014/main" id="{F18B2AD2-CC9E-427A-BD4B-7F6F8286DFDE}"/>
                </a:ext>
              </a:extLst>
            </p:cNvPr>
            <p:cNvGrpSpPr/>
            <p:nvPr/>
          </p:nvGrpSpPr>
          <p:grpSpPr>
            <a:xfrm>
              <a:off x="7166696" y="2498926"/>
              <a:ext cx="926227" cy="927085"/>
              <a:chOff x="528540" y="3656094"/>
              <a:chExt cx="926227" cy="927085"/>
            </a:xfrm>
          </p:grpSpPr>
          <p:grpSp>
            <p:nvGrpSpPr>
              <p:cNvPr id="96" name="Group 95">
                <a:extLst>
                  <a:ext uri="{FF2B5EF4-FFF2-40B4-BE49-F238E27FC236}">
                    <a16:creationId xmlns:a16="http://schemas.microsoft.com/office/drawing/2014/main" id="{AF401F34-7ABA-4560-A606-AD81D02D5F40}"/>
                  </a:ext>
                </a:extLst>
              </p:cNvPr>
              <p:cNvGrpSpPr/>
              <p:nvPr/>
            </p:nvGrpSpPr>
            <p:grpSpPr>
              <a:xfrm>
                <a:off x="856419" y="3775060"/>
                <a:ext cx="270468" cy="691986"/>
                <a:chOff x="791086" y="3775060"/>
                <a:chExt cx="270468" cy="691986"/>
              </a:xfrm>
            </p:grpSpPr>
            <p:sp>
              <p:nvSpPr>
                <p:cNvPr id="101" name="Rectangle: Rounded Corners 100">
                  <a:extLst>
                    <a:ext uri="{FF2B5EF4-FFF2-40B4-BE49-F238E27FC236}">
                      <a16:creationId xmlns:a16="http://schemas.microsoft.com/office/drawing/2014/main" id="{D877F562-0E38-4746-98A7-E82AB3F8F5AD}"/>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2" name="Freeform: Shape 101">
                  <a:extLst>
                    <a:ext uri="{FF2B5EF4-FFF2-40B4-BE49-F238E27FC236}">
                      <a16:creationId xmlns:a16="http://schemas.microsoft.com/office/drawing/2014/main" id="{6501467A-A03B-437B-A2DE-C5C25955487F}"/>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97" name="Group 96">
                <a:extLst>
                  <a:ext uri="{FF2B5EF4-FFF2-40B4-BE49-F238E27FC236}">
                    <a16:creationId xmlns:a16="http://schemas.microsoft.com/office/drawing/2014/main" id="{4F54F696-BC96-43E2-926F-1654A2526FB5}"/>
                  </a:ext>
                </a:extLst>
              </p:cNvPr>
              <p:cNvGrpSpPr/>
              <p:nvPr/>
            </p:nvGrpSpPr>
            <p:grpSpPr>
              <a:xfrm rot="9000000">
                <a:off x="889049" y="3827496"/>
                <a:ext cx="164431" cy="505560"/>
                <a:chOff x="1080621" y="2982166"/>
                <a:chExt cx="225378" cy="692942"/>
              </a:xfrm>
            </p:grpSpPr>
            <p:sp>
              <p:nvSpPr>
                <p:cNvPr id="99" name="Rectangle 98">
                  <a:extLst>
                    <a:ext uri="{FF2B5EF4-FFF2-40B4-BE49-F238E27FC236}">
                      <a16:creationId xmlns:a16="http://schemas.microsoft.com/office/drawing/2014/main" id="{72B85DCC-2DE1-45B5-8265-FA2DDF35D74C}"/>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0" name="Teardrop 99">
                  <a:extLst>
                    <a:ext uri="{FF2B5EF4-FFF2-40B4-BE49-F238E27FC236}">
                      <a16:creationId xmlns:a16="http://schemas.microsoft.com/office/drawing/2014/main" id="{1DCC9E44-96EF-4E57-9EBB-61154558D634}"/>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98" name="AutoShape 8">
                <a:extLst>
                  <a:ext uri="{FF2B5EF4-FFF2-40B4-BE49-F238E27FC236}">
                    <a16:creationId xmlns:a16="http://schemas.microsoft.com/office/drawing/2014/main" id="{F642A038-CD1D-4B9C-A8A0-871071AF120D}"/>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88" name="Group 87">
              <a:extLst>
                <a:ext uri="{FF2B5EF4-FFF2-40B4-BE49-F238E27FC236}">
                  <a16:creationId xmlns:a16="http://schemas.microsoft.com/office/drawing/2014/main" id="{E7A1E7B5-A01B-4E3A-91FC-5FAFC970AA4F}"/>
                </a:ext>
              </a:extLst>
            </p:cNvPr>
            <p:cNvGrpSpPr/>
            <p:nvPr/>
          </p:nvGrpSpPr>
          <p:grpSpPr>
            <a:xfrm>
              <a:off x="7470992" y="2327498"/>
              <a:ext cx="926227" cy="927085"/>
              <a:chOff x="528540" y="3656094"/>
              <a:chExt cx="926227" cy="927085"/>
            </a:xfrm>
          </p:grpSpPr>
          <p:grpSp>
            <p:nvGrpSpPr>
              <p:cNvPr id="89" name="Group 88">
                <a:extLst>
                  <a:ext uri="{FF2B5EF4-FFF2-40B4-BE49-F238E27FC236}">
                    <a16:creationId xmlns:a16="http://schemas.microsoft.com/office/drawing/2014/main" id="{AD829B32-64EF-4C12-947E-54A131EF8401}"/>
                  </a:ext>
                </a:extLst>
              </p:cNvPr>
              <p:cNvGrpSpPr/>
              <p:nvPr/>
            </p:nvGrpSpPr>
            <p:grpSpPr>
              <a:xfrm>
                <a:off x="856419" y="3775060"/>
                <a:ext cx="270468" cy="691986"/>
                <a:chOff x="791086" y="3775060"/>
                <a:chExt cx="270468" cy="691986"/>
              </a:xfrm>
            </p:grpSpPr>
            <p:sp>
              <p:nvSpPr>
                <p:cNvPr id="94" name="Rectangle: Rounded Corners 93">
                  <a:extLst>
                    <a:ext uri="{FF2B5EF4-FFF2-40B4-BE49-F238E27FC236}">
                      <a16:creationId xmlns:a16="http://schemas.microsoft.com/office/drawing/2014/main" id="{0D00B589-43AF-4F3E-BA8F-DF085BC13B08}"/>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95" name="Freeform: Shape 94">
                  <a:extLst>
                    <a:ext uri="{FF2B5EF4-FFF2-40B4-BE49-F238E27FC236}">
                      <a16:creationId xmlns:a16="http://schemas.microsoft.com/office/drawing/2014/main" id="{E1F6FF58-F7CF-4DF3-AF9F-9D948FE17392}"/>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90" name="Group 89">
                <a:extLst>
                  <a:ext uri="{FF2B5EF4-FFF2-40B4-BE49-F238E27FC236}">
                    <a16:creationId xmlns:a16="http://schemas.microsoft.com/office/drawing/2014/main" id="{27AA004A-3B45-4A23-A786-3DA625D4BD0D}"/>
                  </a:ext>
                </a:extLst>
              </p:cNvPr>
              <p:cNvGrpSpPr/>
              <p:nvPr/>
            </p:nvGrpSpPr>
            <p:grpSpPr>
              <a:xfrm rot="9000000">
                <a:off x="889049" y="3827496"/>
                <a:ext cx="164431" cy="505560"/>
                <a:chOff x="1080621" y="2982166"/>
                <a:chExt cx="225378" cy="692942"/>
              </a:xfrm>
            </p:grpSpPr>
            <p:sp>
              <p:nvSpPr>
                <p:cNvPr id="92" name="Rectangle 91">
                  <a:extLst>
                    <a:ext uri="{FF2B5EF4-FFF2-40B4-BE49-F238E27FC236}">
                      <a16:creationId xmlns:a16="http://schemas.microsoft.com/office/drawing/2014/main" id="{F73F1E3E-B93F-483F-A6D7-7CC7B2CB5FF0}"/>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93" name="Teardrop 92">
                  <a:extLst>
                    <a:ext uri="{FF2B5EF4-FFF2-40B4-BE49-F238E27FC236}">
                      <a16:creationId xmlns:a16="http://schemas.microsoft.com/office/drawing/2014/main" id="{A61ADD56-179C-4CD9-A0DE-38E37396FC07}"/>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91" name="AutoShape 8">
                <a:extLst>
                  <a:ext uri="{FF2B5EF4-FFF2-40B4-BE49-F238E27FC236}">
                    <a16:creationId xmlns:a16="http://schemas.microsoft.com/office/drawing/2014/main" id="{5D4ED9A6-8DA2-47BD-8044-88963BED8ADD}"/>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03" name="Group 102">
              <a:extLst>
                <a:ext uri="{FF2B5EF4-FFF2-40B4-BE49-F238E27FC236}">
                  <a16:creationId xmlns:a16="http://schemas.microsoft.com/office/drawing/2014/main" id="{E76C8BEF-557E-4C87-97DA-D2A558665A98}"/>
                </a:ext>
              </a:extLst>
            </p:cNvPr>
            <p:cNvGrpSpPr/>
            <p:nvPr/>
          </p:nvGrpSpPr>
          <p:grpSpPr>
            <a:xfrm>
              <a:off x="7318844" y="2637522"/>
              <a:ext cx="926227" cy="927085"/>
              <a:chOff x="528540" y="3656094"/>
              <a:chExt cx="926227" cy="927085"/>
            </a:xfrm>
          </p:grpSpPr>
          <p:grpSp>
            <p:nvGrpSpPr>
              <p:cNvPr id="104" name="Group 103">
                <a:extLst>
                  <a:ext uri="{FF2B5EF4-FFF2-40B4-BE49-F238E27FC236}">
                    <a16:creationId xmlns:a16="http://schemas.microsoft.com/office/drawing/2014/main" id="{8E50BF34-6649-4DE1-9696-D8BE9329DBA9}"/>
                  </a:ext>
                </a:extLst>
              </p:cNvPr>
              <p:cNvGrpSpPr/>
              <p:nvPr/>
            </p:nvGrpSpPr>
            <p:grpSpPr>
              <a:xfrm>
                <a:off x="856419" y="3775060"/>
                <a:ext cx="270468" cy="691986"/>
                <a:chOff x="791086" y="3775060"/>
                <a:chExt cx="270468" cy="691986"/>
              </a:xfrm>
            </p:grpSpPr>
            <p:sp>
              <p:nvSpPr>
                <p:cNvPr id="109" name="Rectangle: Rounded Corners 108">
                  <a:extLst>
                    <a:ext uri="{FF2B5EF4-FFF2-40B4-BE49-F238E27FC236}">
                      <a16:creationId xmlns:a16="http://schemas.microsoft.com/office/drawing/2014/main" id="{8A3FC2E0-498E-4088-BEB8-77041EED0DDF}"/>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10" name="Freeform: Shape 109">
                  <a:extLst>
                    <a:ext uri="{FF2B5EF4-FFF2-40B4-BE49-F238E27FC236}">
                      <a16:creationId xmlns:a16="http://schemas.microsoft.com/office/drawing/2014/main" id="{DC686D94-8F9C-4151-A1A7-1129B5BCCEDD}"/>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solidFill>
                  <a:srgbClr val="FFFFFF"/>
                </a:solidFill>
                <a:ln w="9525" cap="flat" cmpd="sng" algn="ctr">
                  <a:solidFill>
                    <a:srgbClr val="003B5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05" name="Group 104">
                <a:extLst>
                  <a:ext uri="{FF2B5EF4-FFF2-40B4-BE49-F238E27FC236}">
                    <a16:creationId xmlns:a16="http://schemas.microsoft.com/office/drawing/2014/main" id="{A100817D-6C58-4115-8EDD-9304BF3F6A44}"/>
                  </a:ext>
                </a:extLst>
              </p:cNvPr>
              <p:cNvGrpSpPr/>
              <p:nvPr/>
            </p:nvGrpSpPr>
            <p:grpSpPr>
              <a:xfrm rot="9000000">
                <a:off x="889049" y="3827496"/>
                <a:ext cx="164431" cy="505560"/>
                <a:chOff x="1080621" y="2982166"/>
                <a:chExt cx="225378" cy="692942"/>
              </a:xfrm>
            </p:grpSpPr>
            <p:sp>
              <p:nvSpPr>
                <p:cNvPr id="107" name="Rectangle 106">
                  <a:extLst>
                    <a:ext uri="{FF2B5EF4-FFF2-40B4-BE49-F238E27FC236}">
                      <a16:creationId xmlns:a16="http://schemas.microsoft.com/office/drawing/2014/main" id="{B3F25BAD-7C29-4BA6-B0C7-9916C5A6B160}"/>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8" name="Teardrop 107">
                  <a:extLst>
                    <a:ext uri="{FF2B5EF4-FFF2-40B4-BE49-F238E27FC236}">
                      <a16:creationId xmlns:a16="http://schemas.microsoft.com/office/drawing/2014/main" id="{5208C11B-A8D7-4D81-BA12-454C6DA82CB4}"/>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106" name="AutoShape 8">
                <a:extLst>
                  <a:ext uri="{FF2B5EF4-FFF2-40B4-BE49-F238E27FC236}">
                    <a16:creationId xmlns:a16="http://schemas.microsoft.com/office/drawing/2014/main" id="{DD8844F9-46BE-489D-962E-8BE2D6F2B39F}"/>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113" name="Freeform: Shape 112">
              <a:extLst>
                <a:ext uri="{FF2B5EF4-FFF2-40B4-BE49-F238E27FC236}">
                  <a16:creationId xmlns:a16="http://schemas.microsoft.com/office/drawing/2014/main" id="{BB61196E-A6C8-4202-9C8E-7DAC6A5FF533}"/>
                </a:ext>
              </a:extLst>
            </p:cNvPr>
            <p:cNvSpPr/>
            <p:nvPr/>
          </p:nvSpPr>
          <p:spPr bwMode="auto">
            <a:xfrm>
              <a:off x="7290056" y="2208432"/>
              <a:ext cx="1078375" cy="1348781"/>
            </a:xfrm>
            <a:custGeom>
              <a:avLst/>
              <a:gdLst>
                <a:gd name="connsiteX0" fmla="*/ 24139 w 1078375"/>
                <a:gd name="connsiteY0" fmla="*/ 30193 h 1348781"/>
                <a:gd name="connsiteX1" fmla="*/ 24139 w 1078375"/>
                <a:gd name="connsiteY1" fmla="*/ 1318589 h 1348781"/>
                <a:gd name="connsiteX2" fmla="*/ 1054237 w 1078375"/>
                <a:gd name="connsiteY2" fmla="*/ 1318589 h 1348781"/>
                <a:gd name="connsiteX3" fmla="*/ 1054237 w 1078375"/>
                <a:gd name="connsiteY3" fmla="*/ 30193 h 1348781"/>
                <a:gd name="connsiteX4" fmla="*/ 0 w 1078375"/>
                <a:gd name="connsiteY4" fmla="*/ 0 h 1348781"/>
                <a:gd name="connsiteX5" fmla="*/ 1078375 w 1078375"/>
                <a:gd name="connsiteY5" fmla="*/ 0 h 1348781"/>
                <a:gd name="connsiteX6" fmla="*/ 1078375 w 1078375"/>
                <a:gd name="connsiteY6" fmla="*/ 1348781 h 1348781"/>
                <a:gd name="connsiteX7" fmla="*/ 0 w 1078375"/>
                <a:gd name="connsiteY7" fmla="*/ 1348781 h 134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8375" h="1348781">
                  <a:moveTo>
                    <a:pt x="24139" y="30193"/>
                  </a:moveTo>
                  <a:lnTo>
                    <a:pt x="24139" y="1318589"/>
                  </a:lnTo>
                  <a:lnTo>
                    <a:pt x="1054237" y="1318589"/>
                  </a:lnTo>
                  <a:lnTo>
                    <a:pt x="1054237" y="30193"/>
                  </a:lnTo>
                  <a:close/>
                  <a:moveTo>
                    <a:pt x="0" y="0"/>
                  </a:moveTo>
                  <a:lnTo>
                    <a:pt x="1078375" y="0"/>
                  </a:lnTo>
                  <a:lnTo>
                    <a:pt x="1078375" y="1348781"/>
                  </a:lnTo>
                  <a:lnTo>
                    <a:pt x="0" y="1348781"/>
                  </a:lnTo>
                  <a:close/>
                </a:path>
              </a:pathLst>
            </a:custGeom>
            <a:solidFill>
              <a:srgbClr val="003B59"/>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7" name="Rectangle 6">
              <a:extLst>
                <a:ext uri="{FF2B5EF4-FFF2-40B4-BE49-F238E27FC236}">
                  <a16:creationId xmlns:a16="http://schemas.microsoft.com/office/drawing/2014/main" id="{876AE718-1727-4038-9F36-7DCCF3BEEFC2}"/>
                </a:ext>
              </a:extLst>
            </p:cNvPr>
            <p:cNvSpPr/>
            <p:nvPr/>
          </p:nvSpPr>
          <p:spPr bwMode="auto">
            <a:xfrm>
              <a:off x="7323260" y="2310109"/>
              <a:ext cx="1011967" cy="45891"/>
            </a:xfrm>
            <a:prstGeom prst="rect">
              <a:avLst/>
            </a:prstGeom>
            <a:solidFill>
              <a:srgbClr val="4C789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114" name="Group 113">
              <a:extLst>
                <a:ext uri="{FF2B5EF4-FFF2-40B4-BE49-F238E27FC236}">
                  <a16:creationId xmlns:a16="http://schemas.microsoft.com/office/drawing/2014/main" id="{076D868F-1588-41B0-AB52-0C0A422A17CD}"/>
                </a:ext>
              </a:extLst>
            </p:cNvPr>
            <p:cNvGrpSpPr>
              <a:grpSpLocks noChangeAspect="1"/>
            </p:cNvGrpSpPr>
            <p:nvPr/>
          </p:nvGrpSpPr>
          <p:grpSpPr>
            <a:xfrm>
              <a:off x="7985101" y="3165523"/>
              <a:ext cx="374972" cy="374972"/>
              <a:chOff x="5272088" y="2605088"/>
              <a:chExt cx="1646237" cy="1646237"/>
            </a:xfrm>
          </p:grpSpPr>
          <p:sp>
            <p:nvSpPr>
              <p:cNvPr id="116" name="AutoShape 57">
                <a:extLst>
                  <a:ext uri="{FF2B5EF4-FFF2-40B4-BE49-F238E27FC236}">
                    <a16:creationId xmlns:a16="http://schemas.microsoft.com/office/drawing/2014/main" id="{33F78F09-844B-44DD-9CB4-3809680EBB41}"/>
                  </a:ext>
                </a:extLst>
              </p:cNvPr>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18" name="Group 117">
                <a:extLst>
                  <a:ext uri="{FF2B5EF4-FFF2-40B4-BE49-F238E27FC236}">
                    <a16:creationId xmlns:a16="http://schemas.microsoft.com/office/drawing/2014/main" id="{54F85D17-5F6D-447A-9BE3-C8F6EC01C82E}"/>
                  </a:ext>
                </a:extLst>
              </p:cNvPr>
              <p:cNvGrpSpPr/>
              <p:nvPr/>
            </p:nvGrpSpPr>
            <p:grpSpPr>
              <a:xfrm>
                <a:off x="5443538" y="2774950"/>
                <a:ext cx="1303337" cy="1303337"/>
                <a:chOff x="5443538" y="2774950"/>
                <a:chExt cx="1303337" cy="1303337"/>
              </a:xfrm>
            </p:grpSpPr>
            <p:sp>
              <p:nvSpPr>
                <p:cNvPr id="119" name="Freeform 65">
                  <a:extLst>
                    <a:ext uri="{FF2B5EF4-FFF2-40B4-BE49-F238E27FC236}">
                      <a16:creationId xmlns:a16="http://schemas.microsoft.com/office/drawing/2014/main" id="{7DE554CE-3B6A-4051-A317-68D1237755BC}"/>
                    </a:ext>
                  </a:extLst>
                </p:cNvPr>
                <p:cNvSpPr>
                  <a:spLocks noEditPoints="1"/>
                </p:cNvSpPr>
                <p:nvPr/>
              </p:nvSpPr>
              <p:spPr bwMode="auto">
                <a:xfrm>
                  <a:off x="5443538" y="2774950"/>
                  <a:ext cx="1303337" cy="1303337"/>
                </a:xfrm>
                <a:custGeom>
                  <a:avLst/>
                  <a:gdLst>
                    <a:gd name="T0" fmla="*/ 1802 w 1824"/>
                    <a:gd name="T1" fmla="*/ 0 h 1824"/>
                    <a:gd name="T2" fmla="*/ 22 w 1824"/>
                    <a:gd name="T3" fmla="*/ 0 h 1824"/>
                    <a:gd name="T4" fmla="*/ 0 w 1824"/>
                    <a:gd name="T5" fmla="*/ 22 h 1824"/>
                    <a:gd name="T6" fmla="*/ 0 w 1824"/>
                    <a:gd name="T7" fmla="*/ 1802 h 1824"/>
                    <a:gd name="T8" fmla="*/ 22 w 1824"/>
                    <a:gd name="T9" fmla="*/ 1824 h 1824"/>
                    <a:gd name="T10" fmla="*/ 1802 w 1824"/>
                    <a:gd name="T11" fmla="*/ 1824 h 1824"/>
                    <a:gd name="T12" fmla="*/ 1824 w 1824"/>
                    <a:gd name="T13" fmla="*/ 1802 h 1824"/>
                    <a:gd name="T14" fmla="*/ 1824 w 1824"/>
                    <a:gd name="T15" fmla="*/ 22 h 1824"/>
                    <a:gd name="T16" fmla="*/ 1802 w 1824"/>
                    <a:gd name="T17" fmla="*/ 0 h 1824"/>
                    <a:gd name="T18" fmla="*/ 1780 w 1824"/>
                    <a:gd name="T19" fmla="*/ 1780 h 1824"/>
                    <a:gd name="T20" fmla="*/ 44 w 1824"/>
                    <a:gd name="T21" fmla="*/ 1780 h 1824"/>
                    <a:gd name="T22" fmla="*/ 44 w 1824"/>
                    <a:gd name="T23" fmla="*/ 44 h 1824"/>
                    <a:gd name="T24" fmla="*/ 1780 w 1824"/>
                    <a:gd name="T25" fmla="*/ 44 h 1824"/>
                    <a:gd name="T26" fmla="*/ 1780 w 1824"/>
                    <a:gd name="T27" fmla="*/ 1780 h 1824"/>
                    <a:gd name="T28" fmla="*/ 1780 w 1824"/>
                    <a:gd name="T29" fmla="*/ 1780 h 1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24" h="1824">
                      <a:moveTo>
                        <a:pt x="1802" y="0"/>
                      </a:moveTo>
                      <a:cubicBezTo>
                        <a:pt x="22" y="0"/>
                        <a:pt x="22" y="0"/>
                        <a:pt x="22" y="0"/>
                      </a:cubicBezTo>
                      <a:cubicBezTo>
                        <a:pt x="10" y="0"/>
                        <a:pt x="0" y="10"/>
                        <a:pt x="0" y="22"/>
                      </a:cubicBezTo>
                      <a:cubicBezTo>
                        <a:pt x="0" y="1802"/>
                        <a:pt x="0" y="1802"/>
                        <a:pt x="0" y="1802"/>
                      </a:cubicBezTo>
                      <a:cubicBezTo>
                        <a:pt x="0" y="1814"/>
                        <a:pt x="10" y="1824"/>
                        <a:pt x="22" y="1824"/>
                      </a:cubicBezTo>
                      <a:cubicBezTo>
                        <a:pt x="1802" y="1824"/>
                        <a:pt x="1802" y="1824"/>
                        <a:pt x="1802" y="1824"/>
                      </a:cubicBezTo>
                      <a:cubicBezTo>
                        <a:pt x="1814" y="1824"/>
                        <a:pt x="1824" y="1814"/>
                        <a:pt x="1824" y="1802"/>
                      </a:cubicBezTo>
                      <a:cubicBezTo>
                        <a:pt x="1824" y="22"/>
                        <a:pt x="1824" y="22"/>
                        <a:pt x="1824" y="22"/>
                      </a:cubicBezTo>
                      <a:cubicBezTo>
                        <a:pt x="1824" y="10"/>
                        <a:pt x="1814" y="0"/>
                        <a:pt x="1802" y="0"/>
                      </a:cubicBezTo>
                      <a:close/>
                      <a:moveTo>
                        <a:pt x="1780" y="1780"/>
                      </a:moveTo>
                      <a:cubicBezTo>
                        <a:pt x="44" y="1780"/>
                        <a:pt x="44" y="1780"/>
                        <a:pt x="44" y="1780"/>
                      </a:cubicBezTo>
                      <a:cubicBezTo>
                        <a:pt x="44" y="44"/>
                        <a:pt x="44" y="44"/>
                        <a:pt x="44" y="44"/>
                      </a:cubicBezTo>
                      <a:cubicBezTo>
                        <a:pt x="1780" y="44"/>
                        <a:pt x="1780" y="44"/>
                        <a:pt x="1780" y="44"/>
                      </a:cubicBezTo>
                      <a:cubicBezTo>
                        <a:pt x="1780" y="1780"/>
                        <a:pt x="1780" y="1780"/>
                        <a:pt x="1780" y="1780"/>
                      </a:cubicBezTo>
                      <a:cubicBezTo>
                        <a:pt x="1780" y="1780"/>
                        <a:pt x="1780" y="1780"/>
                        <a:pt x="1780" y="178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0" name="Freeform 6">
                  <a:extLst>
                    <a:ext uri="{FF2B5EF4-FFF2-40B4-BE49-F238E27FC236}">
                      <a16:creationId xmlns:a16="http://schemas.microsoft.com/office/drawing/2014/main" id="{0906EEF8-7825-4BB5-8F6E-4B8F7C1DDC95}"/>
                    </a:ext>
                  </a:extLst>
                </p:cNvPr>
                <p:cNvSpPr>
                  <a:spLocks/>
                </p:cNvSpPr>
                <p:nvPr/>
              </p:nvSpPr>
              <p:spPr bwMode="auto">
                <a:xfrm>
                  <a:off x="5507037" y="2835274"/>
                  <a:ext cx="1179512" cy="1181100"/>
                </a:xfrm>
                <a:custGeom>
                  <a:avLst/>
                  <a:gdLst>
                    <a:gd name="connsiteX0" fmla="*/ 588962 w 1179512"/>
                    <a:gd name="connsiteY0" fmla="*/ 1109663 h 1181100"/>
                    <a:gd name="connsiteX1" fmla="*/ 661987 w 1179512"/>
                    <a:gd name="connsiteY1" fmla="*/ 1109663 h 1181100"/>
                    <a:gd name="connsiteX2" fmla="*/ 661987 w 1179512"/>
                    <a:gd name="connsiteY2" fmla="*/ 1179513 h 1181100"/>
                    <a:gd name="connsiteX3" fmla="*/ 588962 w 1179512"/>
                    <a:gd name="connsiteY3" fmla="*/ 1179513 h 1181100"/>
                    <a:gd name="connsiteX4" fmla="*/ 588962 w 1179512"/>
                    <a:gd name="connsiteY4" fmla="*/ 1109663 h 1181100"/>
                    <a:gd name="connsiteX5" fmla="*/ 515937 w 1179512"/>
                    <a:gd name="connsiteY5" fmla="*/ 1036638 h 1181100"/>
                    <a:gd name="connsiteX6" fmla="*/ 588962 w 1179512"/>
                    <a:gd name="connsiteY6" fmla="*/ 1036638 h 1181100"/>
                    <a:gd name="connsiteX7" fmla="*/ 588962 w 1179512"/>
                    <a:gd name="connsiteY7" fmla="*/ 1109663 h 1181100"/>
                    <a:gd name="connsiteX8" fmla="*/ 515937 w 1179512"/>
                    <a:gd name="connsiteY8" fmla="*/ 1109663 h 1181100"/>
                    <a:gd name="connsiteX9" fmla="*/ 515937 w 1179512"/>
                    <a:gd name="connsiteY9" fmla="*/ 1036638 h 1181100"/>
                    <a:gd name="connsiteX10" fmla="*/ 811212 w 1179512"/>
                    <a:gd name="connsiteY10" fmla="*/ 887413 h 1181100"/>
                    <a:gd name="connsiteX11" fmla="*/ 811212 w 1179512"/>
                    <a:gd name="connsiteY11" fmla="*/ 958850 h 1181100"/>
                    <a:gd name="connsiteX12" fmla="*/ 884237 w 1179512"/>
                    <a:gd name="connsiteY12" fmla="*/ 958850 h 1181100"/>
                    <a:gd name="connsiteX13" fmla="*/ 884237 w 1179512"/>
                    <a:gd name="connsiteY13" fmla="*/ 887413 h 1181100"/>
                    <a:gd name="connsiteX14" fmla="*/ 811212 w 1179512"/>
                    <a:gd name="connsiteY14" fmla="*/ 887413 h 1181100"/>
                    <a:gd name="connsiteX15" fmla="*/ 146050 w 1179512"/>
                    <a:gd name="connsiteY15" fmla="*/ 887413 h 1181100"/>
                    <a:gd name="connsiteX16" fmla="*/ 293687 w 1179512"/>
                    <a:gd name="connsiteY16" fmla="*/ 887413 h 1181100"/>
                    <a:gd name="connsiteX17" fmla="*/ 293687 w 1179512"/>
                    <a:gd name="connsiteY17" fmla="*/ 1035050 h 1181100"/>
                    <a:gd name="connsiteX18" fmla="*/ 146050 w 1179512"/>
                    <a:gd name="connsiteY18" fmla="*/ 1035050 h 1181100"/>
                    <a:gd name="connsiteX19" fmla="*/ 146050 w 1179512"/>
                    <a:gd name="connsiteY19" fmla="*/ 887413 h 1181100"/>
                    <a:gd name="connsiteX20" fmla="*/ 958850 w 1179512"/>
                    <a:gd name="connsiteY20" fmla="*/ 812800 h 1181100"/>
                    <a:gd name="connsiteX21" fmla="*/ 958850 w 1179512"/>
                    <a:gd name="connsiteY21" fmla="*/ 958850 h 1181100"/>
                    <a:gd name="connsiteX22" fmla="*/ 1031875 w 1179512"/>
                    <a:gd name="connsiteY22" fmla="*/ 958850 h 1181100"/>
                    <a:gd name="connsiteX23" fmla="*/ 1031875 w 1179512"/>
                    <a:gd name="connsiteY23" fmla="*/ 812800 h 1181100"/>
                    <a:gd name="connsiteX24" fmla="*/ 958850 w 1179512"/>
                    <a:gd name="connsiteY24" fmla="*/ 812800 h 1181100"/>
                    <a:gd name="connsiteX25" fmla="*/ 74612 w 1179512"/>
                    <a:gd name="connsiteY25" fmla="*/ 812800 h 1181100"/>
                    <a:gd name="connsiteX26" fmla="*/ 74612 w 1179512"/>
                    <a:gd name="connsiteY26" fmla="*/ 1106487 h 1181100"/>
                    <a:gd name="connsiteX27" fmla="*/ 366712 w 1179512"/>
                    <a:gd name="connsiteY27" fmla="*/ 1106487 h 1181100"/>
                    <a:gd name="connsiteX28" fmla="*/ 366712 w 1179512"/>
                    <a:gd name="connsiteY28" fmla="*/ 812800 h 1181100"/>
                    <a:gd name="connsiteX29" fmla="*/ 74612 w 1179512"/>
                    <a:gd name="connsiteY29" fmla="*/ 812800 h 1181100"/>
                    <a:gd name="connsiteX30" fmla="*/ 588962 w 1179512"/>
                    <a:gd name="connsiteY30" fmla="*/ 739775 h 1181100"/>
                    <a:gd name="connsiteX31" fmla="*/ 661987 w 1179512"/>
                    <a:gd name="connsiteY31" fmla="*/ 739775 h 1181100"/>
                    <a:gd name="connsiteX32" fmla="*/ 661987 w 1179512"/>
                    <a:gd name="connsiteY32" fmla="*/ 1035050 h 1181100"/>
                    <a:gd name="connsiteX33" fmla="*/ 589678 w 1179512"/>
                    <a:gd name="connsiteY33" fmla="*/ 1035050 h 1181100"/>
                    <a:gd name="connsiteX34" fmla="*/ 588962 w 1179512"/>
                    <a:gd name="connsiteY34" fmla="*/ 917798 h 1181100"/>
                    <a:gd name="connsiteX35" fmla="*/ 588962 w 1179512"/>
                    <a:gd name="connsiteY35" fmla="*/ 887770 h 1181100"/>
                    <a:gd name="connsiteX36" fmla="*/ 515937 w 1179512"/>
                    <a:gd name="connsiteY36" fmla="*/ 887770 h 1181100"/>
                    <a:gd name="connsiteX37" fmla="*/ 515937 w 1179512"/>
                    <a:gd name="connsiteY37" fmla="*/ 813415 h 1181100"/>
                    <a:gd name="connsiteX38" fmla="*/ 588962 w 1179512"/>
                    <a:gd name="connsiteY38" fmla="*/ 813415 h 1181100"/>
                    <a:gd name="connsiteX39" fmla="*/ 588962 w 1179512"/>
                    <a:gd name="connsiteY39" fmla="*/ 739775 h 1181100"/>
                    <a:gd name="connsiteX40" fmla="*/ 1587 w 1179512"/>
                    <a:gd name="connsiteY40" fmla="*/ 739775 h 1181100"/>
                    <a:gd name="connsiteX41" fmla="*/ 441324 w 1179512"/>
                    <a:gd name="connsiteY41" fmla="*/ 739775 h 1181100"/>
                    <a:gd name="connsiteX42" fmla="*/ 441324 w 1179512"/>
                    <a:gd name="connsiteY42" fmla="*/ 1179512 h 1181100"/>
                    <a:gd name="connsiteX43" fmla="*/ 1587 w 1179512"/>
                    <a:gd name="connsiteY43" fmla="*/ 1179512 h 1181100"/>
                    <a:gd name="connsiteX44" fmla="*/ 1587 w 1179512"/>
                    <a:gd name="connsiteY44" fmla="*/ 739775 h 1181100"/>
                    <a:gd name="connsiteX45" fmla="*/ 958850 w 1179512"/>
                    <a:gd name="connsiteY45" fmla="*/ 665163 h 1181100"/>
                    <a:gd name="connsiteX46" fmla="*/ 958850 w 1179512"/>
                    <a:gd name="connsiteY46" fmla="*/ 738188 h 1181100"/>
                    <a:gd name="connsiteX47" fmla="*/ 1031875 w 1179512"/>
                    <a:gd name="connsiteY47" fmla="*/ 738188 h 1181100"/>
                    <a:gd name="connsiteX48" fmla="*/ 1031875 w 1179512"/>
                    <a:gd name="connsiteY48" fmla="*/ 665163 h 1181100"/>
                    <a:gd name="connsiteX49" fmla="*/ 958850 w 1179512"/>
                    <a:gd name="connsiteY49" fmla="*/ 665163 h 1181100"/>
                    <a:gd name="connsiteX50" fmla="*/ 811212 w 1179512"/>
                    <a:gd name="connsiteY50" fmla="*/ 665163 h 1181100"/>
                    <a:gd name="connsiteX51" fmla="*/ 811212 w 1179512"/>
                    <a:gd name="connsiteY51" fmla="*/ 812800 h 1181100"/>
                    <a:gd name="connsiteX52" fmla="*/ 958133 w 1179512"/>
                    <a:gd name="connsiteY52" fmla="*/ 812800 h 1181100"/>
                    <a:gd name="connsiteX53" fmla="*/ 958849 w 1179512"/>
                    <a:gd name="connsiteY53" fmla="*/ 738982 h 1181100"/>
                    <a:gd name="connsiteX54" fmla="*/ 884314 w 1179512"/>
                    <a:gd name="connsiteY54" fmla="*/ 738982 h 1181100"/>
                    <a:gd name="connsiteX55" fmla="*/ 884314 w 1179512"/>
                    <a:gd name="connsiteY55" fmla="*/ 665163 h 1181100"/>
                    <a:gd name="connsiteX56" fmla="*/ 811212 w 1179512"/>
                    <a:gd name="connsiteY56" fmla="*/ 665163 h 1181100"/>
                    <a:gd name="connsiteX57" fmla="*/ 515937 w 1179512"/>
                    <a:gd name="connsiteY57" fmla="*/ 665163 h 1181100"/>
                    <a:gd name="connsiteX58" fmla="*/ 588962 w 1179512"/>
                    <a:gd name="connsiteY58" fmla="*/ 665163 h 1181100"/>
                    <a:gd name="connsiteX59" fmla="*/ 588246 w 1179512"/>
                    <a:gd name="connsiteY59" fmla="*/ 739775 h 1181100"/>
                    <a:gd name="connsiteX60" fmla="*/ 515937 w 1179512"/>
                    <a:gd name="connsiteY60" fmla="*/ 739775 h 1181100"/>
                    <a:gd name="connsiteX61" fmla="*/ 515937 w 1179512"/>
                    <a:gd name="connsiteY61" fmla="*/ 665163 h 1181100"/>
                    <a:gd name="connsiteX62" fmla="*/ 366580 w 1179512"/>
                    <a:gd name="connsiteY62" fmla="*/ 519113 h 1181100"/>
                    <a:gd name="connsiteX63" fmla="*/ 515937 w 1179512"/>
                    <a:gd name="connsiteY63" fmla="*/ 519113 h 1181100"/>
                    <a:gd name="connsiteX64" fmla="*/ 515937 w 1179512"/>
                    <a:gd name="connsiteY64" fmla="*/ 592138 h 1181100"/>
                    <a:gd name="connsiteX65" fmla="*/ 441616 w 1179512"/>
                    <a:gd name="connsiteY65" fmla="*/ 592138 h 1181100"/>
                    <a:gd name="connsiteX66" fmla="*/ 441616 w 1179512"/>
                    <a:gd name="connsiteY66" fmla="*/ 665163 h 1181100"/>
                    <a:gd name="connsiteX67" fmla="*/ 293687 w 1179512"/>
                    <a:gd name="connsiteY67" fmla="*/ 665163 h 1181100"/>
                    <a:gd name="connsiteX68" fmla="*/ 293687 w 1179512"/>
                    <a:gd name="connsiteY68" fmla="*/ 592138 h 1181100"/>
                    <a:gd name="connsiteX69" fmla="*/ 366580 w 1179512"/>
                    <a:gd name="connsiteY69" fmla="*/ 592138 h 1181100"/>
                    <a:gd name="connsiteX70" fmla="*/ 366580 w 1179512"/>
                    <a:gd name="connsiteY70" fmla="*/ 519113 h 1181100"/>
                    <a:gd name="connsiteX71" fmla="*/ 219075 w 1179512"/>
                    <a:gd name="connsiteY71" fmla="*/ 519113 h 1181100"/>
                    <a:gd name="connsiteX72" fmla="*/ 293687 w 1179512"/>
                    <a:gd name="connsiteY72" fmla="*/ 519113 h 1181100"/>
                    <a:gd name="connsiteX73" fmla="*/ 293687 w 1179512"/>
                    <a:gd name="connsiteY73" fmla="*/ 592138 h 1181100"/>
                    <a:gd name="connsiteX74" fmla="*/ 219075 w 1179512"/>
                    <a:gd name="connsiteY74" fmla="*/ 591422 h 1181100"/>
                    <a:gd name="connsiteX75" fmla="*/ 219075 w 1179512"/>
                    <a:gd name="connsiteY75" fmla="*/ 519113 h 1181100"/>
                    <a:gd name="connsiteX76" fmla="*/ 1587 w 1179512"/>
                    <a:gd name="connsiteY76" fmla="*/ 519113 h 1181100"/>
                    <a:gd name="connsiteX77" fmla="*/ 146341 w 1179512"/>
                    <a:gd name="connsiteY77" fmla="*/ 519113 h 1181100"/>
                    <a:gd name="connsiteX78" fmla="*/ 146341 w 1179512"/>
                    <a:gd name="connsiteY78" fmla="*/ 592138 h 1181100"/>
                    <a:gd name="connsiteX79" fmla="*/ 219074 w 1179512"/>
                    <a:gd name="connsiteY79" fmla="*/ 592138 h 1181100"/>
                    <a:gd name="connsiteX80" fmla="*/ 219074 w 1179512"/>
                    <a:gd name="connsiteY80" fmla="*/ 665163 h 1181100"/>
                    <a:gd name="connsiteX81" fmla="*/ 1587 w 1179512"/>
                    <a:gd name="connsiteY81" fmla="*/ 665163 h 1181100"/>
                    <a:gd name="connsiteX82" fmla="*/ 1587 w 1179512"/>
                    <a:gd name="connsiteY82" fmla="*/ 519113 h 1181100"/>
                    <a:gd name="connsiteX83" fmla="*/ 589509 w 1179512"/>
                    <a:gd name="connsiteY83" fmla="*/ 368915 h 1181100"/>
                    <a:gd name="connsiteX84" fmla="*/ 663795 w 1179512"/>
                    <a:gd name="connsiteY84" fmla="*/ 368915 h 1181100"/>
                    <a:gd name="connsiteX85" fmla="*/ 663795 w 1179512"/>
                    <a:gd name="connsiteY85" fmla="*/ 516910 h 1181100"/>
                    <a:gd name="connsiteX86" fmla="*/ 810939 w 1179512"/>
                    <a:gd name="connsiteY86" fmla="*/ 516910 h 1181100"/>
                    <a:gd name="connsiteX87" fmla="*/ 810939 w 1179512"/>
                    <a:gd name="connsiteY87" fmla="*/ 589835 h 1181100"/>
                    <a:gd name="connsiteX88" fmla="*/ 885225 w 1179512"/>
                    <a:gd name="connsiteY88" fmla="*/ 589835 h 1181100"/>
                    <a:gd name="connsiteX89" fmla="*/ 885225 w 1179512"/>
                    <a:gd name="connsiteY89" fmla="*/ 517625 h 1181100"/>
                    <a:gd name="connsiteX90" fmla="*/ 958797 w 1179512"/>
                    <a:gd name="connsiteY90" fmla="*/ 517625 h 1181100"/>
                    <a:gd name="connsiteX91" fmla="*/ 958797 w 1179512"/>
                    <a:gd name="connsiteY91" fmla="*/ 590550 h 1181100"/>
                    <a:gd name="connsiteX92" fmla="*/ 1031875 w 1179512"/>
                    <a:gd name="connsiteY92" fmla="*/ 590550 h 1181100"/>
                    <a:gd name="connsiteX93" fmla="*/ 1031875 w 1179512"/>
                    <a:gd name="connsiteY93" fmla="*/ 519113 h 1181100"/>
                    <a:gd name="connsiteX94" fmla="*/ 1179512 w 1179512"/>
                    <a:gd name="connsiteY94" fmla="*/ 519113 h 1181100"/>
                    <a:gd name="connsiteX95" fmla="*/ 1179512 w 1179512"/>
                    <a:gd name="connsiteY95" fmla="*/ 665163 h 1181100"/>
                    <a:gd name="connsiteX96" fmla="*/ 1106050 w 1179512"/>
                    <a:gd name="connsiteY96" fmla="*/ 665163 h 1181100"/>
                    <a:gd name="connsiteX97" fmla="*/ 1106050 w 1179512"/>
                    <a:gd name="connsiteY97" fmla="*/ 592138 h 1181100"/>
                    <a:gd name="connsiteX98" fmla="*/ 1032669 w 1179512"/>
                    <a:gd name="connsiteY98" fmla="*/ 592138 h 1181100"/>
                    <a:gd name="connsiteX99" fmla="*/ 1032385 w 1179512"/>
                    <a:gd name="connsiteY99" fmla="*/ 592138 h 1181100"/>
                    <a:gd name="connsiteX100" fmla="*/ 1032387 w 1179512"/>
                    <a:gd name="connsiteY100" fmla="*/ 592420 h 1181100"/>
                    <a:gd name="connsiteX101" fmla="*/ 1032669 w 1179512"/>
                    <a:gd name="connsiteY101" fmla="*/ 592138 h 1181100"/>
                    <a:gd name="connsiteX102" fmla="*/ 1033463 w 1179512"/>
                    <a:gd name="connsiteY102" fmla="*/ 592932 h 1181100"/>
                    <a:gd name="connsiteX103" fmla="*/ 1032669 w 1179512"/>
                    <a:gd name="connsiteY103" fmla="*/ 593726 h 1181100"/>
                    <a:gd name="connsiteX104" fmla="*/ 1032397 w 1179512"/>
                    <a:gd name="connsiteY104" fmla="*/ 593454 h 1181100"/>
                    <a:gd name="connsiteX105" fmla="*/ 1033083 w 1179512"/>
                    <a:gd name="connsiteY105" fmla="*/ 664905 h 1181100"/>
                    <a:gd name="connsiteX106" fmla="*/ 1105940 w 1179512"/>
                    <a:gd name="connsiteY106" fmla="*/ 664905 h 1181100"/>
                    <a:gd name="connsiteX107" fmla="*/ 1105940 w 1179512"/>
                    <a:gd name="connsiteY107" fmla="*/ 812185 h 1181100"/>
                    <a:gd name="connsiteX108" fmla="*/ 1179512 w 1179512"/>
                    <a:gd name="connsiteY108" fmla="*/ 812185 h 1181100"/>
                    <a:gd name="connsiteX109" fmla="*/ 1179512 w 1179512"/>
                    <a:gd name="connsiteY109" fmla="*/ 885825 h 1181100"/>
                    <a:gd name="connsiteX110" fmla="*/ 1106655 w 1179512"/>
                    <a:gd name="connsiteY110" fmla="*/ 885825 h 1181100"/>
                    <a:gd name="connsiteX111" fmla="*/ 1106655 w 1179512"/>
                    <a:gd name="connsiteY111" fmla="*/ 1033820 h 1181100"/>
                    <a:gd name="connsiteX112" fmla="*/ 1179512 w 1179512"/>
                    <a:gd name="connsiteY112" fmla="*/ 1033820 h 1181100"/>
                    <a:gd name="connsiteX113" fmla="*/ 1179512 w 1179512"/>
                    <a:gd name="connsiteY113" fmla="*/ 1181100 h 1181100"/>
                    <a:gd name="connsiteX114" fmla="*/ 968083 w 1179512"/>
                    <a:gd name="connsiteY114" fmla="*/ 1181100 h 1181100"/>
                    <a:gd name="connsiteX115" fmla="*/ 968083 w 1179512"/>
                    <a:gd name="connsiteY115" fmla="*/ 1107460 h 1181100"/>
                    <a:gd name="connsiteX116" fmla="*/ 1031654 w 1179512"/>
                    <a:gd name="connsiteY116" fmla="*/ 1107460 h 1181100"/>
                    <a:gd name="connsiteX117" fmla="*/ 1031654 w 1179512"/>
                    <a:gd name="connsiteY117" fmla="*/ 1034535 h 1181100"/>
                    <a:gd name="connsiteX118" fmla="*/ 958797 w 1179512"/>
                    <a:gd name="connsiteY118" fmla="*/ 1034535 h 1181100"/>
                    <a:gd name="connsiteX119" fmla="*/ 958797 w 1179512"/>
                    <a:gd name="connsiteY119" fmla="*/ 1107460 h 1181100"/>
                    <a:gd name="connsiteX120" fmla="*/ 885225 w 1179512"/>
                    <a:gd name="connsiteY120" fmla="*/ 1107460 h 1181100"/>
                    <a:gd name="connsiteX121" fmla="*/ 885225 w 1179512"/>
                    <a:gd name="connsiteY121" fmla="*/ 1180385 h 1181100"/>
                    <a:gd name="connsiteX122" fmla="*/ 738081 w 1179512"/>
                    <a:gd name="connsiteY122" fmla="*/ 1180385 h 1181100"/>
                    <a:gd name="connsiteX123" fmla="*/ 738081 w 1179512"/>
                    <a:gd name="connsiteY123" fmla="*/ 1107460 h 1181100"/>
                    <a:gd name="connsiteX124" fmla="*/ 810225 w 1179512"/>
                    <a:gd name="connsiteY124" fmla="*/ 1107460 h 1181100"/>
                    <a:gd name="connsiteX125" fmla="*/ 810225 w 1179512"/>
                    <a:gd name="connsiteY125" fmla="*/ 1033820 h 1181100"/>
                    <a:gd name="connsiteX126" fmla="*/ 737367 w 1179512"/>
                    <a:gd name="connsiteY126" fmla="*/ 1033820 h 1181100"/>
                    <a:gd name="connsiteX127" fmla="*/ 737367 w 1179512"/>
                    <a:gd name="connsiteY127" fmla="*/ 664190 h 1181100"/>
                    <a:gd name="connsiteX128" fmla="*/ 589509 w 1179512"/>
                    <a:gd name="connsiteY128" fmla="*/ 664190 h 1181100"/>
                    <a:gd name="connsiteX129" fmla="*/ 589509 w 1179512"/>
                    <a:gd name="connsiteY129" fmla="*/ 516910 h 1181100"/>
                    <a:gd name="connsiteX130" fmla="*/ 516652 w 1179512"/>
                    <a:gd name="connsiteY130" fmla="*/ 516910 h 1181100"/>
                    <a:gd name="connsiteX131" fmla="*/ 516652 w 1179512"/>
                    <a:gd name="connsiteY131" fmla="*/ 443270 h 1181100"/>
                    <a:gd name="connsiteX132" fmla="*/ 589509 w 1179512"/>
                    <a:gd name="connsiteY132" fmla="*/ 443270 h 1181100"/>
                    <a:gd name="connsiteX133" fmla="*/ 589509 w 1179512"/>
                    <a:gd name="connsiteY133" fmla="*/ 368915 h 1181100"/>
                    <a:gd name="connsiteX134" fmla="*/ 884237 w 1179512"/>
                    <a:gd name="connsiteY134" fmla="*/ 149225 h 1181100"/>
                    <a:gd name="connsiteX135" fmla="*/ 1031874 w 1179512"/>
                    <a:gd name="connsiteY135" fmla="*/ 149225 h 1181100"/>
                    <a:gd name="connsiteX136" fmla="*/ 1031874 w 1179512"/>
                    <a:gd name="connsiteY136" fmla="*/ 295275 h 1181100"/>
                    <a:gd name="connsiteX137" fmla="*/ 884237 w 1179512"/>
                    <a:gd name="connsiteY137" fmla="*/ 295275 h 1181100"/>
                    <a:gd name="connsiteX138" fmla="*/ 884237 w 1179512"/>
                    <a:gd name="connsiteY138" fmla="*/ 149225 h 1181100"/>
                    <a:gd name="connsiteX139" fmla="*/ 146050 w 1179512"/>
                    <a:gd name="connsiteY139" fmla="*/ 149225 h 1181100"/>
                    <a:gd name="connsiteX140" fmla="*/ 293687 w 1179512"/>
                    <a:gd name="connsiteY140" fmla="*/ 149225 h 1181100"/>
                    <a:gd name="connsiteX141" fmla="*/ 293687 w 1179512"/>
                    <a:gd name="connsiteY141" fmla="*/ 295275 h 1181100"/>
                    <a:gd name="connsiteX142" fmla="*/ 146050 w 1179512"/>
                    <a:gd name="connsiteY142" fmla="*/ 295275 h 1181100"/>
                    <a:gd name="connsiteX143" fmla="*/ 146050 w 1179512"/>
                    <a:gd name="connsiteY143" fmla="*/ 149225 h 1181100"/>
                    <a:gd name="connsiteX144" fmla="*/ 811212 w 1179512"/>
                    <a:gd name="connsiteY144" fmla="*/ 74613 h 1181100"/>
                    <a:gd name="connsiteX145" fmla="*/ 811212 w 1179512"/>
                    <a:gd name="connsiteY145" fmla="*/ 369888 h 1181100"/>
                    <a:gd name="connsiteX146" fmla="*/ 1104899 w 1179512"/>
                    <a:gd name="connsiteY146" fmla="*/ 369888 h 1181100"/>
                    <a:gd name="connsiteX147" fmla="*/ 1104899 w 1179512"/>
                    <a:gd name="connsiteY147" fmla="*/ 74613 h 1181100"/>
                    <a:gd name="connsiteX148" fmla="*/ 811212 w 1179512"/>
                    <a:gd name="connsiteY148" fmla="*/ 74613 h 1181100"/>
                    <a:gd name="connsiteX149" fmla="*/ 73025 w 1179512"/>
                    <a:gd name="connsiteY149" fmla="*/ 74613 h 1181100"/>
                    <a:gd name="connsiteX150" fmla="*/ 73025 w 1179512"/>
                    <a:gd name="connsiteY150" fmla="*/ 368300 h 1181100"/>
                    <a:gd name="connsiteX151" fmla="*/ 366712 w 1179512"/>
                    <a:gd name="connsiteY151" fmla="*/ 368300 h 1181100"/>
                    <a:gd name="connsiteX152" fmla="*/ 366712 w 1179512"/>
                    <a:gd name="connsiteY152" fmla="*/ 74613 h 1181100"/>
                    <a:gd name="connsiteX153" fmla="*/ 73025 w 1179512"/>
                    <a:gd name="connsiteY153" fmla="*/ 74613 h 1181100"/>
                    <a:gd name="connsiteX154" fmla="*/ 736600 w 1179512"/>
                    <a:gd name="connsiteY154" fmla="*/ 0 h 1181100"/>
                    <a:gd name="connsiteX155" fmla="*/ 1179512 w 1179512"/>
                    <a:gd name="connsiteY155" fmla="*/ 0 h 1181100"/>
                    <a:gd name="connsiteX156" fmla="*/ 1179512 w 1179512"/>
                    <a:gd name="connsiteY156" fmla="*/ 442912 h 1181100"/>
                    <a:gd name="connsiteX157" fmla="*/ 736600 w 1179512"/>
                    <a:gd name="connsiteY157" fmla="*/ 442912 h 1181100"/>
                    <a:gd name="connsiteX158" fmla="*/ 736600 w 1179512"/>
                    <a:gd name="connsiteY158" fmla="*/ 0 h 1181100"/>
                    <a:gd name="connsiteX159" fmla="*/ 515937 w 1179512"/>
                    <a:gd name="connsiteY159" fmla="*/ 0 h 1181100"/>
                    <a:gd name="connsiteX160" fmla="*/ 663081 w 1179512"/>
                    <a:gd name="connsiteY160" fmla="*/ 0 h 1181100"/>
                    <a:gd name="connsiteX161" fmla="*/ 663081 w 1179512"/>
                    <a:gd name="connsiteY161" fmla="*/ 220920 h 1181100"/>
                    <a:gd name="connsiteX162" fmla="*/ 589509 w 1179512"/>
                    <a:gd name="connsiteY162" fmla="*/ 220920 h 1181100"/>
                    <a:gd name="connsiteX163" fmla="*/ 589509 w 1179512"/>
                    <a:gd name="connsiteY163" fmla="*/ 368915 h 1181100"/>
                    <a:gd name="connsiteX164" fmla="*/ 516652 w 1179512"/>
                    <a:gd name="connsiteY164" fmla="*/ 368915 h 1181100"/>
                    <a:gd name="connsiteX165" fmla="*/ 516652 w 1179512"/>
                    <a:gd name="connsiteY165" fmla="*/ 147995 h 1181100"/>
                    <a:gd name="connsiteX166" fmla="*/ 588795 w 1179512"/>
                    <a:gd name="connsiteY166" fmla="*/ 147995 h 1181100"/>
                    <a:gd name="connsiteX167" fmla="*/ 588795 w 1179512"/>
                    <a:gd name="connsiteY167" fmla="*/ 74355 h 1181100"/>
                    <a:gd name="connsiteX168" fmla="*/ 515937 w 1179512"/>
                    <a:gd name="connsiteY168" fmla="*/ 74355 h 1181100"/>
                    <a:gd name="connsiteX169" fmla="*/ 515937 w 1179512"/>
                    <a:gd name="connsiteY169" fmla="*/ 0 h 1181100"/>
                    <a:gd name="connsiteX170" fmla="*/ 0 w 1179512"/>
                    <a:gd name="connsiteY170" fmla="*/ 0 h 1181100"/>
                    <a:gd name="connsiteX171" fmla="*/ 441325 w 1179512"/>
                    <a:gd name="connsiteY171" fmla="*/ 0 h 1181100"/>
                    <a:gd name="connsiteX172" fmla="*/ 441325 w 1179512"/>
                    <a:gd name="connsiteY172" fmla="*/ 442912 h 1181100"/>
                    <a:gd name="connsiteX173" fmla="*/ 0 w 1179512"/>
                    <a:gd name="connsiteY173" fmla="*/ 442912 h 1181100"/>
                    <a:gd name="connsiteX174" fmla="*/ 0 w 1179512"/>
                    <a:gd name="connsiteY174" fmla="*/ 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79512" h="1181100">
                      <a:moveTo>
                        <a:pt x="588962" y="1109663"/>
                      </a:moveTo>
                      <a:cubicBezTo>
                        <a:pt x="613304" y="1109663"/>
                        <a:pt x="636930" y="1109663"/>
                        <a:pt x="661987" y="1109663"/>
                      </a:cubicBezTo>
                      <a:cubicBezTo>
                        <a:pt x="661987" y="1132471"/>
                        <a:pt x="661987" y="1155992"/>
                        <a:pt x="661987" y="1179513"/>
                      </a:cubicBezTo>
                      <a:cubicBezTo>
                        <a:pt x="638362" y="1179513"/>
                        <a:pt x="614020" y="1179513"/>
                        <a:pt x="588962" y="1179513"/>
                      </a:cubicBezTo>
                      <a:cubicBezTo>
                        <a:pt x="588962" y="1155992"/>
                        <a:pt x="588962" y="1132471"/>
                        <a:pt x="588962" y="1109663"/>
                      </a:cubicBezTo>
                      <a:close/>
                      <a:moveTo>
                        <a:pt x="515937" y="1036638"/>
                      </a:moveTo>
                      <a:cubicBezTo>
                        <a:pt x="540279" y="1036638"/>
                        <a:pt x="564621" y="1036638"/>
                        <a:pt x="588962" y="1036638"/>
                      </a:cubicBezTo>
                      <a:cubicBezTo>
                        <a:pt x="588962" y="1060743"/>
                        <a:pt x="588962" y="1084849"/>
                        <a:pt x="588962" y="1109663"/>
                      </a:cubicBezTo>
                      <a:cubicBezTo>
                        <a:pt x="564621" y="1109663"/>
                        <a:pt x="540995" y="1109663"/>
                        <a:pt x="515937" y="1109663"/>
                      </a:cubicBezTo>
                      <a:cubicBezTo>
                        <a:pt x="515937" y="1084849"/>
                        <a:pt x="515937" y="1061452"/>
                        <a:pt x="515937" y="1036638"/>
                      </a:cubicBezTo>
                      <a:close/>
                      <a:moveTo>
                        <a:pt x="811212" y="887413"/>
                      </a:moveTo>
                      <a:cubicBezTo>
                        <a:pt x="811212" y="912169"/>
                        <a:pt x="811212" y="935509"/>
                        <a:pt x="811212" y="958850"/>
                      </a:cubicBezTo>
                      <a:cubicBezTo>
                        <a:pt x="836518" y="958850"/>
                        <a:pt x="860378" y="958850"/>
                        <a:pt x="884237" y="958850"/>
                      </a:cubicBezTo>
                      <a:cubicBezTo>
                        <a:pt x="884237" y="934802"/>
                        <a:pt x="884237" y="911461"/>
                        <a:pt x="884237" y="887413"/>
                      </a:cubicBezTo>
                      <a:cubicBezTo>
                        <a:pt x="859655" y="887413"/>
                        <a:pt x="835795" y="887413"/>
                        <a:pt x="811212" y="887413"/>
                      </a:cubicBezTo>
                      <a:close/>
                      <a:moveTo>
                        <a:pt x="146050" y="887413"/>
                      </a:moveTo>
                      <a:cubicBezTo>
                        <a:pt x="195263" y="887413"/>
                        <a:pt x="243762" y="887413"/>
                        <a:pt x="293687" y="887413"/>
                      </a:cubicBezTo>
                      <a:cubicBezTo>
                        <a:pt x="293687" y="936625"/>
                        <a:pt x="293687" y="985838"/>
                        <a:pt x="293687" y="1035050"/>
                      </a:cubicBezTo>
                      <a:cubicBezTo>
                        <a:pt x="244475" y="1035050"/>
                        <a:pt x="195976" y="1035050"/>
                        <a:pt x="146050" y="1035050"/>
                      </a:cubicBezTo>
                      <a:cubicBezTo>
                        <a:pt x="146050" y="985838"/>
                        <a:pt x="146050" y="937339"/>
                        <a:pt x="146050" y="887413"/>
                      </a:cubicBezTo>
                      <a:close/>
                      <a:moveTo>
                        <a:pt x="958850" y="812800"/>
                      </a:moveTo>
                      <a:cubicBezTo>
                        <a:pt x="958850" y="861246"/>
                        <a:pt x="958850" y="910404"/>
                        <a:pt x="958850" y="958850"/>
                      </a:cubicBezTo>
                      <a:cubicBezTo>
                        <a:pt x="983908" y="958850"/>
                        <a:pt x="1007534" y="958850"/>
                        <a:pt x="1031875" y="958850"/>
                      </a:cubicBezTo>
                      <a:cubicBezTo>
                        <a:pt x="1031875" y="909692"/>
                        <a:pt x="1031875" y="861958"/>
                        <a:pt x="1031875" y="812800"/>
                      </a:cubicBezTo>
                      <a:cubicBezTo>
                        <a:pt x="1006818" y="812800"/>
                        <a:pt x="982476" y="812800"/>
                        <a:pt x="958850" y="812800"/>
                      </a:cubicBezTo>
                      <a:close/>
                      <a:moveTo>
                        <a:pt x="74612" y="812800"/>
                      </a:moveTo>
                      <a:cubicBezTo>
                        <a:pt x="74612" y="910935"/>
                        <a:pt x="74612" y="1008353"/>
                        <a:pt x="74612" y="1106487"/>
                      </a:cubicBezTo>
                      <a:cubicBezTo>
                        <a:pt x="172216" y="1106487"/>
                        <a:pt x="269108" y="1106487"/>
                        <a:pt x="366712" y="1106487"/>
                      </a:cubicBezTo>
                      <a:cubicBezTo>
                        <a:pt x="366712" y="1007636"/>
                        <a:pt x="366712" y="910218"/>
                        <a:pt x="366712" y="812800"/>
                      </a:cubicBezTo>
                      <a:cubicBezTo>
                        <a:pt x="268396" y="812800"/>
                        <a:pt x="172216" y="812800"/>
                        <a:pt x="74612" y="812800"/>
                      </a:cubicBezTo>
                      <a:close/>
                      <a:moveTo>
                        <a:pt x="588962" y="739775"/>
                      </a:moveTo>
                      <a:cubicBezTo>
                        <a:pt x="613304" y="739775"/>
                        <a:pt x="636930" y="739775"/>
                        <a:pt x="661987" y="739775"/>
                      </a:cubicBezTo>
                      <a:cubicBezTo>
                        <a:pt x="661987" y="837723"/>
                        <a:pt x="661987" y="935672"/>
                        <a:pt x="661987" y="1035050"/>
                      </a:cubicBezTo>
                      <a:cubicBezTo>
                        <a:pt x="637646" y="1035050"/>
                        <a:pt x="614020" y="1035050"/>
                        <a:pt x="589678" y="1035050"/>
                      </a:cubicBezTo>
                      <a:cubicBezTo>
                        <a:pt x="589678" y="995728"/>
                        <a:pt x="588962" y="957120"/>
                        <a:pt x="588962" y="917798"/>
                      </a:cubicBezTo>
                      <a:cubicBezTo>
                        <a:pt x="588962" y="908504"/>
                        <a:pt x="588962" y="898494"/>
                        <a:pt x="588962" y="887770"/>
                      </a:cubicBezTo>
                      <a:cubicBezTo>
                        <a:pt x="564621" y="887770"/>
                        <a:pt x="540995" y="887770"/>
                        <a:pt x="515937" y="887770"/>
                      </a:cubicBezTo>
                      <a:cubicBezTo>
                        <a:pt x="515937" y="862747"/>
                        <a:pt x="515937" y="838438"/>
                        <a:pt x="515937" y="813415"/>
                      </a:cubicBezTo>
                      <a:cubicBezTo>
                        <a:pt x="539563" y="813415"/>
                        <a:pt x="563905" y="813415"/>
                        <a:pt x="588962" y="813415"/>
                      </a:cubicBezTo>
                      <a:cubicBezTo>
                        <a:pt x="588962" y="788392"/>
                        <a:pt x="588962" y="764083"/>
                        <a:pt x="588962" y="739775"/>
                      </a:cubicBezTo>
                      <a:close/>
                      <a:moveTo>
                        <a:pt x="1587" y="739775"/>
                      </a:moveTo>
                      <a:cubicBezTo>
                        <a:pt x="148642" y="739775"/>
                        <a:pt x="294983" y="739775"/>
                        <a:pt x="441324" y="739775"/>
                      </a:cubicBezTo>
                      <a:cubicBezTo>
                        <a:pt x="441324" y="886116"/>
                        <a:pt x="441324" y="1031743"/>
                        <a:pt x="441324" y="1179512"/>
                      </a:cubicBezTo>
                      <a:cubicBezTo>
                        <a:pt x="294983" y="1179512"/>
                        <a:pt x="149356" y="1179512"/>
                        <a:pt x="1587" y="1179512"/>
                      </a:cubicBezTo>
                      <a:cubicBezTo>
                        <a:pt x="1587" y="1033171"/>
                        <a:pt x="1587" y="886830"/>
                        <a:pt x="1587" y="739775"/>
                      </a:cubicBezTo>
                      <a:close/>
                      <a:moveTo>
                        <a:pt x="958850" y="665163"/>
                      </a:moveTo>
                      <a:cubicBezTo>
                        <a:pt x="958850" y="690686"/>
                        <a:pt x="958850" y="714083"/>
                        <a:pt x="958850" y="738188"/>
                      </a:cubicBezTo>
                      <a:cubicBezTo>
                        <a:pt x="982956" y="738188"/>
                        <a:pt x="1007061" y="738188"/>
                        <a:pt x="1031875" y="738188"/>
                      </a:cubicBezTo>
                      <a:cubicBezTo>
                        <a:pt x="1031875" y="712665"/>
                        <a:pt x="1031875" y="689268"/>
                        <a:pt x="1031875" y="665163"/>
                      </a:cubicBezTo>
                      <a:cubicBezTo>
                        <a:pt x="1007770" y="665163"/>
                        <a:pt x="982956" y="665163"/>
                        <a:pt x="958850" y="665163"/>
                      </a:cubicBezTo>
                      <a:close/>
                      <a:moveTo>
                        <a:pt x="811212" y="665163"/>
                      </a:moveTo>
                      <a:cubicBezTo>
                        <a:pt x="811212" y="714614"/>
                        <a:pt x="811212" y="763349"/>
                        <a:pt x="811212" y="812800"/>
                      </a:cubicBezTo>
                      <a:cubicBezTo>
                        <a:pt x="860663" y="812800"/>
                        <a:pt x="909398" y="812800"/>
                        <a:pt x="958133" y="812800"/>
                      </a:cubicBezTo>
                      <a:cubicBezTo>
                        <a:pt x="958133" y="788433"/>
                        <a:pt x="958133" y="763349"/>
                        <a:pt x="958849" y="738982"/>
                      </a:cubicBezTo>
                      <a:cubicBezTo>
                        <a:pt x="933765" y="738982"/>
                        <a:pt x="909398" y="738982"/>
                        <a:pt x="884314" y="738982"/>
                      </a:cubicBezTo>
                      <a:cubicBezTo>
                        <a:pt x="884314" y="713181"/>
                        <a:pt x="884314" y="689530"/>
                        <a:pt x="884314" y="665163"/>
                      </a:cubicBezTo>
                      <a:cubicBezTo>
                        <a:pt x="859230" y="665163"/>
                        <a:pt x="835580" y="665163"/>
                        <a:pt x="811212" y="665163"/>
                      </a:cubicBezTo>
                      <a:close/>
                      <a:moveTo>
                        <a:pt x="515937" y="665163"/>
                      </a:moveTo>
                      <a:cubicBezTo>
                        <a:pt x="540279" y="665163"/>
                        <a:pt x="564621" y="665163"/>
                        <a:pt x="588962" y="665163"/>
                      </a:cubicBezTo>
                      <a:cubicBezTo>
                        <a:pt x="588962" y="690034"/>
                        <a:pt x="588246" y="714904"/>
                        <a:pt x="588246" y="739775"/>
                      </a:cubicBezTo>
                      <a:cubicBezTo>
                        <a:pt x="564621" y="739775"/>
                        <a:pt x="540279" y="739775"/>
                        <a:pt x="515937" y="739775"/>
                      </a:cubicBezTo>
                      <a:cubicBezTo>
                        <a:pt x="515937" y="714904"/>
                        <a:pt x="515937" y="690744"/>
                        <a:pt x="515937" y="665163"/>
                      </a:cubicBezTo>
                      <a:close/>
                      <a:moveTo>
                        <a:pt x="366580" y="519113"/>
                      </a:moveTo>
                      <a:cubicBezTo>
                        <a:pt x="417318" y="519113"/>
                        <a:pt x="465913" y="519113"/>
                        <a:pt x="515937" y="519113"/>
                      </a:cubicBezTo>
                      <a:cubicBezTo>
                        <a:pt x="515937" y="543455"/>
                        <a:pt x="515937" y="567796"/>
                        <a:pt x="515937" y="592138"/>
                      </a:cubicBezTo>
                      <a:cubicBezTo>
                        <a:pt x="490925" y="592138"/>
                        <a:pt x="465913" y="592138"/>
                        <a:pt x="441616" y="592138"/>
                      </a:cubicBezTo>
                      <a:cubicBezTo>
                        <a:pt x="441616" y="617195"/>
                        <a:pt x="441616" y="640821"/>
                        <a:pt x="441616" y="665163"/>
                      </a:cubicBezTo>
                      <a:cubicBezTo>
                        <a:pt x="392306" y="665163"/>
                        <a:pt x="343711" y="665163"/>
                        <a:pt x="293687" y="665163"/>
                      </a:cubicBezTo>
                      <a:cubicBezTo>
                        <a:pt x="293687" y="640821"/>
                        <a:pt x="293687" y="616480"/>
                        <a:pt x="293687" y="592138"/>
                      </a:cubicBezTo>
                      <a:cubicBezTo>
                        <a:pt x="317270" y="592138"/>
                        <a:pt x="341567" y="592138"/>
                        <a:pt x="366580" y="592138"/>
                      </a:cubicBezTo>
                      <a:cubicBezTo>
                        <a:pt x="366580" y="567796"/>
                        <a:pt x="366580" y="544170"/>
                        <a:pt x="366580" y="519113"/>
                      </a:cubicBezTo>
                      <a:close/>
                      <a:moveTo>
                        <a:pt x="219075" y="519113"/>
                      </a:moveTo>
                      <a:cubicBezTo>
                        <a:pt x="244657" y="519113"/>
                        <a:pt x="268817" y="519113"/>
                        <a:pt x="293687" y="519113"/>
                      </a:cubicBezTo>
                      <a:cubicBezTo>
                        <a:pt x="293687" y="543455"/>
                        <a:pt x="293687" y="567796"/>
                        <a:pt x="293687" y="592138"/>
                      </a:cubicBezTo>
                      <a:cubicBezTo>
                        <a:pt x="268817" y="592138"/>
                        <a:pt x="244657" y="592138"/>
                        <a:pt x="219075" y="591422"/>
                      </a:cubicBezTo>
                      <a:cubicBezTo>
                        <a:pt x="219075" y="567796"/>
                        <a:pt x="219075" y="543455"/>
                        <a:pt x="219075" y="519113"/>
                      </a:cubicBezTo>
                      <a:close/>
                      <a:moveTo>
                        <a:pt x="1587" y="519113"/>
                      </a:moveTo>
                      <a:cubicBezTo>
                        <a:pt x="50076" y="519113"/>
                        <a:pt x="97851" y="519113"/>
                        <a:pt x="146341" y="519113"/>
                      </a:cubicBezTo>
                      <a:cubicBezTo>
                        <a:pt x="146341" y="542739"/>
                        <a:pt x="146341" y="566364"/>
                        <a:pt x="146341" y="592138"/>
                      </a:cubicBezTo>
                      <a:cubicBezTo>
                        <a:pt x="171298" y="592138"/>
                        <a:pt x="195543" y="592138"/>
                        <a:pt x="219074" y="592138"/>
                      </a:cubicBezTo>
                      <a:cubicBezTo>
                        <a:pt x="219074" y="615764"/>
                        <a:pt x="219074" y="640105"/>
                        <a:pt x="219074" y="665163"/>
                      </a:cubicBezTo>
                      <a:cubicBezTo>
                        <a:pt x="147054" y="665163"/>
                        <a:pt x="74320" y="665163"/>
                        <a:pt x="1587" y="665163"/>
                      </a:cubicBezTo>
                      <a:cubicBezTo>
                        <a:pt x="1587" y="617195"/>
                        <a:pt x="1587" y="568512"/>
                        <a:pt x="1587" y="519113"/>
                      </a:cubicBezTo>
                      <a:close/>
                      <a:moveTo>
                        <a:pt x="589509" y="368915"/>
                      </a:moveTo>
                      <a:cubicBezTo>
                        <a:pt x="613795" y="368915"/>
                        <a:pt x="638081" y="368915"/>
                        <a:pt x="663795" y="368915"/>
                      </a:cubicBezTo>
                      <a:cubicBezTo>
                        <a:pt x="663795" y="418962"/>
                        <a:pt x="663795" y="467578"/>
                        <a:pt x="663795" y="516910"/>
                      </a:cubicBezTo>
                      <a:cubicBezTo>
                        <a:pt x="713081" y="516910"/>
                        <a:pt x="761653" y="516910"/>
                        <a:pt x="810939" y="516910"/>
                      </a:cubicBezTo>
                      <a:cubicBezTo>
                        <a:pt x="810939" y="541933"/>
                        <a:pt x="810939" y="565527"/>
                        <a:pt x="810939" y="589835"/>
                      </a:cubicBezTo>
                      <a:cubicBezTo>
                        <a:pt x="835939" y="589835"/>
                        <a:pt x="860225" y="589835"/>
                        <a:pt x="885225" y="589835"/>
                      </a:cubicBezTo>
                      <a:cubicBezTo>
                        <a:pt x="885225" y="564812"/>
                        <a:pt x="885225" y="541218"/>
                        <a:pt x="885225" y="517625"/>
                      </a:cubicBezTo>
                      <a:cubicBezTo>
                        <a:pt x="910225" y="517625"/>
                        <a:pt x="933797" y="517625"/>
                        <a:pt x="958797" y="517625"/>
                      </a:cubicBezTo>
                      <a:cubicBezTo>
                        <a:pt x="958797" y="541933"/>
                        <a:pt x="958797" y="566242"/>
                        <a:pt x="958797" y="590550"/>
                      </a:cubicBezTo>
                      <a:lnTo>
                        <a:pt x="1031875" y="590550"/>
                      </a:lnTo>
                      <a:lnTo>
                        <a:pt x="1031875" y="519113"/>
                      </a:lnTo>
                      <a:cubicBezTo>
                        <a:pt x="1081801" y="519113"/>
                        <a:pt x="1131013" y="519113"/>
                        <a:pt x="1179512" y="519113"/>
                      </a:cubicBezTo>
                      <a:cubicBezTo>
                        <a:pt x="1179512" y="567796"/>
                        <a:pt x="1179512" y="616480"/>
                        <a:pt x="1179512" y="665163"/>
                      </a:cubicBezTo>
                      <a:cubicBezTo>
                        <a:pt x="1155263" y="665163"/>
                        <a:pt x="1131013" y="665163"/>
                        <a:pt x="1106050" y="665163"/>
                      </a:cubicBezTo>
                      <a:cubicBezTo>
                        <a:pt x="1106050" y="640821"/>
                        <a:pt x="1106050" y="617195"/>
                        <a:pt x="1106050" y="592138"/>
                      </a:cubicBezTo>
                      <a:lnTo>
                        <a:pt x="1032669" y="592138"/>
                      </a:lnTo>
                      <a:lnTo>
                        <a:pt x="1032385" y="592138"/>
                      </a:lnTo>
                      <a:lnTo>
                        <a:pt x="1032387" y="592420"/>
                      </a:lnTo>
                      <a:lnTo>
                        <a:pt x="1032669" y="592138"/>
                      </a:lnTo>
                      <a:cubicBezTo>
                        <a:pt x="1033108" y="592138"/>
                        <a:pt x="1033463" y="592493"/>
                        <a:pt x="1033463" y="592932"/>
                      </a:cubicBezTo>
                      <a:cubicBezTo>
                        <a:pt x="1033463" y="593370"/>
                        <a:pt x="1033108" y="593726"/>
                        <a:pt x="1032669" y="593726"/>
                      </a:cubicBezTo>
                      <a:lnTo>
                        <a:pt x="1032397" y="593454"/>
                      </a:lnTo>
                      <a:lnTo>
                        <a:pt x="1033083" y="664905"/>
                      </a:lnTo>
                      <a:cubicBezTo>
                        <a:pt x="1057369" y="664905"/>
                        <a:pt x="1081655" y="664905"/>
                        <a:pt x="1105940" y="664905"/>
                      </a:cubicBezTo>
                      <a:cubicBezTo>
                        <a:pt x="1105940" y="713522"/>
                        <a:pt x="1105940" y="762139"/>
                        <a:pt x="1105940" y="812185"/>
                      </a:cubicBezTo>
                      <a:cubicBezTo>
                        <a:pt x="1131655" y="812185"/>
                        <a:pt x="1155941" y="812185"/>
                        <a:pt x="1179512" y="812185"/>
                      </a:cubicBezTo>
                      <a:cubicBezTo>
                        <a:pt x="1179512" y="836493"/>
                        <a:pt x="1179512" y="861517"/>
                        <a:pt x="1179512" y="885825"/>
                      </a:cubicBezTo>
                      <a:cubicBezTo>
                        <a:pt x="1155226" y="885825"/>
                        <a:pt x="1130941" y="885825"/>
                        <a:pt x="1106655" y="885825"/>
                      </a:cubicBezTo>
                      <a:cubicBezTo>
                        <a:pt x="1106655" y="935872"/>
                        <a:pt x="1106655" y="984488"/>
                        <a:pt x="1106655" y="1033820"/>
                      </a:cubicBezTo>
                      <a:cubicBezTo>
                        <a:pt x="1131655" y="1033820"/>
                        <a:pt x="1155941" y="1033820"/>
                        <a:pt x="1179512" y="1033820"/>
                      </a:cubicBezTo>
                      <a:cubicBezTo>
                        <a:pt x="1179512" y="1083152"/>
                        <a:pt x="1179512" y="1131769"/>
                        <a:pt x="1179512" y="1181100"/>
                      </a:cubicBezTo>
                      <a:cubicBezTo>
                        <a:pt x="1109512" y="1181100"/>
                        <a:pt x="1039511" y="1181100"/>
                        <a:pt x="968083" y="1181100"/>
                      </a:cubicBezTo>
                      <a:cubicBezTo>
                        <a:pt x="968083" y="1156792"/>
                        <a:pt x="968083" y="1132483"/>
                        <a:pt x="968083" y="1107460"/>
                      </a:cubicBezTo>
                      <a:cubicBezTo>
                        <a:pt x="989511" y="1107460"/>
                        <a:pt x="1010226" y="1107460"/>
                        <a:pt x="1031654" y="1107460"/>
                      </a:cubicBezTo>
                      <a:cubicBezTo>
                        <a:pt x="1031654" y="1083152"/>
                        <a:pt x="1031654" y="1058843"/>
                        <a:pt x="1031654" y="1034535"/>
                      </a:cubicBezTo>
                      <a:cubicBezTo>
                        <a:pt x="1007368" y="1034535"/>
                        <a:pt x="983797" y="1034535"/>
                        <a:pt x="958797" y="1034535"/>
                      </a:cubicBezTo>
                      <a:cubicBezTo>
                        <a:pt x="958797" y="1058129"/>
                        <a:pt x="958797" y="1081722"/>
                        <a:pt x="958797" y="1107460"/>
                      </a:cubicBezTo>
                      <a:cubicBezTo>
                        <a:pt x="933797" y="1107460"/>
                        <a:pt x="909511" y="1107460"/>
                        <a:pt x="885225" y="1107460"/>
                      </a:cubicBezTo>
                      <a:cubicBezTo>
                        <a:pt x="885225" y="1132483"/>
                        <a:pt x="885225" y="1156077"/>
                        <a:pt x="885225" y="1180385"/>
                      </a:cubicBezTo>
                      <a:cubicBezTo>
                        <a:pt x="835225" y="1180385"/>
                        <a:pt x="786653" y="1180385"/>
                        <a:pt x="738081" y="1180385"/>
                      </a:cubicBezTo>
                      <a:cubicBezTo>
                        <a:pt x="738081" y="1156792"/>
                        <a:pt x="738081" y="1132483"/>
                        <a:pt x="738081" y="1107460"/>
                      </a:cubicBezTo>
                      <a:cubicBezTo>
                        <a:pt x="761653" y="1107460"/>
                        <a:pt x="785224" y="1107460"/>
                        <a:pt x="810225" y="1107460"/>
                      </a:cubicBezTo>
                      <a:cubicBezTo>
                        <a:pt x="810225" y="1083152"/>
                        <a:pt x="810225" y="1058843"/>
                        <a:pt x="810225" y="1033820"/>
                      </a:cubicBezTo>
                      <a:cubicBezTo>
                        <a:pt x="785939" y="1033820"/>
                        <a:pt x="762367" y="1033820"/>
                        <a:pt x="737367" y="1033820"/>
                      </a:cubicBezTo>
                      <a:cubicBezTo>
                        <a:pt x="737367" y="910848"/>
                        <a:pt x="737367" y="788592"/>
                        <a:pt x="737367" y="664190"/>
                      </a:cubicBezTo>
                      <a:cubicBezTo>
                        <a:pt x="687367" y="664190"/>
                        <a:pt x="638795" y="664190"/>
                        <a:pt x="589509" y="664190"/>
                      </a:cubicBezTo>
                      <a:cubicBezTo>
                        <a:pt x="589509" y="615573"/>
                        <a:pt x="589509" y="566957"/>
                        <a:pt x="589509" y="516910"/>
                      </a:cubicBezTo>
                      <a:cubicBezTo>
                        <a:pt x="564509" y="516910"/>
                        <a:pt x="540937" y="516910"/>
                        <a:pt x="516652" y="516910"/>
                      </a:cubicBezTo>
                      <a:cubicBezTo>
                        <a:pt x="516652" y="492602"/>
                        <a:pt x="516652" y="468293"/>
                        <a:pt x="516652" y="443270"/>
                      </a:cubicBezTo>
                      <a:cubicBezTo>
                        <a:pt x="540223" y="443270"/>
                        <a:pt x="564509" y="443270"/>
                        <a:pt x="589509" y="443270"/>
                      </a:cubicBezTo>
                      <a:cubicBezTo>
                        <a:pt x="589509" y="417532"/>
                        <a:pt x="589509" y="393224"/>
                        <a:pt x="589509" y="368915"/>
                      </a:cubicBezTo>
                      <a:close/>
                      <a:moveTo>
                        <a:pt x="884237" y="149225"/>
                      </a:moveTo>
                      <a:cubicBezTo>
                        <a:pt x="932972" y="149225"/>
                        <a:pt x="982423" y="149225"/>
                        <a:pt x="1031874" y="149225"/>
                      </a:cubicBezTo>
                      <a:cubicBezTo>
                        <a:pt x="1031874" y="197436"/>
                        <a:pt x="1031874" y="246355"/>
                        <a:pt x="1031874" y="295275"/>
                      </a:cubicBezTo>
                      <a:cubicBezTo>
                        <a:pt x="983140" y="295275"/>
                        <a:pt x="933688" y="295275"/>
                        <a:pt x="884237" y="295275"/>
                      </a:cubicBezTo>
                      <a:cubicBezTo>
                        <a:pt x="884237" y="246355"/>
                        <a:pt x="884237" y="198145"/>
                        <a:pt x="884237" y="149225"/>
                      </a:cubicBezTo>
                      <a:close/>
                      <a:moveTo>
                        <a:pt x="146050" y="149225"/>
                      </a:moveTo>
                      <a:cubicBezTo>
                        <a:pt x="194549" y="149225"/>
                        <a:pt x="243762" y="149225"/>
                        <a:pt x="293687" y="149225"/>
                      </a:cubicBezTo>
                      <a:cubicBezTo>
                        <a:pt x="293687" y="197436"/>
                        <a:pt x="293687" y="246355"/>
                        <a:pt x="293687" y="295275"/>
                      </a:cubicBezTo>
                      <a:cubicBezTo>
                        <a:pt x="244475" y="295275"/>
                        <a:pt x="195263" y="295275"/>
                        <a:pt x="146050" y="295275"/>
                      </a:cubicBezTo>
                      <a:cubicBezTo>
                        <a:pt x="146050" y="246355"/>
                        <a:pt x="146050" y="197436"/>
                        <a:pt x="146050" y="149225"/>
                      </a:cubicBezTo>
                      <a:close/>
                      <a:moveTo>
                        <a:pt x="811212" y="74613"/>
                      </a:moveTo>
                      <a:cubicBezTo>
                        <a:pt x="811212" y="173516"/>
                        <a:pt x="811212" y="271702"/>
                        <a:pt x="811212" y="369888"/>
                      </a:cubicBezTo>
                      <a:cubicBezTo>
                        <a:pt x="909583" y="369888"/>
                        <a:pt x="1007954" y="369888"/>
                        <a:pt x="1104899" y="369888"/>
                      </a:cubicBezTo>
                      <a:cubicBezTo>
                        <a:pt x="1104899" y="270985"/>
                        <a:pt x="1104899" y="172799"/>
                        <a:pt x="1104899" y="74613"/>
                      </a:cubicBezTo>
                      <a:cubicBezTo>
                        <a:pt x="1007241" y="74613"/>
                        <a:pt x="908870" y="74613"/>
                        <a:pt x="811212" y="74613"/>
                      </a:cubicBezTo>
                      <a:close/>
                      <a:moveTo>
                        <a:pt x="73025" y="74613"/>
                      </a:moveTo>
                      <a:cubicBezTo>
                        <a:pt x="73025" y="173223"/>
                        <a:pt x="73025" y="271119"/>
                        <a:pt x="73025" y="368300"/>
                      </a:cubicBezTo>
                      <a:cubicBezTo>
                        <a:pt x="171876" y="368300"/>
                        <a:pt x="270010" y="368300"/>
                        <a:pt x="366712" y="368300"/>
                      </a:cubicBezTo>
                      <a:cubicBezTo>
                        <a:pt x="366712" y="269690"/>
                        <a:pt x="366712" y="172509"/>
                        <a:pt x="366712" y="74613"/>
                      </a:cubicBezTo>
                      <a:cubicBezTo>
                        <a:pt x="269294" y="74613"/>
                        <a:pt x="171876" y="74613"/>
                        <a:pt x="73025" y="74613"/>
                      </a:cubicBezTo>
                      <a:close/>
                      <a:moveTo>
                        <a:pt x="736600" y="0"/>
                      </a:moveTo>
                      <a:cubicBezTo>
                        <a:pt x="883761" y="0"/>
                        <a:pt x="1032351" y="0"/>
                        <a:pt x="1179512" y="0"/>
                      </a:cubicBezTo>
                      <a:cubicBezTo>
                        <a:pt x="1179512" y="147161"/>
                        <a:pt x="1179512" y="295751"/>
                        <a:pt x="1179512" y="442912"/>
                      </a:cubicBezTo>
                      <a:cubicBezTo>
                        <a:pt x="1032351" y="442912"/>
                        <a:pt x="884476" y="442912"/>
                        <a:pt x="736600" y="442912"/>
                      </a:cubicBezTo>
                      <a:cubicBezTo>
                        <a:pt x="736600" y="294322"/>
                        <a:pt x="736600" y="147161"/>
                        <a:pt x="736600" y="0"/>
                      </a:cubicBezTo>
                      <a:close/>
                      <a:moveTo>
                        <a:pt x="515937" y="0"/>
                      </a:moveTo>
                      <a:cubicBezTo>
                        <a:pt x="565223" y="0"/>
                        <a:pt x="613795" y="0"/>
                        <a:pt x="663081" y="0"/>
                      </a:cubicBezTo>
                      <a:cubicBezTo>
                        <a:pt x="663081" y="72925"/>
                        <a:pt x="663081" y="146565"/>
                        <a:pt x="663081" y="220920"/>
                      </a:cubicBezTo>
                      <a:cubicBezTo>
                        <a:pt x="638795" y="220920"/>
                        <a:pt x="614509" y="220920"/>
                        <a:pt x="589509" y="220920"/>
                      </a:cubicBezTo>
                      <a:cubicBezTo>
                        <a:pt x="589509" y="270967"/>
                        <a:pt x="589509" y="319583"/>
                        <a:pt x="589509" y="368915"/>
                      </a:cubicBezTo>
                      <a:cubicBezTo>
                        <a:pt x="565223" y="368915"/>
                        <a:pt x="540937" y="368915"/>
                        <a:pt x="516652" y="368915"/>
                      </a:cubicBezTo>
                      <a:cubicBezTo>
                        <a:pt x="516652" y="295275"/>
                        <a:pt x="516652" y="222350"/>
                        <a:pt x="516652" y="147995"/>
                      </a:cubicBezTo>
                      <a:cubicBezTo>
                        <a:pt x="540223" y="147995"/>
                        <a:pt x="564509" y="147995"/>
                        <a:pt x="588795" y="147995"/>
                      </a:cubicBezTo>
                      <a:cubicBezTo>
                        <a:pt x="588795" y="122972"/>
                        <a:pt x="588795" y="99378"/>
                        <a:pt x="588795" y="74355"/>
                      </a:cubicBezTo>
                      <a:cubicBezTo>
                        <a:pt x="565223" y="74355"/>
                        <a:pt x="540937" y="74355"/>
                        <a:pt x="515937" y="74355"/>
                      </a:cubicBezTo>
                      <a:cubicBezTo>
                        <a:pt x="515937" y="48617"/>
                        <a:pt x="515937" y="24308"/>
                        <a:pt x="515937" y="0"/>
                      </a:cubicBezTo>
                      <a:close/>
                      <a:moveTo>
                        <a:pt x="0" y="0"/>
                      </a:moveTo>
                      <a:cubicBezTo>
                        <a:pt x="147109" y="0"/>
                        <a:pt x="294931" y="0"/>
                        <a:pt x="441325" y="0"/>
                      </a:cubicBezTo>
                      <a:cubicBezTo>
                        <a:pt x="441325" y="147637"/>
                        <a:pt x="441325" y="294558"/>
                        <a:pt x="441325" y="442912"/>
                      </a:cubicBezTo>
                      <a:cubicBezTo>
                        <a:pt x="294931" y="442912"/>
                        <a:pt x="147823" y="442912"/>
                        <a:pt x="0" y="442912"/>
                      </a:cubicBezTo>
                      <a:cubicBezTo>
                        <a:pt x="0" y="295275"/>
                        <a:pt x="0" y="147637"/>
                        <a:pt x="0"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sp>
        <p:nvSpPr>
          <p:cNvPr id="14" name="Rectangle 13">
            <a:extLst>
              <a:ext uri="{FF2B5EF4-FFF2-40B4-BE49-F238E27FC236}">
                <a16:creationId xmlns:a16="http://schemas.microsoft.com/office/drawing/2014/main" id="{EC5776DD-CD81-4340-A8AD-2A477AC72AC9}"/>
              </a:ext>
            </a:extLst>
          </p:cNvPr>
          <p:cNvSpPr/>
          <p:nvPr/>
        </p:nvSpPr>
        <p:spPr bwMode="auto">
          <a:xfrm>
            <a:off x="3386348" y="0"/>
            <a:ext cx="2372317" cy="271811"/>
          </a:xfrm>
          <a:prstGeom prst="rect">
            <a:avLst/>
          </a:prstGeom>
          <a:solidFill>
            <a:srgbClr val="0A4E7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200" dirty="0">
                <a:solidFill>
                  <a:schemeClr val="bg1"/>
                </a:solidFill>
                <a:latin typeface="+mn-lt"/>
                <a:cs typeface="+mn-cs"/>
              </a:rPr>
              <a:t>Exemplarische Darstellung</a:t>
            </a:r>
          </a:p>
        </p:txBody>
      </p:sp>
    </p:spTree>
    <p:extLst>
      <p:ext uri="{BB962C8B-B14F-4D97-AF65-F5344CB8AC3E}">
        <p14:creationId xmlns:p14="http://schemas.microsoft.com/office/powerpoint/2010/main" val="3592348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E10F2B4-9639-4A81-95C0-5314BA791586}"/>
              </a:ext>
            </a:extLst>
          </p:cNvPr>
          <p:cNvGraphicFramePr>
            <a:graphicFrameLocks noChangeAspect="1"/>
          </p:cNvGraphicFramePr>
          <p:nvPr>
            <p:custDataLst>
              <p:tags r:id="rId2"/>
            </p:custDataLst>
            <p:extLst>
              <p:ext uri="{D42A27DB-BD31-4B8C-83A1-F6EECF244321}">
                <p14:modId xmlns:p14="http://schemas.microsoft.com/office/powerpoint/2010/main" val="428057879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8854" name="think-cell Slide" r:id="rId5" imgW="473" imgH="476" progId="TCLayout.ActiveDocument.1">
                  <p:embed/>
                </p:oleObj>
              </mc:Choice>
              <mc:Fallback>
                <p:oleObj name="think-cell Slide" r:id="rId5" imgW="473" imgH="476" progId="TCLayout.ActiveDocument.1">
                  <p:embed/>
                  <p:pic>
                    <p:nvPicPr>
                      <p:cNvPr id="9" name="Object 8" hidden="1">
                        <a:extLst>
                          <a:ext uri="{FF2B5EF4-FFF2-40B4-BE49-F238E27FC236}">
                            <a16:creationId xmlns:a16="http://schemas.microsoft.com/office/drawing/2014/main" id="{3E10F2B4-9639-4A81-95C0-5314BA79158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Title 2"/>
          <p:cNvSpPr>
            <a:spLocks noGrp="1"/>
          </p:cNvSpPr>
          <p:nvPr>
            <p:ph type="title"/>
          </p:nvPr>
        </p:nvSpPr>
        <p:spPr>
          <a:xfrm>
            <a:off x="472500" y="300174"/>
            <a:ext cx="6331747" cy="784830"/>
          </a:xfrm>
        </p:spPr>
        <p:txBody>
          <a:bodyPr vert="horz"/>
          <a:lstStyle/>
          <a:p>
            <a:r>
              <a:rPr lang="de-DE" dirty="0"/>
              <a:t>Bei positivem Testergebnis sind zunächst alle teilnehmenden Kinder Corona-Verdachtspersonen</a:t>
            </a:r>
          </a:p>
        </p:txBody>
      </p:sp>
      <p:grpSp>
        <p:nvGrpSpPr>
          <p:cNvPr id="95" name="Group 94">
            <a:extLst>
              <a:ext uri="{FF2B5EF4-FFF2-40B4-BE49-F238E27FC236}">
                <a16:creationId xmlns:a16="http://schemas.microsoft.com/office/drawing/2014/main" id="{F806ABFF-5251-47B5-AFB6-6D139C6E81AC}"/>
              </a:ext>
            </a:extLst>
          </p:cNvPr>
          <p:cNvGrpSpPr/>
          <p:nvPr/>
        </p:nvGrpSpPr>
        <p:grpSpPr>
          <a:xfrm>
            <a:off x="472499" y="1306875"/>
            <a:ext cx="8200013" cy="262417"/>
            <a:chOff x="629999" y="1319511"/>
            <a:chExt cx="2588445" cy="349889"/>
          </a:xfrm>
        </p:grpSpPr>
        <p:sp>
          <p:nvSpPr>
            <p:cNvPr id="96" name="ee4pContent1">
              <a:extLst>
                <a:ext uri="{FF2B5EF4-FFF2-40B4-BE49-F238E27FC236}">
                  <a16:creationId xmlns:a16="http://schemas.microsoft.com/office/drawing/2014/main" id="{0E1B2587-5F56-47FC-A123-066979C492BD}"/>
                </a:ext>
              </a:extLst>
            </p:cNvPr>
            <p:cNvSpPr txBox="1"/>
            <p:nvPr/>
          </p:nvSpPr>
          <p:spPr>
            <a:xfrm>
              <a:off x="629999" y="1319511"/>
              <a:ext cx="2588444" cy="3077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defPPr>
                <a:defRPr lang="en-US"/>
              </a:defPPr>
              <a:lvl1pPr>
                <a:buSzPct val="100000"/>
                <a:buFont typeface="Trebuchet MS" panose="020B0603020202020204" pitchFamily="34" charset="0"/>
                <a:buChar char="​"/>
                <a:defRPr sz="1200">
                  <a:solidFill>
                    <a:srgbClr val="008DC9"/>
                  </a:solidFill>
                </a:defRPr>
              </a:lvl1pPr>
              <a:lvl2pPr marL="288000" lvl="1" indent="-180000">
                <a:buClr>
                  <a:srgbClr val="008DC9"/>
                </a:buClr>
                <a:buSzPct val="100000"/>
                <a:buFont typeface="Trebuchet MS" panose="020B0603020202020204" pitchFamily="34" charset="0"/>
                <a:buChar char="•"/>
                <a:defRPr sz="1200">
                  <a:solidFill>
                    <a:srgbClr val="008DC9"/>
                  </a:solidFill>
                </a:defRPr>
              </a:lvl2pPr>
              <a:lvl3pPr marL="576000" lvl="2" indent="-180000">
                <a:buClr>
                  <a:srgbClr val="008DC9"/>
                </a:buClr>
                <a:buSzPct val="100000"/>
                <a:buFont typeface="Arial" panose="020B0604020202020204" pitchFamily="34" charset="0"/>
                <a:buChar char="–"/>
                <a:defRPr sz="1200">
                  <a:solidFill>
                    <a:srgbClr val="008DC9"/>
                  </a:solidFill>
                </a:defRPr>
              </a:lvl3pPr>
              <a:lvl4pPr marL="0" lvl="3">
                <a:buSzPct val="100000"/>
                <a:buFont typeface="Trebuchet MS" panose="020B0603020202020204" pitchFamily="34" charset="0"/>
                <a:buChar char="​"/>
                <a:defRPr sz="1600">
                  <a:solidFill>
                    <a:srgbClr val="006A97"/>
                  </a:solidFill>
                </a:defRPr>
              </a:lvl4pPr>
              <a:lvl5pPr marL="0" lvl="4">
                <a:buSzPct val="100000"/>
                <a:buFont typeface="Trebuchet MS" panose="020B0603020202020204" pitchFamily="34" charset="0"/>
                <a:buChar char="​"/>
                <a:defRPr sz="1600" b="1">
                  <a:solidFill>
                    <a:srgbClr val="008DC9"/>
                  </a:solidFill>
                </a:defRPr>
              </a:lvl5pPr>
              <a:lvl6pPr marL="288000" lvl="5" indent="-180000">
                <a:buClr>
                  <a:srgbClr val="008DC9"/>
                </a:buClr>
                <a:buSzPct val="100000"/>
                <a:buFont typeface="Trebuchet MS" panose="020B0603020202020204" pitchFamily="34" charset="0"/>
                <a:buChar char="•"/>
                <a:defRPr sz="1600">
                  <a:solidFill>
                    <a:srgbClr val="008DC9"/>
                  </a:solidFill>
                </a:defRPr>
              </a:lvl6pPr>
              <a:lvl7pPr marL="0" lvl="6">
                <a:buSzPct val="100000"/>
                <a:buFont typeface="Trebuchet MS" panose="020B0603020202020204" pitchFamily="34" charset="0"/>
                <a:buChar char="​"/>
                <a:defRPr sz="4400">
                  <a:solidFill>
                    <a:srgbClr val="008DC9"/>
                  </a:solidFill>
                </a:defRPr>
              </a:lvl7pPr>
              <a:lvl8pPr marL="0" lvl="7">
                <a:buSzPct val="100000"/>
                <a:buFont typeface="Trebuchet MS" panose="020B0603020202020204" pitchFamily="34" charset="0"/>
                <a:buChar char="​"/>
                <a:defRPr sz="4000">
                  <a:solidFill>
                    <a:srgbClr val="006A97"/>
                  </a:solidFill>
                </a:defRPr>
              </a:lvl8pPr>
              <a:lvl9pPr marL="0" lvl="8">
                <a:buSzPct val="100000"/>
                <a:buFont typeface="Trebuchet MS" panose="020B0603020202020204" pitchFamily="34" charset="0"/>
                <a:buChar char="​"/>
                <a:defRPr sz="2400">
                  <a:solidFill>
                    <a:srgbClr val="006A97"/>
                  </a:solidFill>
                </a:defRPr>
              </a:lvl9pPr>
            </a:lstStyle>
            <a:p>
              <a:pPr>
                <a:buNone/>
              </a:pPr>
              <a:r>
                <a:rPr lang="de-DE" b="1" dirty="0">
                  <a:solidFill>
                    <a:srgbClr val="0A4E78"/>
                  </a:solidFill>
                  <a:latin typeface="+mj-lt"/>
                </a:rPr>
                <a:t>Befundübermittlung der Poolprobe</a:t>
              </a:r>
            </a:p>
          </p:txBody>
        </p:sp>
        <p:cxnSp>
          <p:nvCxnSpPr>
            <p:cNvPr id="97" name="Straight Connector 96">
              <a:extLst>
                <a:ext uri="{FF2B5EF4-FFF2-40B4-BE49-F238E27FC236}">
                  <a16:creationId xmlns:a16="http://schemas.microsoft.com/office/drawing/2014/main" id="{473B1687-CE06-458C-9EC6-BA1F1FA0AB70}"/>
                </a:ext>
              </a:extLst>
            </p:cNvPr>
            <p:cNvCxnSpPr>
              <a:cxnSpLocks/>
            </p:cNvCxnSpPr>
            <p:nvPr/>
          </p:nvCxnSpPr>
          <p:spPr>
            <a:xfrm>
              <a:off x="630000" y="1669400"/>
              <a:ext cx="2588444" cy="0"/>
            </a:xfrm>
            <a:prstGeom prst="line">
              <a:avLst/>
            </a:prstGeom>
            <a:ln w="19050" cap="rnd" cmpd="sng" algn="ctr">
              <a:solidFill>
                <a:srgbClr val="006A9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8" name="Rectangle 25">
            <a:extLst>
              <a:ext uri="{FF2B5EF4-FFF2-40B4-BE49-F238E27FC236}">
                <a16:creationId xmlns:a16="http://schemas.microsoft.com/office/drawing/2014/main" id="{193EC274-45A8-4491-8BC9-DFB56F985D98}"/>
              </a:ext>
            </a:extLst>
          </p:cNvPr>
          <p:cNvSpPr>
            <a:spLocks noChangeArrowheads="1"/>
          </p:cNvSpPr>
          <p:nvPr/>
        </p:nvSpPr>
        <p:spPr bwMode="auto">
          <a:xfrm>
            <a:off x="510906" y="3068706"/>
            <a:ext cx="1620000" cy="623248"/>
          </a:xfrm>
          <a:prstGeom prst="rect">
            <a:avLst/>
          </a:prstGeom>
          <a:solidFill>
            <a:schemeClr val="bg1"/>
          </a:solidFill>
          <a:ln w="9525" cap="rnd" cmpd="sng" algn="ctr">
            <a:noFill/>
            <a:prstDash val="solid"/>
            <a:round/>
            <a:headEnd type="none" w="med" len="med"/>
            <a:tailEnd type="none" w="med" len="med"/>
          </a:ln>
        </p:spPr>
        <p:txBody>
          <a:bodyPr wrap="square" lIns="0" tIns="0" rIns="0" bIns="0" anchor="t">
            <a:spAutoFit/>
          </a:bodyPr>
          <a:lstStyle/>
          <a:p>
            <a:pPr marL="34528" lvl="1" algn="ctr">
              <a:lnSpc>
                <a:spcPct val="90000"/>
              </a:lnSpc>
              <a:spcAft>
                <a:spcPts val="450"/>
              </a:spcAft>
              <a:buClr>
                <a:schemeClr val="tx2"/>
              </a:buClr>
              <a:buSzPct val="100000"/>
            </a:pPr>
            <a:r>
              <a:rPr lang="de-DE" sz="900" spc="-15" dirty="0">
                <a:solidFill>
                  <a:srgbClr val="37373A"/>
                </a:solidFill>
                <a:latin typeface="+mj-lt"/>
              </a:rPr>
              <a:t>Im Labor findet die Analyse der </a:t>
            </a:r>
            <a:r>
              <a:rPr lang="de-DE" sz="900" b="1" spc="-15" dirty="0">
                <a:solidFill>
                  <a:srgbClr val="37373A"/>
                </a:solidFill>
                <a:latin typeface="+mj-lt"/>
              </a:rPr>
              <a:t>PCR-Pool-Tests</a:t>
            </a:r>
            <a:r>
              <a:rPr lang="de-DE" sz="900" spc="-15" dirty="0">
                <a:solidFill>
                  <a:srgbClr val="37373A"/>
                </a:solidFill>
                <a:latin typeface="+mj-lt"/>
              </a:rPr>
              <a:t> statt. Das Ergebnis wird schnellstmöglich ausgewertet und die Befundübermittlung vorbereitet.</a:t>
            </a:r>
          </a:p>
        </p:txBody>
      </p:sp>
      <p:grpSp>
        <p:nvGrpSpPr>
          <p:cNvPr id="119" name="Group 118">
            <a:extLst>
              <a:ext uri="{FF2B5EF4-FFF2-40B4-BE49-F238E27FC236}">
                <a16:creationId xmlns:a16="http://schemas.microsoft.com/office/drawing/2014/main" id="{E085E4F1-62B5-48F4-86CF-FC0587281E2C}"/>
              </a:ext>
            </a:extLst>
          </p:cNvPr>
          <p:cNvGrpSpPr>
            <a:grpSpLocks noChangeAspect="1"/>
          </p:cNvGrpSpPr>
          <p:nvPr/>
        </p:nvGrpSpPr>
        <p:grpSpPr>
          <a:xfrm>
            <a:off x="1050906" y="2454673"/>
            <a:ext cx="540000" cy="540000"/>
            <a:chOff x="5273400" y="2606400"/>
            <a:chExt cx="1645200" cy="1645200"/>
          </a:xfrm>
        </p:grpSpPr>
        <p:sp>
          <p:nvSpPr>
            <p:cNvPr id="120" name="AutoShape 11">
              <a:extLst>
                <a:ext uri="{FF2B5EF4-FFF2-40B4-BE49-F238E27FC236}">
                  <a16:creationId xmlns:a16="http://schemas.microsoft.com/office/drawing/2014/main" id="{BDBCA3A6-C29E-430D-B472-E0C9D84D1057}"/>
                </a:ext>
              </a:extLst>
            </p:cNvPr>
            <p:cNvSpPr>
              <a:spLocks noChangeAspect="1" noChangeArrowheads="1" noTextEdit="1"/>
            </p:cNvSpPr>
            <p:nvPr/>
          </p:nvSpPr>
          <p:spPr bwMode="auto">
            <a:xfrm>
              <a:off x="5273400" y="2606400"/>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nvGrpSpPr>
            <p:cNvPr id="121" name="Group 120">
              <a:extLst>
                <a:ext uri="{FF2B5EF4-FFF2-40B4-BE49-F238E27FC236}">
                  <a16:creationId xmlns:a16="http://schemas.microsoft.com/office/drawing/2014/main" id="{5D9277A7-7D5B-470F-BC74-7E1835E45885}"/>
                </a:ext>
              </a:extLst>
            </p:cNvPr>
            <p:cNvGrpSpPr/>
            <p:nvPr/>
          </p:nvGrpSpPr>
          <p:grpSpPr>
            <a:xfrm>
              <a:off x="5674798" y="2854323"/>
              <a:ext cx="813079" cy="1121555"/>
              <a:chOff x="5674798" y="2854323"/>
              <a:chExt cx="813079" cy="1121555"/>
            </a:xfrm>
          </p:grpSpPr>
          <p:sp>
            <p:nvSpPr>
              <p:cNvPr id="138" name="Freeform 13">
                <a:extLst>
                  <a:ext uri="{FF2B5EF4-FFF2-40B4-BE49-F238E27FC236}">
                    <a16:creationId xmlns:a16="http://schemas.microsoft.com/office/drawing/2014/main" id="{EE117265-ECA9-4A6C-8FA2-1C3F6CCB69E5}"/>
                  </a:ext>
                </a:extLst>
              </p:cNvPr>
              <p:cNvSpPr>
                <a:spLocks noEditPoints="1"/>
              </p:cNvSpPr>
              <p:nvPr/>
            </p:nvSpPr>
            <p:spPr bwMode="auto">
              <a:xfrm>
                <a:off x="5702599" y="2854323"/>
                <a:ext cx="785278" cy="1121555"/>
              </a:xfrm>
              <a:custGeom>
                <a:avLst/>
                <a:gdLst>
                  <a:gd name="T0" fmla="*/ 1100 w 1100"/>
                  <a:gd name="T1" fmla="*/ 1446 h 1571"/>
                  <a:gd name="T2" fmla="*/ 1100 w 1100"/>
                  <a:gd name="T3" fmla="*/ 1549 h 1571"/>
                  <a:gd name="T4" fmla="*/ 1078 w 1100"/>
                  <a:gd name="T5" fmla="*/ 1571 h 1571"/>
                  <a:gd name="T6" fmla="*/ 22 w 1100"/>
                  <a:gd name="T7" fmla="*/ 1571 h 1571"/>
                  <a:gd name="T8" fmla="*/ 0 w 1100"/>
                  <a:gd name="T9" fmla="*/ 1549 h 1571"/>
                  <a:gd name="T10" fmla="*/ 0 w 1100"/>
                  <a:gd name="T11" fmla="*/ 1446 h 1571"/>
                  <a:gd name="T12" fmla="*/ 22 w 1100"/>
                  <a:gd name="T13" fmla="*/ 1424 h 1571"/>
                  <a:gd name="T14" fmla="*/ 83 w 1100"/>
                  <a:gd name="T15" fmla="*/ 1424 h 1571"/>
                  <a:gd name="T16" fmla="*/ 380 w 1100"/>
                  <a:gd name="T17" fmla="*/ 1424 h 1571"/>
                  <a:gd name="T18" fmla="*/ 497 w 1100"/>
                  <a:gd name="T19" fmla="*/ 1424 h 1571"/>
                  <a:gd name="T20" fmla="*/ 501 w 1100"/>
                  <a:gd name="T21" fmla="*/ 1424 h 1571"/>
                  <a:gd name="T22" fmla="*/ 786 w 1100"/>
                  <a:gd name="T23" fmla="*/ 1058 h 1571"/>
                  <a:gd name="T24" fmla="*/ 710 w 1100"/>
                  <a:gd name="T25" fmla="*/ 832 h 1571"/>
                  <a:gd name="T26" fmla="*/ 794 w 1100"/>
                  <a:gd name="T27" fmla="*/ 717 h 1571"/>
                  <a:gd name="T28" fmla="*/ 924 w 1100"/>
                  <a:gd name="T29" fmla="*/ 1058 h 1571"/>
                  <a:gd name="T30" fmla="*/ 771 w 1100"/>
                  <a:gd name="T31" fmla="*/ 1424 h 1571"/>
                  <a:gd name="T32" fmla="*/ 794 w 1100"/>
                  <a:gd name="T33" fmla="*/ 1424 h 1571"/>
                  <a:gd name="T34" fmla="*/ 1078 w 1100"/>
                  <a:gd name="T35" fmla="*/ 1424 h 1571"/>
                  <a:gd name="T36" fmla="*/ 1100 w 1100"/>
                  <a:gd name="T37" fmla="*/ 1446 h 1571"/>
                  <a:gd name="T38" fmla="*/ 150 w 1100"/>
                  <a:gd name="T39" fmla="*/ 916 h 1571"/>
                  <a:gd name="T40" fmla="*/ 176 w 1100"/>
                  <a:gd name="T41" fmla="*/ 927 h 1571"/>
                  <a:gd name="T42" fmla="*/ 174 w 1100"/>
                  <a:gd name="T43" fmla="*/ 931 h 1571"/>
                  <a:gd name="T44" fmla="*/ 186 w 1100"/>
                  <a:gd name="T45" fmla="*/ 960 h 1571"/>
                  <a:gd name="T46" fmla="*/ 250 w 1100"/>
                  <a:gd name="T47" fmla="*/ 987 h 1571"/>
                  <a:gd name="T48" fmla="*/ 279 w 1100"/>
                  <a:gd name="T49" fmla="*/ 975 h 1571"/>
                  <a:gd name="T50" fmla="*/ 280 w 1100"/>
                  <a:gd name="T51" fmla="*/ 972 h 1571"/>
                  <a:gd name="T52" fmla="*/ 310 w 1100"/>
                  <a:gd name="T53" fmla="*/ 984 h 1571"/>
                  <a:gd name="T54" fmla="*/ 339 w 1100"/>
                  <a:gd name="T55" fmla="*/ 973 h 1571"/>
                  <a:gd name="T56" fmla="*/ 417 w 1100"/>
                  <a:gd name="T57" fmla="*/ 789 h 1571"/>
                  <a:gd name="T58" fmla="*/ 369 w 1100"/>
                  <a:gd name="T59" fmla="*/ 654 h 1571"/>
                  <a:gd name="T60" fmla="*/ 566 w 1100"/>
                  <a:gd name="T61" fmla="*/ 437 h 1571"/>
                  <a:gd name="T62" fmla="*/ 702 w 1100"/>
                  <a:gd name="T63" fmla="*/ 118 h 1571"/>
                  <a:gd name="T64" fmla="*/ 648 w 1100"/>
                  <a:gd name="T65" fmla="*/ 94 h 1571"/>
                  <a:gd name="T66" fmla="*/ 670 w 1100"/>
                  <a:gd name="T67" fmla="*/ 41 h 1571"/>
                  <a:gd name="T68" fmla="*/ 574 w 1100"/>
                  <a:gd name="T69" fmla="*/ 0 h 1571"/>
                  <a:gd name="T70" fmla="*/ 552 w 1100"/>
                  <a:gd name="T71" fmla="*/ 54 h 1571"/>
                  <a:gd name="T72" fmla="*/ 501 w 1100"/>
                  <a:gd name="T73" fmla="*/ 32 h 1571"/>
                  <a:gd name="T74" fmla="*/ 138 w 1100"/>
                  <a:gd name="T75" fmla="*/ 887 h 1571"/>
                  <a:gd name="T76" fmla="*/ 150 w 1100"/>
                  <a:gd name="T77" fmla="*/ 916 h 1571"/>
                  <a:gd name="T78" fmla="*/ 586 w 1100"/>
                  <a:gd name="T79" fmla="*/ 568 h 1571"/>
                  <a:gd name="T80" fmla="*/ 672 w 1100"/>
                  <a:gd name="T81" fmla="*/ 654 h 1571"/>
                  <a:gd name="T82" fmla="*/ 586 w 1100"/>
                  <a:gd name="T83" fmla="*/ 739 h 1571"/>
                  <a:gd name="T84" fmla="*/ 501 w 1100"/>
                  <a:gd name="T85" fmla="*/ 654 h 1571"/>
                  <a:gd name="T86" fmla="*/ 586 w 1100"/>
                  <a:gd name="T87" fmla="*/ 568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0" h="1571">
                    <a:moveTo>
                      <a:pt x="1100" y="1446"/>
                    </a:moveTo>
                    <a:cubicBezTo>
                      <a:pt x="1100" y="1549"/>
                      <a:pt x="1100" y="1549"/>
                      <a:pt x="1100" y="1549"/>
                    </a:cubicBezTo>
                    <a:cubicBezTo>
                      <a:pt x="1100" y="1561"/>
                      <a:pt x="1090" y="1571"/>
                      <a:pt x="1078" y="1571"/>
                    </a:cubicBezTo>
                    <a:cubicBezTo>
                      <a:pt x="22" y="1571"/>
                      <a:pt x="22" y="1571"/>
                      <a:pt x="22" y="1571"/>
                    </a:cubicBezTo>
                    <a:cubicBezTo>
                      <a:pt x="10" y="1571"/>
                      <a:pt x="0" y="1561"/>
                      <a:pt x="0" y="1549"/>
                    </a:cubicBezTo>
                    <a:cubicBezTo>
                      <a:pt x="0" y="1446"/>
                      <a:pt x="0" y="1446"/>
                      <a:pt x="0" y="1446"/>
                    </a:cubicBezTo>
                    <a:cubicBezTo>
                      <a:pt x="0" y="1434"/>
                      <a:pt x="10" y="1424"/>
                      <a:pt x="22" y="1424"/>
                    </a:cubicBezTo>
                    <a:cubicBezTo>
                      <a:pt x="83" y="1424"/>
                      <a:pt x="83" y="1424"/>
                      <a:pt x="83" y="1424"/>
                    </a:cubicBezTo>
                    <a:cubicBezTo>
                      <a:pt x="380" y="1424"/>
                      <a:pt x="380" y="1424"/>
                      <a:pt x="380" y="1424"/>
                    </a:cubicBezTo>
                    <a:cubicBezTo>
                      <a:pt x="497" y="1424"/>
                      <a:pt x="497" y="1424"/>
                      <a:pt x="497" y="1424"/>
                    </a:cubicBezTo>
                    <a:cubicBezTo>
                      <a:pt x="501" y="1424"/>
                      <a:pt x="501" y="1424"/>
                      <a:pt x="501" y="1424"/>
                    </a:cubicBezTo>
                    <a:cubicBezTo>
                      <a:pt x="665" y="1383"/>
                      <a:pt x="786" y="1235"/>
                      <a:pt x="786" y="1058"/>
                    </a:cubicBezTo>
                    <a:cubicBezTo>
                      <a:pt x="786" y="973"/>
                      <a:pt x="758" y="895"/>
                      <a:pt x="710" y="832"/>
                    </a:cubicBezTo>
                    <a:cubicBezTo>
                      <a:pt x="750" y="805"/>
                      <a:pt x="780" y="764"/>
                      <a:pt x="794" y="717"/>
                    </a:cubicBezTo>
                    <a:cubicBezTo>
                      <a:pt x="875" y="808"/>
                      <a:pt x="924" y="927"/>
                      <a:pt x="924" y="1058"/>
                    </a:cubicBezTo>
                    <a:cubicBezTo>
                      <a:pt x="924" y="1201"/>
                      <a:pt x="866" y="1331"/>
                      <a:pt x="771" y="1424"/>
                    </a:cubicBezTo>
                    <a:cubicBezTo>
                      <a:pt x="794" y="1424"/>
                      <a:pt x="794" y="1424"/>
                      <a:pt x="794" y="1424"/>
                    </a:cubicBezTo>
                    <a:cubicBezTo>
                      <a:pt x="1078" y="1424"/>
                      <a:pt x="1078" y="1424"/>
                      <a:pt x="1078" y="1424"/>
                    </a:cubicBezTo>
                    <a:cubicBezTo>
                      <a:pt x="1090" y="1424"/>
                      <a:pt x="1100" y="1434"/>
                      <a:pt x="1100" y="1446"/>
                    </a:cubicBezTo>
                    <a:close/>
                    <a:moveTo>
                      <a:pt x="150" y="916"/>
                    </a:moveTo>
                    <a:cubicBezTo>
                      <a:pt x="176" y="927"/>
                      <a:pt x="176" y="927"/>
                      <a:pt x="176" y="927"/>
                    </a:cubicBezTo>
                    <a:cubicBezTo>
                      <a:pt x="174" y="931"/>
                      <a:pt x="174" y="931"/>
                      <a:pt x="174" y="931"/>
                    </a:cubicBezTo>
                    <a:cubicBezTo>
                      <a:pt x="170" y="942"/>
                      <a:pt x="175" y="955"/>
                      <a:pt x="186" y="960"/>
                    </a:cubicBezTo>
                    <a:cubicBezTo>
                      <a:pt x="250" y="987"/>
                      <a:pt x="250" y="987"/>
                      <a:pt x="250" y="987"/>
                    </a:cubicBezTo>
                    <a:cubicBezTo>
                      <a:pt x="261" y="992"/>
                      <a:pt x="274" y="986"/>
                      <a:pt x="279" y="975"/>
                    </a:cubicBezTo>
                    <a:cubicBezTo>
                      <a:pt x="280" y="972"/>
                      <a:pt x="280" y="972"/>
                      <a:pt x="280" y="972"/>
                    </a:cubicBezTo>
                    <a:cubicBezTo>
                      <a:pt x="310" y="984"/>
                      <a:pt x="310" y="984"/>
                      <a:pt x="310" y="984"/>
                    </a:cubicBezTo>
                    <a:cubicBezTo>
                      <a:pt x="321" y="989"/>
                      <a:pt x="334" y="984"/>
                      <a:pt x="339" y="973"/>
                    </a:cubicBezTo>
                    <a:cubicBezTo>
                      <a:pt x="417" y="789"/>
                      <a:pt x="417" y="789"/>
                      <a:pt x="417" y="789"/>
                    </a:cubicBezTo>
                    <a:cubicBezTo>
                      <a:pt x="387" y="752"/>
                      <a:pt x="369" y="705"/>
                      <a:pt x="369" y="654"/>
                    </a:cubicBezTo>
                    <a:cubicBezTo>
                      <a:pt x="369" y="540"/>
                      <a:pt x="456" y="447"/>
                      <a:pt x="566" y="437"/>
                    </a:cubicBezTo>
                    <a:cubicBezTo>
                      <a:pt x="702" y="118"/>
                      <a:pt x="702" y="118"/>
                      <a:pt x="702" y="118"/>
                    </a:cubicBezTo>
                    <a:cubicBezTo>
                      <a:pt x="648" y="94"/>
                      <a:pt x="648" y="94"/>
                      <a:pt x="648" y="94"/>
                    </a:cubicBezTo>
                    <a:cubicBezTo>
                      <a:pt x="670" y="41"/>
                      <a:pt x="670" y="41"/>
                      <a:pt x="670" y="41"/>
                    </a:cubicBezTo>
                    <a:cubicBezTo>
                      <a:pt x="574" y="0"/>
                      <a:pt x="574" y="0"/>
                      <a:pt x="574" y="0"/>
                    </a:cubicBezTo>
                    <a:cubicBezTo>
                      <a:pt x="552" y="54"/>
                      <a:pt x="552" y="54"/>
                      <a:pt x="552" y="54"/>
                    </a:cubicBezTo>
                    <a:cubicBezTo>
                      <a:pt x="501" y="32"/>
                      <a:pt x="501" y="32"/>
                      <a:pt x="501" y="32"/>
                    </a:cubicBezTo>
                    <a:cubicBezTo>
                      <a:pt x="138" y="887"/>
                      <a:pt x="138" y="887"/>
                      <a:pt x="138" y="887"/>
                    </a:cubicBezTo>
                    <a:cubicBezTo>
                      <a:pt x="133" y="899"/>
                      <a:pt x="138" y="912"/>
                      <a:pt x="150" y="916"/>
                    </a:cubicBezTo>
                    <a:close/>
                    <a:moveTo>
                      <a:pt x="586" y="568"/>
                    </a:moveTo>
                    <a:cubicBezTo>
                      <a:pt x="634" y="568"/>
                      <a:pt x="672" y="606"/>
                      <a:pt x="672" y="654"/>
                    </a:cubicBezTo>
                    <a:cubicBezTo>
                      <a:pt x="672" y="701"/>
                      <a:pt x="634" y="739"/>
                      <a:pt x="586" y="739"/>
                    </a:cubicBezTo>
                    <a:cubicBezTo>
                      <a:pt x="539" y="739"/>
                      <a:pt x="501" y="701"/>
                      <a:pt x="501" y="654"/>
                    </a:cubicBezTo>
                    <a:cubicBezTo>
                      <a:pt x="501" y="606"/>
                      <a:pt x="539" y="568"/>
                      <a:pt x="586" y="56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sp>
            <p:nvSpPr>
              <p:cNvPr id="139" name="Freeform 14">
                <a:extLst>
                  <a:ext uri="{FF2B5EF4-FFF2-40B4-BE49-F238E27FC236}">
                    <a16:creationId xmlns:a16="http://schemas.microsoft.com/office/drawing/2014/main" id="{CF333651-65BE-4EA5-B83B-656930A8AEED}"/>
                  </a:ext>
                </a:extLst>
              </p:cNvPr>
              <p:cNvSpPr>
                <a:spLocks noEditPoints="1"/>
              </p:cNvSpPr>
              <p:nvPr/>
            </p:nvSpPr>
            <p:spPr bwMode="auto">
              <a:xfrm>
                <a:off x="5674798" y="3197072"/>
                <a:ext cx="570489" cy="526693"/>
              </a:xfrm>
              <a:custGeom>
                <a:avLst/>
                <a:gdLst>
                  <a:gd name="T0" fmla="*/ 625 w 799"/>
                  <a:gd name="T1" fmla="*/ 0 h 738"/>
                  <a:gd name="T2" fmla="*/ 452 w 799"/>
                  <a:gd name="T3" fmla="*/ 174 h 738"/>
                  <a:gd name="T4" fmla="*/ 625 w 799"/>
                  <a:gd name="T5" fmla="*/ 347 h 738"/>
                  <a:gd name="T6" fmla="*/ 799 w 799"/>
                  <a:gd name="T7" fmla="*/ 174 h 738"/>
                  <a:gd name="T8" fmla="*/ 625 w 799"/>
                  <a:gd name="T9" fmla="*/ 0 h 738"/>
                  <a:gd name="T10" fmla="*/ 625 w 799"/>
                  <a:gd name="T11" fmla="*/ 303 h 738"/>
                  <a:gd name="T12" fmla="*/ 496 w 799"/>
                  <a:gd name="T13" fmla="*/ 174 h 738"/>
                  <a:gd name="T14" fmla="*/ 625 w 799"/>
                  <a:gd name="T15" fmla="*/ 44 h 738"/>
                  <a:gd name="T16" fmla="*/ 755 w 799"/>
                  <a:gd name="T17" fmla="*/ 174 h 738"/>
                  <a:gd name="T18" fmla="*/ 625 w 799"/>
                  <a:gd name="T19" fmla="*/ 303 h 738"/>
                  <a:gd name="T20" fmla="*/ 408 w 799"/>
                  <a:gd name="T21" fmla="*/ 605 h 738"/>
                  <a:gd name="T22" fmla="*/ 71 w 799"/>
                  <a:gd name="T23" fmla="*/ 462 h 738"/>
                  <a:gd name="T24" fmla="*/ 42 w 799"/>
                  <a:gd name="T25" fmla="*/ 473 h 738"/>
                  <a:gd name="T26" fmla="*/ 5 w 799"/>
                  <a:gd name="T27" fmla="*/ 561 h 738"/>
                  <a:gd name="T28" fmla="*/ 16 w 799"/>
                  <a:gd name="T29" fmla="*/ 590 h 738"/>
                  <a:gd name="T30" fmla="*/ 353 w 799"/>
                  <a:gd name="T31" fmla="*/ 733 h 738"/>
                  <a:gd name="T32" fmla="*/ 382 w 799"/>
                  <a:gd name="T33" fmla="*/ 721 h 738"/>
                  <a:gd name="T34" fmla="*/ 419 w 799"/>
                  <a:gd name="T35" fmla="*/ 634 h 738"/>
                  <a:gd name="T36" fmla="*/ 408 w 799"/>
                  <a:gd name="T37" fmla="*/ 605 h 738"/>
                  <a:gd name="T38" fmla="*/ 366 w 799"/>
                  <a:gd name="T39" fmla="*/ 642 h 738"/>
                  <a:gd name="T40" fmla="*/ 354 w 799"/>
                  <a:gd name="T41" fmla="*/ 671 h 738"/>
                  <a:gd name="T42" fmla="*/ 341 w 799"/>
                  <a:gd name="T43" fmla="*/ 676 h 738"/>
                  <a:gd name="T44" fmla="*/ 63 w 799"/>
                  <a:gd name="T45" fmla="*/ 558 h 738"/>
                  <a:gd name="T46" fmla="*/ 58 w 799"/>
                  <a:gd name="T47" fmla="*/ 545 h 738"/>
                  <a:gd name="T48" fmla="*/ 70 w 799"/>
                  <a:gd name="T49" fmla="*/ 516 h 738"/>
                  <a:gd name="T50" fmla="*/ 83 w 799"/>
                  <a:gd name="T51" fmla="*/ 511 h 738"/>
                  <a:gd name="T52" fmla="*/ 361 w 799"/>
                  <a:gd name="T53" fmla="*/ 629 h 738"/>
                  <a:gd name="T54" fmla="*/ 366 w 799"/>
                  <a:gd name="T55" fmla="*/ 64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9" h="738">
                    <a:moveTo>
                      <a:pt x="625" y="0"/>
                    </a:moveTo>
                    <a:cubicBezTo>
                      <a:pt x="530" y="0"/>
                      <a:pt x="452" y="78"/>
                      <a:pt x="452" y="174"/>
                    </a:cubicBezTo>
                    <a:cubicBezTo>
                      <a:pt x="452" y="269"/>
                      <a:pt x="530" y="347"/>
                      <a:pt x="625" y="347"/>
                    </a:cubicBezTo>
                    <a:cubicBezTo>
                      <a:pt x="721" y="347"/>
                      <a:pt x="799" y="269"/>
                      <a:pt x="799" y="174"/>
                    </a:cubicBezTo>
                    <a:cubicBezTo>
                      <a:pt x="799" y="78"/>
                      <a:pt x="721" y="0"/>
                      <a:pt x="625" y="0"/>
                    </a:cubicBezTo>
                    <a:close/>
                    <a:moveTo>
                      <a:pt x="625" y="303"/>
                    </a:moveTo>
                    <a:cubicBezTo>
                      <a:pt x="554" y="303"/>
                      <a:pt x="496" y="245"/>
                      <a:pt x="496" y="174"/>
                    </a:cubicBezTo>
                    <a:cubicBezTo>
                      <a:pt x="496" y="102"/>
                      <a:pt x="554" y="44"/>
                      <a:pt x="625" y="44"/>
                    </a:cubicBezTo>
                    <a:cubicBezTo>
                      <a:pt x="697" y="44"/>
                      <a:pt x="755" y="102"/>
                      <a:pt x="755" y="174"/>
                    </a:cubicBezTo>
                    <a:cubicBezTo>
                      <a:pt x="755" y="245"/>
                      <a:pt x="697" y="303"/>
                      <a:pt x="625" y="303"/>
                    </a:cubicBezTo>
                    <a:close/>
                    <a:moveTo>
                      <a:pt x="408" y="605"/>
                    </a:moveTo>
                    <a:cubicBezTo>
                      <a:pt x="71" y="462"/>
                      <a:pt x="71" y="462"/>
                      <a:pt x="71" y="462"/>
                    </a:cubicBezTo>
                    <a:cubicBezTo>
                      <a:pt x="59" y="457"/>
                      <a:pt x="46" y="462"/>
                      <a:pt x="42" y="473"/>
                    </a:cubicBezTo>
                    <a:cubicBezTo>
                      <a:pt x="5" y="561"/>
                      <a:pt x="5" y="561"/>
                      <a:pt x="5" y="561"/>
                    </a:cubicBezTo>
                    <a:cubicBezTo>
                      <a:pt x="0" y="572"/>
                      <a:pt x="5" y="585"/>
                      <a:pt x="16" y="590"/>
                    </a:cubicBezTo>
                    <a:cubicBezTo>
                      <a:pt x="353" y="733"/>
                      <a:pt x="353" y="733"/>
                      <a:pt x="353" y="733"/>
                    </a:cubicBezTo>
                    <a:cubicBezTo>
                      <a:pt x="364" y="738"/>
                      <a:pt x="377" y="732"/>
                      <a:pt x="382" y="721"/>
                    </a:cubicBezTo>
                    <a:cubicBezTo>
                      <a:pt x="419" y="634"/>
                      <a:pt x="419" y="634"/>
                      <a:pt x="419" y="634"/>
                    </a:cubicBezTo>
                    <a:cubicBezTo>
                      <a:pt x="424" y="622"/>
                      <a:pt x="419" y="609"/>
                      <a:pt x="408" y="605"/>
                    </a:cubicBezTo>
                    <a:close/>
                    <a:moveTo>
                      <a:pt x="366" y="642"/>
                    </a:moveTo>
                    <a:cubicBezTo>
                      <a:pt x="354" y="671"/>
                      <a:pt x="354" y="671"/>
                      <a:pt x="354" y="671"/>
                    </a:cubicBezTo>
                    <a:cubicBezTo>
                      <a:pt x="352" y="676"/>
                      <a:pt x="346" y="678"/>
                      <a:pt x="341" y="676"/>
                    </a:cubicBezTo>
                    <a:cubicBezTo>
                      <a:pt x="63" y="558"/>
                      <a:pt x="63" y="558"/>
                      <a:pt x="63" y="558"/>
                    </a:cubicBezTo>
                    <a:cubicBezTo>
                      <a:pt x="58" y="555"/>
                      <a:pt x="55" y="550"/>
                      <a:pt x="58" y="545"/>
                    </a:cubicBezTo>
                    <a:cubicBezTo>
                      <a:pt x="70" y="516"/>
                      <a:pt x="70" y="516"/>
                      <a:pt x="70" y="516"/>
                    </a:cubicBezTo>
                    <a:cubicBezTo>
                      <a:pt x="72" y="511"/>
                      <a:pt x="78" y="508"/>
                      <a:pt x="83" y="511"/>
                    </a:cubicBezTo>
                    <a:cubicBezTo>
                      <a:pt x="361" y="629"/>
                      <a:pt x="361" y="629"/>
                      <a:pt x="361" y="629"/>
                    </a:cubicBezTo>
                    <a:cubicBezTo>
                      <a:pt x="366" y="631"/>
                      <a:pt x="368" y="637"/>
                      <a:pt x="366" y="642"/>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grpSp>
      <p:sp>
        <p:nvSpPr>
          <p:cNvPr id="140" name="Rectangle 25">
            <a:extLst>
              <a:ext uri="{FF2B5EF4-FFF2-40B4-BE49-F238E27FC236}">
                <a16:creationId xmlns:a16="http://schemas.microsoft.com/office/drawing/2014/main" id="{AB9BD2A2-7CD3-4827-96AC-D12B97073D04}"/>
              </a:ext>
            </a:extLst>
          </p:cNvPr>
          <p:cNvSpPr>
            <a:spLocks noChangeArrowheads="1"/>
          </p:cNvSpPr>
          <p:nvPr/>
        </p:nvSpPr>
        <p:spPr bwMode="auto">
          <a:xfrm>
            <a:off x="3610893" y="3653245"/>
            <a:ext cx="1620000" cy="687368"/>
          </a:xfrm>
          <a:prstGeom prst="rect">
            <a:avLst/>
          </a:prstGeom>
          <a:solidFill>
            <a:schemeClr val="bg1"/>
          </a:solidFill>
          <a:ln w="9525" cap="rnd" cmpd="sng" algn="ctr">
            <a:noFill/>
            <a:prstDash val="solid"/>
            <a:round/>
            <a:headEnd type="none" w="med" len="med"/>
            <a:tailEnd type="none" w="med" len="med"/>
          </a:ln>
        </p:spPr>
        <p:txBody>
          <a:bodyPr wrap="square" lIns="0" tIns="0" rIns="0" bIns="0" anchor="t">
            <a:spAutoFit/>
          </a:bodyPr>
          <a:lstStyle/>
          <a:p>
            <a:pPr algn="ctr">
              <a:lnSpc>
                <a:spcPct val="90000"/>
              </a:lnSpc>
              <a:spcAft>
                <a:spcPts val="450"/>
              </a:spcAft>
            </a:pPr>
            <a:r>
              <a:rPr lang="de-DE" sz="900" b="1" dirty="0">
                <a:solidFill>
                  <a:srgbClr val="B43E62"/>
                </a:solidFill>
                <a:latin typeface="+mj-lt"/>
              </a:rPr>
              <a:t>Mindestens ein Kind infiziert</a:t>
            </a:r>
          </a:p>
          <a:p>
            <a:pPr algn="ctr">
              <a:lnSpc>
                <a:spcPct val="90000"/>
              </a:lnSpc>
              <a:spcAft>
                <a:spcPts val="450"/>
              </a:spcAft>
            </a:pPr>
            <a:r>
              <a:rPr lang="de-DE" sz="900" spc="-15" dirty="0">
                <a:solidFill>
                  <a:srgbClr val="37373A"/>
                </a:solidFill>
                <a:latin typeface="+mj-lt"/>
              </a:rPr>
              <a:t>Erziehungsberechtigte und Beschäftigte werden über ein positives Testergebnis digital informiert.</a:t>
            </a:r>
          </a:p>
        </p:txBody>
      </p:sp>
      <p:grpSp>
        <p:nvGrpSpPr>
          <p:cNvPr id="141" name="Group 140">
            <a:extLst>
              <a:ext uri="{FF2B5EF4-FFF2-40B4-BE49-F238E27FC236}">
                <a16:creationId xmlns:a16="http://schemas.microsoft.com/office/drawing/2014/main" id="{BB65BCE9-3F85-424B-BED6-FB78F49FC46D}"/>
              </a:ext>
            </a:extLst>
          </p:cNvPr>
          <p:cNvGrpSpPr>
            <a:grpSpLocks noChangeAspect="1"/>
          </p:cNvGrpSpPr>
          <p:nvPr/>
        </p:nvGrpSpPr>
        <p:grpSpPr>
          <a:xfrm>
            <a:off x="4150893" y="3136139"/>
            <a:ext cx="540000" cy="540001"/>
            <a:chOff x="1983582" y="2081213"/>
            <a:chExt cx="1647825" cy="1647825"/>
          </a:xfrm>
        </p:grpSpPr>
        <p:sp>
          <p:nvSpPr>
            <p:cNvPr id="142" name="AutoShape 5">
              <a:extLst>
                <a:ext uri="{FF2B5EF4-FFF2-40B4-BE49-F238E27FC236}">
                  <a16:creationId xmlns:a16="http://schemas.microsoft.com/office/drawing/2014/main" id="{1CFA5E49-2465-43AA-B4F1-52FAD1E5A2BF}"/>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de-DE" sz="675" dirty="0">
                <a:solidFill>
                  <a:srgbClr val="37373A"/>
                </a:solidFill>
                <a:latin typeface="+mj-lt"/>
              </a:endParaRPr>
            </a:p>
          </p:txBody>
        </p:sp>
        <p:grpSp>
          <p:nvGrpSpPr>
            <p:cNvPr id="155" name="Group 154">
              <a:extLst>
                <a:ext uri="{FF2B5EF4-FFF2-40B4-BE49-F238E27FC236}">
                  <a16:creationId xmlns:a16="http://schemas.microsoft.com/office/drawing/2014/main" id="{F9CAC6A1-C183-428C-A23B-1B4B55172298}"/>
                </a:ext>
              </a:extLst>
            </p:cNvPr>
            <p:cNvGrpSpPr/>
            <p:nvPr/>
          </p:nvGrpSpPr>
          <p:grpSpPr>
            <a:xfrm>
              <a:off x="2145507" y="2316163"/>
              <a:ext cx="1323975" cy="1176338"/>
              <a:chOff x="2145507" y="2316163"/>
              <a:chExt cx="1323975" cy="1176338"/>
            </a:xfrm>
          </p:grpSpPr>
          <p:sp>
            <p:nvSpPr>
              <p:cNvPr id="156" name="Freeform 7">
                <a:extLst>
                  <a:ext uri="{FF2B5EF4-FFF2-40B4-BE49-F238E27FC236}">
                    <a16:creationId xmlns:a16="http://schemas.microsoft.com/office/drawing/2014/main" id="{1CE822CC-EF53-4BCD-9BFD-D8CE909E021A}"/>
                  </a:ext>
                </a:extLst>
              </p:cNvPr>
              <p:cNvSpPr>
                <a:spLocks noEditPoints="1"/>
              </p:cNvSpPr>
              <p:nvPr/>
            </p:nvSpPr>
            <p:spPr bwMode="auto">
              <a:xfrm>
                <a:off x="2145507" y="2316163"/>
                <a:ext cx="1323975" cy="1176338"/>
              </a:xfrm>
              <a:custGeom>
                <a:avLst/>
                <a:gdLst>
                  <a:gd name="T0" fmla="*/ 1626 w 1850"/>
                  <a:gd name="T1" fmla="*/ 771 h 1644"/>
                  <a:gd name="T2" fmla="*/ 1507 w 1850"/>
                  <a:gd name="T3" fmla="*/ 764 h 1644"/>
                  <a:gd name="T4" fmla="*/ 1431 w 1850"/>
                  <a:gd name="T5" fmla="*/ 571 h 1644"/>
                  <a:gd name="T6" fmla="*/ 1496 w 1850"/>
                  <a:gd name="T7" fmla="*/ 528 h 1644"/>
                  <a:gd name="T8" fmla="*/ 1592 w 1850"/>
                  <a:gd name="T9" fmla="*/ 418 h 1644"/>
                  <a:gd name="T10" fmla="*/ 1462 w 1850"/>
                  <a:gd name="T11" fmla="*/ 470 h 1644"/>
                  <a:gd name="T12" fmla="*/ 1393 w 1850"/>
                  <a:gd name="T13" fmla="*/ 506 h 1644"/>
                  <a:gd name="T14" fmla="*/ 1268 w 1850"/>
                  <a:gd name="T15" fmla="*/ 348 h 1644"/>
                  <a:gd name="T16" fmla="*/ 1322 w 1850"/>
                  <a:gd name="T17" fmla="*/ 242 h 1644"/>
                  <a:gd name="T18" fmla="*/ 1401 w 1850"/>
                  <a:gd name="T19" fmla="*/ 44 h 1644"/>
                  <a:gd name="T20" fmla="*/ 1233 w 1850"/>
                  <a:gd name="T21" fmla="*/ 190 h 1644"/>
                  <a:gd name="T22" fmla="*/ 1168 w 1850"/>
                  <a:gd name="T23" fmla="*/ 289 h 1644"/>
                  <a:gd name="T24" fmla="*/ 962 w 1850"/>
                  <a:gd name="T25" fmla="*/ 254 h 1644"/>
                  <a:gd name="T26" fmla="*/ 958 w 1850"/>
                  <a:gd name="T27" fmla="*/ 178 h 1644"/>
                  <a:gd name="T28" fmla="*/ 938 w 1850"/>
                  <a:gd name="T29" fmla="*/ 42 h 1644"/>
                  <a:gd name="T30" fmla="*/ 892 w 1850"/>
                  <a:gd name="T31" fmla="*/ 178 h 1644"/>
                  <a:gd name="T32" fmla="*/ 888 w 1850"/>
                  <a:gd name="T33" fmla="*/ 254 h 1644"/>
                  <a:gd name="T34" fmla="*/ 682 w 1850"/>
                  <a:gd name="T35" fmla="*/ 289 h 1644"/>
                  <a:gd name="T36" fmla="*/ 617 w 1850"/>
                  <a:gd name="T37" fmla="*/ 190 h 1644"/>
                  <a:gd name="T38" fmla="*/ 449 w 1850"/>
                  <a:gd name="T39" fmla="*/ 44 h 1644"/>
                  <a:gd name="T40" fmla="*/ 528 w 1850"/>
                  <a:gd name="T41" fmla="*/ 242 h 1644"/>
                  <a:gd name="T42" fmla="*/ 582 w 1850"/>
                  <a:gd name="T43" fmla="*/ 348 h 1644"/>
                  <a:gd name="T44" fmla="*/ 456 w 1850"/>
                  <a:gd name="T45" fmla="*/ 505 h 1644"/>
                  <a:gd name="T46" fmla="*/ 387 w 1850"/>
                  <a:gd name="T47" fmla="*/ 470 h 1644"/>
                  <a:gd name="T48" fmla="*/ 258 w 1850"/>
                  <a:gd name="T49" fmla="*/ 418 h 1644"/>
                  <a:gd name="T50" fmla="*/ 353 w 1850"/>
                  <a:gd name="T51" fmla="*/ 528 h 1644"/>
                  <a:gd name="T52" fmla="*/ 418 w 1850"/>
                  <a:gd name="T53" fmla="*/ 570 h 1644"/>
                  <a:gd name="T54" fmla="*/ 343 w 1850"/>
                  <a:gd name="T55" fmla="*/ 764 h 1644"/>
                  <a:gd name="T56" fmla="*/ 224 w 1850"/>
                  <a:gd name="T57" fmla="*/ 771 h 1644"/>
                  <a:gd name="T58" fmla="*/ 13 w 1850"/>
                  <a:gd name="T59" fmla="*/ 802 h 1644"/>
                  <a:gd name="T60" fmla="*/ 224 w 1850"/>
                  <a:gd name="T61" fmla="*/ 873 h 1644"/>
                  <a:gd name="T62" fmla="*/ 343 w 1850"/>
                  <a:gd name="T63" fmla="*/ 880 h 1644"/>
                  <a:gd name="T64" fmla="*/ 415 w 1850"/>
                  <a:gd name="T65" fmla="*/ 1076 h 1644"/>
                  <a:gd name="T66" fmla="*/ 352 w 1850"/>
                  <a:gd name="T67" fmla="*/ 1118 h 1644"/>
                  <a:gd name="T68" fmla="*/ 258 w 1850"/>
                  <a:gd name="T69" fmla="*/ 1226 h 1644"/>
                  <a:gd name="T70" fmla="*/ 385 w 1850"/>
                  <a:gd name="T71" fmla="*/ 1175 h 1644"/>
                  <a:gd name="T72" fmla="*/ 453 w 1850"/>
                  <a:gd name="T73" fmla="*/ 1140 h 1644"/>
                  <a:gd name="T74" fmla="*/ 582 w 1850"/>
                  <a:gd name="T75" fmla="*/ 1296 h 1644"/>
                  <a:gd name="T76" fmla="*/ 528 w 1850"/>
                  <a:gd name="T77" fmla="*/ 1402 h 1644"/>
                  <a:gd name="T78" fmla="*/ 449 w 1850"/>
                  <a:gd name="T79" fmla="*/ 1600 h 1644"/>
                  <a:gd name="T80" fmla="*/ 617 w 1850"/>
                  <a:gd name="T81" fmla="*/ 1454 h 1644"/>
                  <a:gd name="T82" fmla="*/ 682 w 1850"/>
                  <a:gd name="T83" fmla="*/ 1355 h 1644"/>
                  <a:gd name="T84" fmla="*/ 888 w 1850"/>
                  <a:gd name="T85" fmla="*/ 1390 h 1644"/>
                  <a:gd name="T86" fmla="*/ 892 w 1850"/>
                  <a:gd name="T87" fmla="*/ 1466 h 1644"/>
                  <a:gd name="T88" fmla="*/ 912 w 1850"/>
                  <a:gd name="T89" fmla="*/ 1602 h 1644"/>
                  <a:gd name="T90" fmla="*/ 958 w 1850"/>
                  <a:gd name="T91" fmla="*/ 1466 h 1644"/>
                  <a:gd name="T92" fmla="*/ 962 w 1850"/>
                  <a:gd name="T93" fmla="*/ 1390 h 1644"/>
                  <a:gd name="T94" fmla="*/ 1168 w 1850"/>
                  <a:gd name="T95" fmla="*/ 1355 h 1644"/>
                  <a:gd name="T96" fmla="*/ 1233 w 1850"/>
                  <a:gd name="T97" fmla="*/ 1454 h 1644"/>
                  <a:gd name="T98" fmla="*/ 1401 w 1850"/>
                  <a:gd name="T99" fmla="*/ 1600 h 1644"/>
                  <a:gd name="T100" fmla="*/ 1322 w 1850"/>
                  <a:gd name="T101" fmla="*/ 1402 h 1644"/>
                  <a:gd name="T102" fmla="*/ 1268 w 1850"/>
                  <a:gd name="T103" fmla="*/ 1296 h 1644"/>
                  <a:gd name="T104" fmla="*/ 1393 w 1850"/>
                  <a:gd name="T105" fmla="*/ 1139 h 1644"/>
                  <a:gd name="T106" fmla="*/ 1463 w 1850"/>
                  <a:gd name="T107" fmla="*/ 1174 h 1644"/>
                  <a:gd name="T108" fmla="*/ 1592 w 1850"/>
                  <a:gd name="T109" fmla="*/ 1226 h 1644"/>
                  <a:gd name="T110" fmla="*/ 1496 w 1850"/>
                  <a:gd name="T111" fmla="*/ 1116 h 1644"/>
                  <a:gd name="T112" fmla="*/ 1432 w 1850"/>
                  <a:gd name="T113" fmla="*/ 1073 h 1644"/>
                  <a:gd name="T114" fmla="*/ 1507 w 1850"/>
                  <a:gd name="T115" fmla="*/ 880 h 1644"/>
                  <a:gd name="T116" fmla="*/ 1626 w 1850"/>
                  <a:gd name="T117" fmla="*/ 873 h 1644"/>
                  <a:gd name="T118" fmla="*/ 1837 w 1850"/>
                  <a:gd name="T119" fmla="*/ 842 h 1644"/>
                  <a:gd name="T120" fmla="*/ 445 w 1850"/>
                  <a:gd name="T121" fmla="*/ 822 h 1644"/>
                  <a:gd name="T122" fmla="*/ 925 w 1850"/>
                  <a:gd name="T123" fmla="*/ 1302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50" h="1644">
                    <a:moveTo>
                      <a:pt x="1737" y="720"/>
                    </a:moveTo>
                    <a:cubicBezTo>
                      <a:pt x="1710" y="720"/>
                      <a:pt x="1686" y="731"/>
                      <a:pt x="1668" y="748"/>
                    </a:cubicBezTo>
                    <a:cubicBezTo>
                      <a:pt x="1656" y="759"/>
                      <a:pt x="1642" y="767"/>
                      <a:pt x="1626" y="771"/>
                    </a:cubicBezTo>
                    <a:cubicBezTo>
                      <a:pt x="1603" y="777"/>
                      <a:pt x="1603" y="777"/>
                      <a:pt x="1603" y="777"/>
                    </a:cubicBezTo>
                    <a:cubicBezTo>
                      <a:pt x="1579" y="783"/>
                      <a:pt x="1553" y="781"/>
                      <a:pt x="1530" y="773"/>
                    </a:cubicBezTo>
                    <a:cubicBezTo>
                      <a:pt x="1507" y="764"/>
                      <a:pt x="1507" y="764"/>
                      <a:pt x="1507" y="764"/>
                    </a:cubicBezTo>
                    <a:cubicBezTo>
                      <a:pt x="1507" y="764"/>
                      <a:pt x="1469" y="737"/>
                      <a:pt x="1449" y="704"/>
                    </a:cubicBezTo>
                    <a:cubicBezTo>
                      <a:pt x="1442" y="672"/>
                      <a:pt x="1432" y="641"/>
                      <a:pt x="1419" y="611"/>
                    </a:cubicBezTo>
                    <a:cubicBezTo>
                      <a:pt x="1423" y="590"/>
                      <a:pt x="1431" y="571"/>
                      <a:pt x="1431" y="571"/>
                    </a:cubicBezTo>
                    <a:cubicBezTo>
                      <a:pt x="1441" y="559"/>
                      <a:pt x="1441" y="559"/>
                      <a:pt x="1441" y="559"/>
                    </a:cubicBezTo>
                    <a:cubicBezTo>
                      <a:pt x="1451" y="547"/>
                      <a:pt x="1466" y="537"/>
                      <a:pt x="1481" y="533"/>
                    </a:cubicBezTo>
                    <a:cubicBezTo>
                      <a:pt x="1496" y="528"/>
                      <a:pt x="1496" y="528"/>
                      <a:pt x="1496" y="528"/>
                    </a:cubicBezTo>
                    <a:cubicBezTo>
                      <a:pt x="1506" y="526"/>
                      <a:pt x="1517" y="526"/>
                      <a:pt x="1527" y="528"/>
                    </a:cubicBezTo>
                    <a:cubicBezTo>
                      <a:pt x="1543" y="532"/>
                      <a:pt x="1561" y="529"/>
                      <a:pt x="1576" y="521"/>
                    </a:cubicBezTo>
                    <a:cubicBezTo>
                      <a:pt x="1612" y="500"/>
                      <a:pt x="1621" y="451"/>
                      <a:pt x="1592" y="418"/>
                    </a:cubicBezTo>
                    <a:cubicBezTo>
                      <a:pt x="1575" y="398"/>
                      <a:pt x="1546" y="390"/>
                      <a:pt x="1520" y="399"/>
                    </a:cubicBezTo>
                    <a:cubicBezTo>
                      <a:pt x="1499" y="407"/>
                      <a:pt x="1484" y="424"/>
                      <a:pt x="1478" y="444"/>
                    </a:cubicBezTo>
                    <a:cubicBezTo>
                      <a:pt x="1475" y="454"/>
                      <a:pt x="1470" y="463"/>
                      <a:pt x="1462" y="470"/>
                    </a:cubicBezTo>
                    <a:cubicBezTo>
                      <a:pt x="1451" y="481"/>
                      <a:pt x="1451" y="481"/>
                      <a:pt x="1451" y="481"/>
                    </a:cubicBezTo>
                    <a:cubicBezTo>
                      <a:pt x="1440" y="493"/>
                      <a:pt x="1424" y="501"/>
                      <a:pt x="1409" y="503"/>
                    </a:cubicBezTo>
                    <a:cubicBezTo>
                      <a:pt x="1393" y="506"/>
                      <a:pt x="1393" y="506"/>
                      <a:pt x="1393" y="506"/>
                    </a:cubicBezTo>
                    <a:cubicBezTo>
                      <a:pt x="1393" y="506"/>
                      <a:pt x="1372" y="504"/>
                      <a:pt x="1352" y="496"/>
                    </a:cubicBezTo>
                    <a:cubicBezTo>
                      <a:pt x="1334" y="472"/>
                      <a:pt x="1313" y="449"/>
                      <a:pt x="1291" y="429"/>
                    </a:cubicBezTo>
                    <a:cubicBezTo>
                      <a:pt x="1272" y="394"/>
                      <a:pt x="1268" y="348"/>
                      <a:pt x="1268" y="348"/>
                    </a:cubicBezTo>
                    <a:cubicBezTo>
                      <a:pt x="1272" y="324"/>
                      <a:pt x="1272" y="324"/>
                      <a:pt x="1272" y="324"/>
                    </a:cubicBezTo>
                    <a:cubicBezTo>
                      <a:pt x="1276" y="300"/>
                      <a:pt x="1288" y="276"/>
                      <a:pt x="1305" y="259"/>
                    </a:cubicBezTo>
                    <a:cubicBezTo>
                      <a:pt x="1322" y="242"/>
                      <a:pt x="1322" y="242"/>
                      <a:pt x="1322" y="242"/>
                    </a:cubicBezTo>
                    <a:cubicBezTo>
                      <a:pt x="1333" y="230"/>
                      <a:pt x="1347" y="222"/>
                      <a:pt x="1363" y="218"/>
                    </a:cubicBezTo>
                    <a:cubicBezTo>
                      <a:pt x="1392" y="209"/>
                      <a:pt x="1418" y="187"/>
                      <a:pt x="1430" y="154"/>
                    </a:cubicBezTo>
                    <a:cubicBezTo>
                      <a:pt x="1444" y="115"/>
                      <a:pt x="1432" y="71"/>
                      <a:pt x="1401" y="44"/>
                    </a:cubicBezTo>
                    <a:cubicBezTo>
                      <a:pt x="1351" y="0"/>
                      <a:pt x="1277" y="14"/>
                      <a:pt x="1245" y="69"/>
                    </a:cubicBezTo>
                    <a:cubicBezTo>
                      <a:pt x="1232" y="92"/>
                      <a:pt x="1229" y="119"/>
                      <a:pt x="1234" y="143"/>
                    </a:cubicBezTo>
                    <a:cubicBezTo>
                      <a:pt x="1238" y="159"/>
                      <a:pt x="1238" y="175"/>
                      <a:pt x="1233" y="190"/>
                    </a:cubicBezTo>
                    <a:cubicBezTo>
                      <a:pt x="1227" y="213"/>
                      <a:pt x="1227" y="213"/>
                      <a:pt x="1227" y="213"/>
                    </a:cubicBezTo>
                    <a:cubicBezTo>
                      <a:pt x="1220" y="237"/>
                      <a:pt x="1206" y="259"/>
                      <a:pt x="1187" y="274"/>
                    </a:cubicBezTo>
                    <a:cubicBezTo>
                      <a:pt x="1168" y="289"/>
                      <a:pt x="1168" y="289"/>
                      <a:pt x="1168" y="289"/>
                    </a:cubicBezTo>
                    <a:cubicBezTo>
                      <a:pt x="1168" y="289"/>
                      <a:pt x="1126" y="309"/>
                      <a:pt x="1087" y="309"/>
                    </a:cubicBezTo>
                    <a:cubicBezTo>
                      <a:pt x="1058" y="300"/>
                      <a:pt x="1029" y="294"/>
                      <a:pt x="998" y="290"/>
                    </a:cubicBezTo>
                    <a:cubicBezTo>
                      <a:pt x="978" y="276"/>
                      <a:pt x="962" y="254"/>
                      <a:pt x="962" y="254"/>
                    </a:cubicBezTo>
                    <a:cubicBezTo>
                      <a:pt x="957" y="239"/>
                      <a:pt x="957" y="239"/>
                      <a:pt x="957" y="239"/>
                    </a:cubicBezTo>
                    <a:cubicBezTo>
                      <a:pt x="951" y="225"/>
                      <a:pt x="950" y="208"/>
                      <a:pt x="954" y="193"/>
                    </a:cubicBezTo>
                    <a:cubicBezTo>
                      <a:pt x="958" y="178"/>
                      <a:pt x="958" y="178"/>
                      <a:pt x="958" y="178"/>
                    </a:cubicBezTo>
                    <a:cubicBezTo>
                      <a:pt x="960" y="168"/>
                      <a:pt x="966" y="159"/>
                      <a:pt x="973" y="151"/>
                    </a:cubicBezTo>
                    <a:cubicBezTo>
                      <a:pt x="986" y="137"/>
                      <a:pt x="993" y="116"/>
                      <a:pt x="989" y="94"/>
                    </a:cubicBezTo>
                    <a:cubicBezTo>
                      <a:pt x="985" y="68"/>
                      <a:pt x="964" y="47"/>
                      <a:pt x="938" y="42"/>
                    </a:cubicBezTo>
                    <a:cubicBezTo>
                      <a:pt x="896" y="34"/>
                      <a:pt x="860" y="66"/>
                      <a:pt x="860" y="106"/>
                    </a:cubicBezTo>
                    <a:cubicBezTo>
                      <a:pt x="860" y="124"/>
                      <a:pt x="866" y="139"/>
                      <a:pt x="877" y="151"/>
                    </a:cubicBezTo>
                    <a:cubicBezTo>
                      <a:pt x="884" y="159"/>
                      <a:pt x="890" y="168"/>
                      <a:pt x="892" y="178"/>
                    </a:cubicBezTo>
                    <a:cubicBezTo>
                      <a:pt x="896" y="193"/>
                      <a:pt x="896" y="193"/>
                      <a:pt x="896" y="193"/>
                    </a:cubicBezTo>
                    <a:cubicBezTo>
                      <a:pt x="900" y="208"/>
                      <a:pt x="899" y="225"/>
                      <a:pt x="893" y="239"/>
                    </a:cubicBezTo>
                    <a:cubicBezTo>
                      <a:pt x="888" y="254"/>
                      <a:pt x="888" y="254"/>
                      <a:pt x="888" y="254"/>
                    </a:cubicBezTo>
                    <a:cubicBezTo>
                      <a:pt x="888" y="254"/>
                      <a:pt x="872" y="276"/>
                      <a:pt x="852" y="290"/>
                    </a:cubicBezTo>
                    <a:cubicBezTo>
                      <a:pt x="821" y="294"/>
                      <a:pt x="792" y="300"/>
                      <a:pt x="763" y="309"/>
                    </a:cubicBezTo>
                    <a:cubicBezTo>
                      <a:pt x="724" y="309"/>
                      <a:pt x="682" y="289"/>
                      <a:pt x="682" y="289"/>
                    </a:cubicBezTo>
                    <a:cubicBezTo>
                      <a:pt x="663" y="274"/>
                      <a:pt x="663" y="274"/>
                      <a:pt x="663" y="274"/>
                    </a:cubicBezTo>
                    <a:cubicBezTo>
                      <a:pt x="644" y="259"/>
                      <a:pt x="630" y="237"/>
                      <a:pt x="623" y="213"/>
                    </a:cubicBezTo>
                    <a:cubicBezTo>
                      <a:pt x="617" y="190"/>
                      <a:pt x="617" y="190"/>
                      <a:pt x="617" y="190"/>
                    </a:cubicBezTo>
                    <a:cubicBezTo>
                      <a:pt x="612" y="175"/>
                      <a:pt x="612" y="159"/>
                      <a:pt x="616" y="143"/>
                    </a:cubicBezTo>
                    <a:cubicBezTo>
                      <a:pt x="621" y="119"/>
                      <a:pt x="618" y="92"/>
                      <a:pt x="605" y="69"/>
                    </a:cubicBezTo>
                    <a:cubicBezTo>
                      <a:pt x="573" y="14"/>
                      <a:pt x="499" y="0"/>
                      <a:pt x="449" y="44"/>
                    </a:cubicBezTo>
                    <a:cubicBezTo>
                      <a:pt x="418" y="71"/>
                      <a:pt x="406" y="115"/>
                      <a:pt x="420" y="154"/>
                    </a:cubicBezTo>
                    <a:cubicBezTo>
                      <a:pt x="432" y="187"/>
                      <a:pt x="458" y="209"/>
                      <a:pt x="487" y="218"/>
                    </a:cubicBezTo>
                    <a:cubicBezTo>
                      <a:pt x="503" y="222"/>
                      <a:pt x="517" y="230"/>
                      <a:pt x="528" y="242"/>
                    </a:cubicBezTo>
                    <a:cubicBezTo>
                      <a:pt x="545" y="259"/>
                      <a:pt x="545" y="259"/>
                      <a:pt x="545" y="259"/>
                    </a:cubicBezTo>
                    <a:cubicBezTo>
                      <a:pt x="562" y="276"/>
                      <a:pt x="574" y="300"/>
                      <a:pt x="578" y="324"/>
                    </a:cubicBezTo>
                    <a:cubicBezTo>
                      <a:pt x="582" y="348"/>
                      <a:pt x="582" y="348"/>
                      <a:pt x="582" y="348"/>
                    </a:cubicBezTo>
                    <a:cubicBezTo>
                      <a:pt x="582" y="348"/>
                      <a:pt x="578" y="394"/>
                      <a:pt x="559" y="429"/>
                    </a:cubicBezTo>
                    <a:cubicBezTo>
                      <a:pt x="537" y="449"/>
                      <a:pt x="517" y="471"/>
                      <a:pt x="499" y="495"/>
                    </a:cubicBezTo>
                    <a:cubicBezTo>
                      <a:pt x="478" y="503"/>
                      <a:pt x="456" y="505"/>
                      <a:pt x="456" y="505"/>
                    </a:cubicBezTo>
                    <a:cubicBezTo>
                      <a:pt x="440" y="503"/>
                      <a:pt x="440" y="503"/>
                      <a:pt x="440" y="503"/>
                    </a:cubicBezTo>
                    <a:cubicBezTo>
                      <a:pt x="425" y="500"/>
                      <a:pt x="409" y="492"/>
                      <a:pt x="398" y="481"/>
                    </a:cubicBezTo>
                    <a:cubicBezTo>
                      <a:pt x="387" y="470"/>
                      <a:pt x="387" y="470"/>
                      <a:pt x="387" y="470"/>
                    </a:cubicBezTo>
                    <a:cubicBezTo>
                      <a:pt x="379" y="463"/>
                      <a:pt x="374" y="454"/>
                      <a:pt x="371" y="444"/>
                    </a:cubicBezTo>
                    <a:cubicBezTo>
                      <a:pt x="365" y="424"/>
                      <a:pt x="351" y="407"/>
                      <a:pt x="329" y="400"/>
                    </a:cubicBezTo>
                    <a:cubicBezTo>
                      <a:pt x="304" y="391"/>
                      <a:pt x="275" y="398"/>
                      <a:pt x="258" y="418"/>
                    </a:cubicBezTo>
                    <a:cubicBezTo>
                      <a:pt x="229" y="451"/>
                      <a:pt x="238" y="499"/>
                      <a:pt x="274" y="520"/>
                    </a:cubicBezTo>
                    <a:cubicBezTo>
                      <a:pt x="289" y="529"/>
                      <a:pt x="306" y="531"/>
                      <a:pt x="322" y="527"/>
                    </a:cubicBezTo>
                    <a:cubicBezTo>
                      <a:pt x="332" y="525"/>
                      <a:pt x="343" y="525"/>
                      <a:pt x="353" y="528"/>
                    </a:cubicBezTo>
                    <a:cubicBezTo>
                      <a:pt x="368" y="532"/>
                      <a:pt x="368" y="532"/>
                      <a:pt x="368" y="532"/>
                    </a:cubicBezTo>
                    <a:cubicBezTo>
                      <a:pt x="383" y="536"/>
                      <a:pt x="398" y="546"/>
                      <a:pt x="408" y="558"/>
                    </a:cubicBezTo>
                    <a:cubicBezTo>
                      <a:pt x="418" y="570"/>
                      <a:pt x="418" y="570"/>
                      <a:pt x="418" y="570"/>
                    </a:cubicBezTo>
                    <a:cubicBezTo>
                      <a:pt x="418" y="570"/>
                      <a:pt x="427" y="591"/>
                      <a:pt x="430" y="613"/>
                    </a:cubicBezTo>
                    <a:cubicBezTo>
                      <a:pt x="418" y="642"/>
                      <a:pt x="408" y="672"/>
                      <a:pt x="401" y="704"/>
                    </a:cubicBezTo>
                    <a:cubicBezTo>
                      <a:pt x="381" y="737"/>
                      <a:pt x="343" y="764"/>
                      <a:pt x="343" y="764"/>
                    </a:cubicBezTo>
                    <a:cubicBezTo>
                      <a:pt x="320" y="773"/>
                      <a:pt x="320" y="773"/>
                      <a:pt x="320" y="773"/>
                    </a:cubicBezTo>
                    <a:cubicBezTo>
                      <a:pt x="297" y="781"/>
                      <a:pt x="271" y="783"/>
                      <a:pt x="247" y="777"/>
                    </a:cubicBezTo>
                    <a:cubicBezTo>
                      <a:pt x="224" y="771"/>
                      <a:pt x="224" y="771"/>
                      <a:pt x="224" y="771"/>
                    </a:cubicBezTo>
                    <a:cubicBezTo>
                      <a:pt x="208" y="767"/>
                      <a:pt x="194" y="759"/>
                      <a:pt x="183" y="748"/>
                    </a:cubicBezTo>
                    <a:cubicBezTo>
                      <a:pt x="160" y="727"/>
                      <a:pt x="128" y="716"/>
                      <a:pt x="93" y="722"/>
                    </a:cubicBezTo>
                    <a:cubicBezTo>
                      <a:pt x="53" y="729"/>
                      <a:pt x="21" y="761"/>
                      <a:pt x="13" y="802"/>
                    </a:cubicBezTo>
                    <a:cubicBezTo>
                      <a:pt x="0" y="867"/>
                      <a:pt x="50" y="924"/>
                      <a:pt x="113" y="924"/>
                    </a:cubicBezTo>
                    <a:cubicBezTo>
                      <a:pt x="140" y="924"/>
                      <a:pt x="164" y="913"/>
                      <a:pt x="182" y="896"/>
                    </a:cubicBezTo>
                    <a:cubicBezTo>
                      <a:pt x="194" y="885"/>
                      <a:pt x="208" y="877"/>
                      <a:pt x="224" y="873"/>
                    </a:cubicBezTo>
                    <a:cubicBezTo>
                      <a:pt x="247" y="867"/>
                      <a:pt x="247" y="867"/>
                      <a:pt x="247" y="867"/>
                    </a:cubicBezTo>
                    <a:cubicBezTo>
                      <a:pt x="271" y="861"/>
                      <a:pt x="297" y="863"/>
                      <a:pt x="320" y="871"/>
                    </a:cubicBezTo>
                    <a:cubicBezTo>
                      <a:pt x="343" y="880"/>
                      <a:pt x="343" y="880"/>
                      <a:pt x="343" y="880"/>
                    </a:cubicBezTo>
                    <a:cubicBezTo>
                      <a:pt x="343" y="880"/>
                      <a:pt x="381" y="907"/>
                      <a:pt x="401" y="940"/>
                    </a:cubicBezTo>
                    <a:cubicBezTo>
                      <a:pt x="407" y="970"/>
                      <a:pt x="417" y="999"/>
                      <a:pt x="428" y="1026"/>
                    </a:cubicBezTo>
                    <a:cubicBezTo>
                      <a:pt x="427" y="1051"/>
                      <a:pt x="415" y="1076"/>
                      <a:pt x="415" y="1076"/>
                    </a:cubicBezTo>
                    <a:cubicBezTo>
                      <a:pt x="405" y="1088"/>
                      <a:pt x="405" y="1088"/>
                      <a:pt x="405" y="1088"/>
                    </a:cubicBezTo>
                    <a:cubicBezTo>
                      <a:pt x="396" y="1100"/>
                      <a:pt x="381" y="1109"/>
                      <a:pt x="366" y="1114"/>
                    </a:cubicBezTo>
                    <a:cubicBezTo>
                      <a:pt x="352" y="1118"/>
                      <a:pt x="352" y="1118"/>
                      <a:pt x="352" y="1118"/>
                    </a:cubicBezTo>
                    <a:cubicBezTo>
                      <a:pt x="342" y="1121"/>
                      <a:pt x="331" y="1121"/>
                      <a:pt x="321" y="1118"/>
                    </a:cubicBezTo>
                    <a:cubicBezTo>
                      <a:pt x="305" y="1115"/>
                      <a:pt x="288" y="1117"/>
                      <a:pt x="274" y="1125"/>
                    </a:cubicBezTo>
                    <a:cubicBezTo>
                      <a:pt x="239" y="1146"/>
                      <a:pt x="229" y="1194"/>
                      <a:pt x="258" y="1226"/>
                    </a:cubicBezTo>
                    <a:cubicBezTo>
                      <a:pt x="275" y="1245"/>
                      <a:pt x="303" y="1253"/>
                      <a:pt x="328" y="1244"/>
                    </a:cubicBezTo>
                    <a:cubicBezTo>
                      <a:pt x="349" y="1236"/>
                      <a:pt x="364" y="1220"/>
                      <a:pt x="369" y="1201"/>
                    </a:cubicBezTo>
                    <a:cubicBezTo>
                      <a:pt x="372" y="1191"/>
                      <a:pt x="377" y="1182"/>
                      <a:pt x="385" y="1175"/>
                    </a:cubicBezTo>
                    <a:cubicBezTo>
                      <a:pt x="396" y="1164"/>
                      <a:pt x="396" y="1164"/>
                      <a:pt x="396" y="1164"/>
                    </a:cubicBezTo>
                    <a:cubicBezTo>
                      <a:pt x="407" y="1153"/>
                      <a:pt x="422" y="1145"/>
                      <a:pt x="437" y="1142"/>
                    </a:cubicBezTo>
                    <a:cubicBezTo>
                      <a:pt x="453" y="1140"/>
                      <a:pt x="453" y="1140"/>
                      <a:pt x="453" y="1140"/>
                    </a:cubicBezTo>
                    <a:cubicBezTo>
                      <a:pt x="453" y="1140"/>
                      <a:pt x="480" y="1142"/>
                      <a:pt x="502" y="1153"/>
                    </a:cubicBezTo>
                    <a:cubicBezTo>
                      <a:pt x="519" y="1175"/>
                      <a:pt x="538" y="1196"/>
                      <a:pt x="559" y="1215"/>
                    </a:cubicBezTo>
                    <a:cubicBezTo>
                      <a:pt x="578" y="1250"/>
                      <a:pt x="582" y="1296"/>
                      <a:pt x="582" y="1296"/>
                    </a:cubicBezTo>
                    <a:cubicBezTo>
                      <a:pt x="578" y="1320"/>
                      <a:pt x="578" y="1320"/>
                      <a:pt x="578" y="1320"/>
                    </a:cubicBezTo>
                    <a:cubicBezTo>
                      <a:pt x="574" y="1344"/>
                      <a:pt x="562" y="1368"/>
                      <a:pt x="545" y="1385"/>
                    </a:cubicBezTo>
                    <a:cubicBezTo>
                      <a:pt x="528" y="1402"/>
                      <a:pt x="528" y="1402"/>
                      <a:pt x="528" y="1402"/>
                    </a:cubicBezTo>
                    <a:cubicBezTo>
                      <a:pt x="517" y="1414"/>
                      <a:pt x="503" y="1422"/>
                      <a:pt x="487" y="1426"/>
                    </a:cubicBezTo>
                    <a:cubicBezTo>
                      <a:pt x="458" y="1435"/>
                      <a:pt x="432" y="1457"/>
                      <a:pt x="420" y="1490"/>
                    </a:cubicBezTo>
                    <a:cubicBezTo>
                      <a:pt x="406" y="1529"/>
                      <a:pt x="418" y="1573"/>
                      <a:pt x="449" y="1600"/>
                    </a:cubicBezTo>
                    <a:cubicBezTo>
                      <a:pt x="499" y="1644"/>
                      <a:pt x="573" y="1630"/>
                      <a:pt x="605" y="1575"/>
                    </a:cubicBezTo>
                    <a:cubicBezTo>
                      <a:pt x="618" y="1552"/>
                      <a:pt x="621" y="1525"/>
                      <a:pt x="616" y="1501"/>
                    </a:cubicBezTo>
                    <a:cubicBezTo>
                      <a:pt x="612" y="1485"/>
                      <a:pt x="612" y="1469"/>
                      <a:pt x="617" y="1454"/>
                    </a:cubicBezTo>
                    <a:cubicBezTo>
                      <a:pt x="623" y="1431"/>
                      <a:pt x="623" y="1431"/>
                      <a:pt x="623" y="1431"/>
                    </a:cubicBezTo>
                    <a:cubicBezTo>
                      <a:pt x="630" y="1407"/>
                      <a:pt x="644" y="1385"/>
                      <a:pt x="663" y="1370"/>
                    </a:cubicBezTo>
                    <a:cubicBezTo>
                      <a:pt x="682" y="1355"/>
                      <a:pt x="682" y="1355"/>
                      <a:pt x="682" y="1355"/>
                    </a:cubicBezTo>
                    <a:cubicBezTo>
                      <a:pt x="682" y="1355"/>
                      <a:pt x="724" y="1335"/>
                      <a:pt x="763" y="1335"/>
                    </a:cubicBezTo>
                    <a:cubicBezTo>
                      <a:pt x="792" y="1344"/>
                      <a:pt x="822" y="1350"/>
                      <a:pt x="852" y="1354"/>
                    </a:cubicBezTo>
                    <a:cubicBezTo>
                      <a:pt x="872" y="1368"/>
                      <a:pt x="888" y="1390"/>
                      <a:pt x="888" y="1390"/>
                    </a:cubicBezTo>
                    <a:cubicBezTo>
                      <a:pt x="893" y="1404"/>
                      <a:pt x="893" y="1404"/>
                      <a:pt x="893" y="1404"/>
                    </a:cubicBezTo>
                    <a:cubicBezTo>
                      <a:pt x="899" y="1419"/>
                      <a:pt x="900" y="1436"/>
                      <a:pt x="896" y="1451"/>
                    </a:cubicBezTo>
                    <a:cubicBezTo>
                      <a:pt x="892" y="1466"/>
                      <a:pt x="892" y="1466"/>
                      <a:pt x="892" y="1466"/>
                    </a:cubicBezTo>
                    <a:cubicBezTo>
                      <a:pt x="889" y="1476"/>
                      <a:pt x="884" y="1485"/>
                      <a:pt x="877" y="1493"/>
                    </a:cubicBezTo>
                    <a:cubicBezTo>
                      <a:pt x="864" y="1507"/>
                      <a:pt x="856" y="1528"/>
                      <a:pt x="861" y="1550"/>
                    </a:cubicBezTo>
                    <a:cubicBezTo>
                      <a:pt x="865" y="1576"/>
                      <a:pt x="886" y="1597"/>
                      <a:pt x="912" y="1602"/>
                    </a:cubicBezTo>
                    <a:cubicBezTo>
                      <a:pt x="954" y="1610"/>
                      <a:pt x="991" y="1578"/>
                      <a:pt x="991" y="1538"/>
                    </a:cubicBezTo>
                    <a:cubicBezTo>
                      <a:pt x="991" y="1520"/>
                      <a:pt x="984" y="1504"/>
                      <a:pt x="973" y="1493"/>
                    </a:cubicBezTo>
                    <a:cubicBezTo>
                      <a:pt x="966" y="1485"/>
                      <a:pt x="961" y="1476"/>
                      <a:pt x="958" y="1466"/>
                    </a:cubicBezTo>
                    <a:cubicBezTo>
                      <a:pt x="954" y="1451"/>
                      <a:pt x="954" y="1451"/>
                      <a:pt x="954" y="1451"/>
                    </a:cubicBezTo>
                    <a:cubicBezTo>
                      <a:pt x="950" y="1436"/>
                      <a:pt x="951" y="1419"/>
                      <a:pt x="957" y="1404"/>
                    </a:cubicBezTo>
                    <a:cubicBezTo>
                      <a:pt x="962" y="1390"/>
                      <a:pt x="962" y="1390"/>
                      <a:pt x="962" y="1390"/>
                    </a:cubicBezTo>
                    <a:cubicBezTo>
                      <a:pt x="962" y="1390"/>
                      <a:pt x="978" y="1368"/>
                      <a:pt x="998" y="1354"/>
                    </a:cubicBezTo>
                    <a:cubicBezTo>
                      <a:pt x="1028" y="1350"/>
                      <a:pt x="1058" y="1344"/>
                      <a:pt x="1087" y="1335"/>
                    </a:cubicBezTo>
                    <a:cubicBezTo>
                      <a:pt x="1126" y="1335"/>
                      <a:pt x="1168" y="1355"/>
                      <a:pt x="1168" y="1355"/>
                    </a:cubicBezTo>
                    <a:cubicBezTo>
                      <a:pt x="1187" y="1370"/>
                      <a:pt x="1187" y="1370"/>
                      <a:pt x="1187" y="1370"/>
                    </a:cubicBezTo>
                    <a:cubicBezTo>
                      <a:pt x="1206" y="1385"/>
                      <a:pt x="1220" y="1407"/>
                      <a:pt x="1227" y="1431"/>
                    </a:cubicBezTo>
                    <a:cubicBezTo>
                      <a:pt x="1233" y="1454"/>
                      <a:pt x="1233" y="1454"/>
                      <a:pt x="1233" y="1454"/>
                    </a:cubicBezTo>
                    <a:cubicBezTo>
                      <a:pt x="1238" y="1469"/>
                      <a:pt x="1238" y="1485"/>
                      <a:pt x="1234" y="1501"/>
                    </a:cubicBezTo>
                    <a:cubicBezTo>
                      <a:pt x="1229" y="1525"/>
                      <a:pt x="1232" y="1552"/>
                      <a:pt x="1245" y="1575"/>
                    </a:cubicBezTo>
                    <a:cubicBezTo>
                      <a:pt x="1277" y="1630"/>
                      <a:pt x="1351" y="1644"/>
                      <a:pt x="1401" y="1600"/>
                    </a:cubicBezTo>
                    <a:cubicBezTo>
                      <a:pt x="1432" y="1573"/>
                      <a:pt x="1444" y="1529"/>
                      <a:pt x="1430" y="1490"/>
                    </a:cubicBezTo>
                    <a:cubicBezTo>
                      <a:pt x="1418" y="1457"/>
                      <a:pt x="1392" y="1435"/>
                      <a:pt x="1363" y="1426"/>
                    </a:cubicBezTo>
                    <a:cubicBezTo>
                      <a:pt x="1347" y="1422"/>
                      <a:pt x="1333" y="1414"/>
                      <a:pt x="1322" y="1402"/>
                    </a:cubicBezTo>
                    <a:cubicBezTo>
                      <a:pt x="1305" y="1385"/>
                      <a:pt x="1305" y="1385"/>
                      <a:pt x="1305" y="1385"/>
                    </a:cubicBezTo>
                    <a:cubicBezTo>
                      <a:pt x="1288" y="1368"/>
                      <a:pt x="1276" y="1344"/>
                      <a:pt x="1272" y="1320"/>
                    </a:cubicBezTo>
                    <a:cubicBezTo>
                      <a:pt x="1268" y="1296"/>
                      <a:pt x="1268" y="1296"/>
                      <a:pt x="1268" y="1296"/>
                    </a:cubicBezTo>
                    <a:cubicBezTo>
                      <a:pt x="1268" y="1296"/>
                      <a:pt x="1272" y="1250"/>
                      <a:pt x="1291" y="1215"/>
                    </a:cubicBezTo>
                    <a:cubicBezTo>
                      <a:pt x="1313" y="1195"/>
                      <a:pt x="1334" y="1172"/>
                      <a:pt x="1352" y="1148"/>
                    </a:cubicBezTo>
                    <a:cubicBezTo>
                      <a:pt x="1372" y="1140"/>
                      <a:pt x="1393" y="1139"/>
                      <a:pt x="1393" y="1139"/>
                    </a:cubicBezTo>
                    <a:cubicBezTo>
                      <a:pt x="1409" y="1141"/>
                      <a:pt x="1409" y="1141"/>
                      <a:pt x="1409" y="1141"/>
                    </a:cubicBezTo>
                    <a:cubicBezTo>
                      <a:pt x="1425" y="1144"/>
                      <a:pt x="1440" y="1152"/>
                      <a:pt x="1452" y="1163"/>
                    </a:cubicBezTo>
                    <a:cubicBezTo>
                      <a:pt x="1463" y="1174"/>
                      <a:pt x="1463" y="1174"/>
                      <a:pt x="1463" y="1174"/>
                    </a:cubicBezTo>
                    <a:cubicBezTo>
                      <a:pt x="1470" y="1181"/>
                      <a:pt x="1476" y="1190"/>
                      <a:pt x="1479" y="1200"/>
                    </a:cubicBezTo>
                    <a:cubicBezTo>
                      <a:pt x="1484" y="1220"/>
                      <a:pt x="1499" y="1237"/>
                      <a:pt x="1520" y="1244"/>
                    </a:cubicBezTo>
                    <a:cubicBezTo>
                      <a:pt x="1546" y="1253"/>
                      <a:pt x="1575" y="1246"/>
                      <a:pt x="1592" y="1226"/>
                    </a:cubicBezTo>
                    <a:cubicBezTo>
                      <a:pt x="1621" y="1193"/>
                      <a:pt x="1612" y="1144"/>
                      <a:pt x="1576" y="1124"/>
                    </a:cubicBezTo>
                    <a:cubicBezTo>
                      <a:pt x="1561" y="1115"/>
                      <a:pt x="1543" y="1113"/>
                      <a:pt x="1528" y="1116"/>
                    </a:cubicBezTo>
                    <a:cubicBezTo>
                      <a:pt x="1517" y="1119"/>
                      <a:pt x="1507" y="1119"/>
                      <a:pt x="1496" y="1116"/>
                    </a:cubicBezTo>
                    <a:cubicBezTo>
                      <a:pt x="1482" y="1112"/>
                      <a:pt x="1482" y="1112"/>
                      <a:pt x="1482" y="1112"/>
                    </a:cubicBezTo>
                    <a:cubicBezTo>
                      <a:pt x="1466" y="1107"/>
                      <a:pt x="1451" y="1098"/>
                      <a:pt x="1442" y="1085"/>
                    </a:cubicBezTo>
                    <a:cubicBezTo>
                      <a:pt x="1432" y="1073"/>
                      <a:pt x="1432" y="1073"/>
                      <a:pt x="1432" y="1073"/>
                    </a:cubicBezTo>
                    <a:cubicBezTo>
                      <a:pt x="1432" y="1073"/>
                      <a:pt x="1423" y="1054"/>
                      <a:pt x="1420" y="1032"/>
                    </a:cubicBezTo>
                    <a:cubicBezTo>
                      <a:pt x="1432" y="1003"/>
                      <a:pt x="1442" y="972"/>
                      <a:pt x="1449" y="940"/>
                    </a:cubicBezTo>
                    <a:cubicBezTo>
                      <a:pt x="1469" y="907"/>
                      <a:pt x="1507" y="880"/>
                      <a:pt x="1507" y="880"/>
                    </a:cubicBezTo>
                    <a:cubicBezTo>
                      <a:pt x="1530" y="871"/>
                      <a:pt x="1530" y="871"/>
                      <a:pt x="1530" y="871"/>
                    </a:cubicBezTo>
                    <a:cubicBezTo>
                      <a:pt x="1553" y="863"/>
                      <a:pt x="1579" y="861"/>
                      <a:pt x="1603" y="867"/>
                    </a:cubicBezTo>
                    <a:cubicBezTo>
                      <a:pt x="1626" y="873"/>
                      <a:pt x="1626" y="873"/>
                      <a:pt x="1626" y="873"/>
                    </a:cubicBezTo>
                    <a:cubicBezTo>
                      <a:pt x="1642" y="877"/>
                      <a:pt x="1656" y="885"/>
                      <a:pt x="1667" y="896"/>
                    </a:cubicBezTo>
                    <a:cubicBezTo>
                      <a:pt x="1690" y="917"/>
                      <a:pt x="1722" y="928"/>
                      <a:pt x="1757" y="922"/>
                    </a:cubicBezTo>
                    <a:cubicBezTo>
                      <a:pt x="1797" y="915"/>
                      <a:pt x="1829" y="883"/>
                      <a:pt x="1837" y="842"/>
                    </a:cubicBezTo>
                    <a:cubicBezTo>
                      <a:pt x="1850" y="777"/>
                      <a:pt x="1800" y="720"/>
                      <a:pt x="1737" y="720"/>
                    </a:cubicBezTo>
                    <a:close/>
                    <a:moveTo>
                      <a:pt x="925" y="1302"/>
                    </a:moveTo>
                    <a:cubicBezTo>
                      <a:pt x="660" y="1302"/>
                      <a:pt x="445" y="1087"/>
                      <a:pt x="445" y="822"/>
                    </a:cubicBezTo>
                    <a:cubicBezTo>
                      <a:pt x="445" y="557"/>
                      <a:pt x="660" y="342"/>
                      <a:pt x="925" y="342"/>
                    </a:cubicBezTo>
                    <a:cubicBezTo>
                      <a:pt x="1190" y="342"/>
                      <a:pt x="1405" y="557"/>
                      <a:pt x="1405" y="822"/>
                    </a:cubicBezTo>
                    <a:cubicBezTo>
                      <a:pt x="1405" y="1087"/>
                      <a:pt x="1190" y="1302"/>
                      <a:pt x="925" y="1302"/>
                    </a:cubicBezTo>
                    <a:close/>
                  </a:path>
                </a:pathLst>
              </a:custGeom>
              <a:solidFill>
                <a:srgbClr val="792942"/>
              </a:solidFill>
              <a:ln>
                <a:noFill/>
              </a:ln>
            </p:spPr>
            <p:txBody>
              <a:bodyPr vert="horz" wrap="square" lIns="68580" tIns="34290" rIns="68580" bIns="34290" numCol="1" anchor="t" anchorCtr="0" compatLnSpc="1">
                <a:prstTxWarp prst="textNoShape">
                  <a:avLst/>
                </a:prstTxWarp>
              </a:bodyPr>
              <a:lstStyle/>
              <a:p>
                <a:pPr algn="ctr"/>
                <a:endParaRPr lang="de-DE" sz="675" dirty="0">
                  <a:solidFill>
                    <a:srgbClr val="37373A"/>
                  </a:solidFill>
                  <a:latin typeface="+mj-lt"/>
                </a:endParaRPr>
              </a:p>
            </p:txBody>
          </p:sp>
          <p:sp>
            <p:nvSpPr>
              <p:cNvPr id="157" name="Freeform 8">
                <a:extLst>
                  <a:ext uri="{FF2B5EF4-FFF2-40B4-BE49-F238E27FC236}">
                    <a16:creationId xmlns:a16="http://schemas.microsoft.com/office/drawing/2014/main" id="{321D005A-0E75-464B-BAC8-B324D02D48BD}"/>
                  </a:ext>
                </a:extLst>
              </p:cNvPr>
              <p:cNvSpPr>
                <a:spLocks noEditPoints="1"/>
              </p:cNvSpPr>
              <p:nvPr/>
            </p:nvSpPr>
            <p:spPr bwMode="auto">
              <a:xfrm>
                <a:off x="2496345" y="2592388"/>
                <a:ext cx="622300" cy="623888"/>
              </a:xfrm>
              <a:custGeom>
                <a:avLst/>
                <a:gdLst>
                  <a:gd name="T0" fmla="*/ 744 w 872"/>
                  <a:gd name="T1" fmla="*/ 128 h 872"/>
                  <a:gd name="T2" fmla="*/ 436 w 872"/>
                  <a:gd name="T3" fmla="*/ 0 h 872"/>
                  <a:gd name="T4" fmla="*/ 128 w 872"/>
                  <a:gd name="T5" fmla="*/ 128 h 872"/>
                  <a:gd name="T6" fmla="*/ 0 w 872"/>
                  <a:gd name="T7" fmla="*/ 436 h 872"/>
                  <a:gd name="T8" fmla="*/ 128 w 872"/>
                  <a:gd name="T9" fmla="*/ 744 h 872"/>
                  <a:gd name="T10" fmla="*/ 436 w 872"/>
                  <a:gd name="T11" fmla="*/ 872 h 872"/>
                  <a:gd name="T12" fmla="*/ 744 w 872"/>
                  <a:gd name="T13" fmla="*/ 744 h 872"/>
                  <a:gd name="T14" fmla="*/ 872 w 872"/>
                  <a:gd name="T15" fmla="*/ 436 h 872"/>
                  <a:gd name="T16" fmla="*/ 744 w 872"/>
                  <a:gd name="T17" fmla="*/ 128 h 872"/>
                  <a:gd name="T18" fmla="*/ 472 w 872"/>
                  <a:gd name="T19" fmla="*/ 112 h 872"/>
                  <a:gd name="T20" fmla="*/ 576 w 872"/>
                  <a:gd name="T21" fmla="*/ 216 h 872"/>
                  <a:gd name="T22" fmla="*/ 472 w 872"/>
                  <a:gd name="T23" fmla="*/ 320 h 872"/>
                  <a:gd name="T24" fmla="*/ 368 w 872"/>
                  <a:gd name="T25" fmla="*/ 216 h 872"/>
                  <a:gd name="T26" fmla="*/ 472 w 872"/>
                  <a:gd name="T27" fmla="*/ 112 h 872"/>
                  <a:gd name="T28" fmla="*/ 195 w 872"/>
                  <a:gd name="T29" fmla="*/ 216 h 872"/>
                  <a:gd name="T30" fmla="*/ 276 w 872"/>
                  <a:gd name="T31" fmla="*/ 297 h 872"/>
                  <a:gd name="T32" fmla="*/ 195 w 872"/>
                  <a:gd name="T33" fmla="*/ 377 h 872"/>
                  <a:gd name="T34" fmla="*/ 114 w 872"/>
                  <a:gd name="T35" fmla="*/ 297 h 872"/>
                  <a:gd name="T36" fmla="*/ 195 w 872"/>
                  <a:gd name="T37" fmla="*/ 216 h 872"/>
                  <a:gd name="T38" fmla="*/ 215 w 872"/>
                  <a:gd name="T39" fmla="*/ 679 h 872"/>
                  <a:gd name="T40" fmla="*/ 119 w 872"/>
                  <a:gd name="T41" fmla="*/ 583 h 872"/>
                  <a:gd name="T42" fmla="*/ 215 w 872"/>
                  <a:gd name="T43" fmla="*/ 487 h 872"/>
                  <a:gd name="T44" fmla="*/ 311 w 872"/>
                  <a:gd name="T45" fmla="*/ 583 h 872"/>
                  <a:gd name="T46" fmla="*/ 215 w 872"/>
                  <a:gd name="T47" fmla="*/ 679 h 872"/>
                  <a:gd name="T48" fmla="*/ 403 w 872"/>
                  <a:gd name="T49" fmla="*/ 539 h 872"/>
                  <a:gd name="T50" fmla="*/ 322 w 872"/>
                  <a:gd name="T51" fmla="*/ 458 h 872"/>
                  <a:gd name="T52" fmla="*/ 403 w 872"/>
                  <a:gd name="T53" fmla="*/ 377 h 872"/>
                  <a:gd name="T54" fmla="*/ 484 w 872"/>
                  <a:gd name="T55" fmla="*/ 458 h 872"/>
                  <a:gd name="T56" fmla="*/ 403 w 872"/>
                  <a:gd name="T57" fmla="*/ 539 h 872"/>
                  <a:gd name="T58" fmla="*/ 545 w 872"/>
                  <a:gd name="T59" fmla="*/ 760 h 872"/>
                  <a:gd name="T60" fmla="*/ 464 w 872"/>
                  <a:gd name="T61" fmla="*/ 679 h 872"/>
                  <a:gd name="T62" fmla="*/ 545 w 872"/>
                  <a:gd name="T63" fmla="*/ 599 h 872"/>
                  <a:gd name="T64" fmla="*/ 625 w 872"/>
                  <a:gd name="T65" fmla="*/ 679 h 872"/>
                  <a:gd name="T66" fmla="*/ 545 w 872"/>
                  <a:gd name="T67" fmla="*/ 760 h 872"/>
                  <a:gd name="T68" fmla="*/ 662 w 872"/>
                  <a:gd name="T69" fmla="*/ 540 h 872"/>
                  <a:gd name="T70" fmla="*/ 566 w 872"/>
                  <a:gd name="T71" fmla="*/ 444 h 872"/>
                  <a:gd name="T72" fmla="*/ 662 w 872"/>
                  <a:gd name="T73" fmla="*/ 348 h 872"/>
                  <a:gd name="T74" fmla="*/ 758 w 872"/>
                  <a:gd name="T75" fmla="*/ 444 h 872"/>
                  <a:gd name="T76" fmla="*/ 662 w 872"/>
                  <a:gd name="T77" fmla="*/ 54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2" h="872">
                    <a:moveTo>
                      <a:pt x="744" y="128"/>
                    </a:moveTo>
                    <a:cubicBezTo>
                      <a:pt x="662" y="45"/>
                      <a:pt x="553" y="0"/>
                      <a:pt x="436" y="0"/>
                    </a:cubicBezTo>
                    <a:cubicBezTo>
                      <a:pt x="319" y="0"/>
                      <a:pt x="210" y="45"/>
                      <a:pt x="128" y="128"/>
                    </a:cubicBezTo>
                    <a:cubicBezTo>
                      <a:pt x="45" y="210"/>
                      <a:pt x="0" y="319"/>
                      <a:pt x="0" y="436"/>
                    </a:cubicBezTo>
                    <a:cubicBezTo>
                      <a:pt x="0" y="553"/>
                      <a:pt x="45" y="662"/>
                      <a:pt x="128" y="744"/>
                    </a:cubicBezTo>
                    <a:cubicBezTo>
                      <a:pt x="210" y="827"/>
                      <a:pt x="319" y="872"/>
                      <a:pt x="436" y="872"/>
                    </a:cubicBezTo>
                    <a:cubicBezTo>
                      <a:pt x="553" y="872"/>
                      <a:pt x="662" y="827"/>
                      <a:pt x="744" y="744"/>
                    </a:cubicBezTo>
                    <a:cubicBezTo>
                      <a:pt x="827" y="662"/>
                      <a:pt x="872" y="553"/>
                      <a:pt x="872" y="436"/>
                    </a:cubicBezTo>
                    <a:cubicBezTo>
                      <a:pt x="872" y="319"/>
                      <a:pt x="827" y="210"/>
                      <a:pt x="744" y="128"/>
                    </a:cubicBezTo>
                    <a:close/>
                    <a:moveTo>
                      <a:pt x="472" y="112"/>
                    </a:moveTo>
                    <a:cubicBezTo>
                      <a:pt x="529" y="112"/>
                      <a:pt x="576" y="158"/>
                      <a:pt x="576" y="216"/>
                    </a:cubicBezTo>
                    <a:cubicBezTo>
                      <a:pt x="576" y="273"/>
                      <a:pt x="529" y="320"/>
                      <a:pt x="472" y="320"/>
                    </a:cubicBezTo>
                    <a:cubicBezTo>
                      <a:pt x="414" y="320"/>
                      <a:pt x="368" y="273"/>
                      <a:pt x="368" y="216"/>
                    </a:cubicBezTo>
                    <a:cubicBezTo>
                      <a:pt x="368" y="158"/>
                      <a:pt x="414" y="112"/>
                      <a:pt x="472" y="112"/>
                    </a:cubicBezTo>
                    <a:close/>
                    <a:moveTo>
                      <a:pt x="195" y="216"/>
                    </a:moveTo>
                    <a:cubicBezTo>
                      <a:pt x="240" y="216"/>
                      <a:pt x="276" y="252"/>
                      <a:pt x="276" y="297"/>
                    </a:cubicBezTo>
                    <a:cubicBezTo>
                      <a:pt x="276" y="341"/>
                      <a:pt x="240" y="377"/>
                      <a:pt x="195" y="377"/>
                    </a:cubicBezTo>
                    <a:cubicBezTo>
                      <a:pt x="151" y="377"/>
                      <a:pt x="114" y="341"/>
                      <a:pt x="114" y="297"/>
                    </a:cubicBezTo>
                    <a:cubicBezTo>
                      <a:pt x="114" y="252"/>
                      <a:pt x="151" y="216"/>
                      <a:pt x="195" y="216"/>
                    </a:cubicBezTo>
                    <a:close/>
                    <a:moveTo>
                      <a:pt x="215" y="679"/>
                    </a:moveTo>
                    <a:cubicBezTo>
                      <a:pt x="162" y="679"/>
                      <a:pt x="119" y="636"/>
                      <a:pt x="119" y="583"/>
                    </a:cubicBezTo>
                    <a:cubicBezTo>
                      <a:pt x="119" y="530"/>
                      <a:pt x="162" y="487"/>
                      <a:pt x="215" y="487"/>
                    </a:cubicBezTo>
                    <a:cubicBezTo>
                      <a:pt x="268" y="487"/>
                      <a:pt x="311" y="530"/>
                      <a:pt x="311" y="583"/>
                    </a:cubicBezTo>
                    <a:cubicBezTo>
                      <a:pt x="311" y="636"/>
                      <a:pt x="268" y="679"/>
                      <a:pt x="215" y="679"/>
                    </a:cubicBezTo>
                    <a:close/>
                    <a:moveTo>
                      <a:pt x="403" y="539"/>
                    </a:moveTo>
                    <a:cubicBezTo>
                      <a:pt x="359" y="539"/>
                      <a:pt x="322" y="503"/>
                      <a:pt x="322" y="458"/>
                    </a:cubicBezTo>
                    <a:cubicBezTo>
                      <a:pt x="322" y="414"/>
                      <a:pt x="359" y="377"/>
                      <a:pt x="403" y="377"/>
                    </a:cubicBezTo>
                    <a:cubicBezTo>
                      <a:pt x="448" y="377"/>
                      <a:pt x="484" y="414"/>
                      <a:pt x="484" y="458"/>
                    </a:cubicBezTo>
                    <a:cubicBezTo>
                      <a:pt x="484" y="503"/>
                      <a:pt x="448" y="539"/>
                      <a:pt x="403" y="539"/>
                    </a:cubicBezTo>
                    <a:close/>
                    <a:moveTo>
                      <a:pt x="545" y="760"/>
                    </a:moveTo>
                    <a:cubicBezTo>
                      <a:pt x="500" y="760"/>
                      <a:pt x="464" y="724"/>
                      <a:pt x="464" y="679"/>
                    </a:cubicBezTo>
                    <a:cubicBezTo>
                      <a:pt x="464" y="635"/>
                      <a:pt x="500" y="599"/>
                      <a:pt x="545" y="599"/>
                    </a:cubicBezTo>
                    <a:cubicBezTo>
                      <a:pt x="589" y="599"/>
                      <a:pt x="625" y="635"/>
                      <a:pt x="625" y="679"/>
                    </a:cubicBezTo>
                    <a:cubicBezTo>
                      <a:pt x="625" y="724"/>
                      <a:pt x="589" y="760"/>
                      <a:pt x="545" y="760"/>
                    </a:cubicBezTo>
                    <a:close/>
                    <a:moveTo>
                      <a:pt x="662" y="540"/>
                    </a:moveTo>
                    <a:cubicBezTo>
                      <a:pt x="609" y="540"/>
                      <a:pt x="566" y="497"/>
                      <a:pt x="566" y="444"/>
                    </a:cubicBezTo>
                    <a:cubicBezTo>
                      <a:pt x="566" y="391"/>
                      <a:pt x="609" y="348"/>
                      <a:pt x="662" y="348"/>
                    </a:cubicBezTo>
                    <a:cubicBezTo>
                      <a:pt x="715" y="348"/>
                      <a:pt x="758" y="391"/>
                      <a:pt x="758" y="444"/>
                    </a:cubicBezTo>
                    <a:cubicBezTo>
                      <a:pt x="758" y="497"/>
                      <a:pt x="715" y="540"/>
                      <a:pt x="662" y="540"/>
                    </a:cubicBezTo>
                    <a:close/>
                  </a:path>
                </a:pathLst>
              </a:custGeom>
              <a:solidFill>
                <a:srgbClr val="B43E62"/>
              </a:solidFill>
              <a:ln>
                <a:noFill/>
              </a:ln>
            </p:spPr>
            <p:txBody>
              <a:bodyPr vert="horz" wrap="square" lIns="68580" tIns="34290" rIns="68580" bIns="34290" numCol="1" anchor="t" anchorCtr="0" compatLnSpc="1">
                <a:prstTxWarp prst="textNoShape">
                  <a:avLst/>
                </a:prstTxWarp>
              </a:bodyPr>
              <a:lstStyle/>
              <a:p>
                <a:pPr algn="ctr"/>
                <a:endParaRPr lang="de-DE" sz="675" dirty="0">
                  <a:solidFill>
                    <a:srgbClr val="37373A"/>
                  </a:solidFill>
                  <a:latin typeface="+mj-lt"/>
                </a:endParaRPr>
              </a:p>
            </p:txBody>
          </p:sp>
        </p:grpSp>
      </p:grpSp>
      <p:sp>
        <p:nvSpPr>
          <p:cNvPr id="191" name="Rectangle 25">
            <a:extLst>
              <a:ext uri="{FF2B5EF4-FFF2-40B4-BE49-F238E27FC236}">
                <a16:creationId xmlns:a16="http://schemas.microsoft.com/office/drawing/2014/main" id="{9E0A67CB-CE95-445F-A3C6-3F2CD96C715E}"/>
              </a:ext>
            </a:extLst>
          </p:cNvPr>
          <p:cNvSpPr>
            <a:spLocks noChangeArrowheads="1"/>
          </p:cNvSpPr>
          <p:nvPr/>
        </p:nvSpPr>
        <p:spPr bwMode="auto">
          <a:xfrm>
            <a:off x="3610893" y="2263999"/>
            <a:ext cx="1620000" cy="687368"/>
          </a:xfrm>
          <a:prstGeom prst="rect">
            <a:avLst/>
          </a:prstGeom>
          <a:solidFill>
            <a:schemeClr val="bg1"/>
          </a:solidFill>
          <a:ln w="9525" cap="rnd" cmpd="sng" algn="ctr">
            <a:noFill/>
            <a:prstDash val="solid"/>
            <a:round/>
            <a:headEnd type="none" w="med" len="med"/>
            <a:tailEnd type="none" w="med" len="med"/>
          </a:ln>
        </p:spPr>
        <p:txBody>
          <a:bodyPr wrap="square" lIns="0" tIns="0" rIns="0" bIns="0" anchor="ctr">
            <a:spAutoFit/>
          </a:bodyPr>
          <a:lstStyle/>
          <a:p>
            <a:pPr algn="ctr">
              <a:lnSpc>
                <a:spcPct val="90000"/>
              </a:lnSpc>
              <a:spcAft>
                <a:spcPts val="450"/>
              </a:spcAft>
            </a:pPr>
            <a:r>
              <a:rPr lang="de-DE" sz="900" b="1" dirty="0">
                <a:solidFill>
                  <a:srgbClr val="3C8C93"/>
                </a:solidFill>
                <a:latin typeface="+mj-lt"/>
              </a:rPr>
              <a:t>Keine Infektion im Pool</a:t>
            </a:r>
          </a:p>
          <a:p>
            <a:pPr algn="ctr">
              <a:lnSpc>
                <a:spcPct val="90000"/>
              </a:lnSpc>
              <a:spcAft>
                <a:spcPts val="450"/>
              </a:spcAft>
            </a:pPr>
            <a:r>
              <a:rPr lang="de-DE" sz="900" spc="-15" dirty="0">
                <a:solidFill>
                  <a:srgbClr val="37373A"/>
                </a:solidFill>
                <a:latin typeface="+mj-lt"/>
              </a:rPr>
              <a:t>Erziehungsberechtigte und Beschäftigte werden über ein negatives Testergebnis digital informiert.</a:t>
            </a:r>
          </a:p>
        </p:txBody>
      </p:sp>
      <p:sp>
        <p:nvSpPr>
          <p:cNvPr id="257" name="Rectangle 25">
            <a:extLst>
              <a:ext uri="{FF2B5EF4-FFF2-40B4-BE49-F238E27FC236}">
                <a16:creationId xmlns:a16="http://schemas.microsoft.com/office/drawing/2014/main" id="{49D30E23-608F-49C2-93B0-88E9EE4FDDFD}"/>
              </a:ext>
            </a:extLst>
          </p:cNvPr>
          <p:cNvSpPr>
            <a:spLocks noChangeArrowheads="1"/>
          </p:cNvSpPr>
          <p:nvPr/>
        </p:nvSpPr>
        <p:spPr bwMode="auto">
          <a:xfrm>
            <a:off x="6423002" y="3588217"/>
            <a:ext cx="1893413" cy="1107996"/>
          </a:xfrm>
          <a:prstGeom prst="rect">
            <a:avLst/>
          </a:prstGeom>
          <a:solidFill>
            <a:schemeClr val="bg1"/>
          </a:solidFill>
          <a:ln w="9525" cap="rnd" cmpd="sng" algn="ctr">
            <a:noFill/>
            <a:prstDash val="solid"/>
            <a:round/>
            <a:headEnd type="none" w="med" len="med"/>
            <a:tailEnd type="none" w="med" len="med"/>
          </a:ln>
        </p:spPr>
        <p:txBody>
          <a:bodyPr wrap="square" lIns="0" tIns="0" rIns="0" bIns="0" anchor="ctr">
            <a:spAutoFit/>
          </a:bodyPr>
          <a:lstStyle/>
          <a:p>
            <a:pPr algn="ctr">
              <a:buSzPct val="100000"/>
            </a:pPr>
            <a:r>
              <a:rPr lang="de-DE" sz="900" b="1" dirty="0">
                <a:solidFill>
                  <a:srgbClr val="B43E62"/>
                </a:solidFill>
                <a:latin typeface="+mj-lt"/>
              </a:rPr>
              <a:t>Alle</a:t>
            </a:r>
            <a:r>
              <a:rPr lang="de-DE" sz="900" dirty="0">
                <a:solidFill>
                  <a:srgbClr val="37373A"/>
                </a:solidFill>
                <a:latin typeface="+mj-lt"/>
              </a:rPr>
              <a:t> am PCR-Pool-Test teilnehmenden </a:t>
            </a:r>
            <a:r>
              <a:rPr lang="de-DE" sz="900" b="1" dirty="0">
                <a:solidFill>
                  <a:srgbClr val="B43E62"/>
                </a:solidFill>
                <a:latin typeface="+mj-lt"/>
              </a:rPr>
              <a:t>Kinder sind Verdachtspersonen</a:t>
            </a:r>
            <a:r>
              <a:rPr lang="de-DE" sz="900" dirty="0">
                <a:solidFill>
                  <a:srgbClr val="37373A"/>
                </a:solidFill>
                <a:latin typeface="+mj-lt"/>
              </a:rPr>
              <a:t>.</a:t>
            </a:r>
            <a:br>
              <a:rPr lang="de-DE" sz="900" dirty="0">
                <a:solidFill>
                  <a:srgbClr val="37373A"/>
                </a:solidFill>
                <a:latin typeface="+mj-lt"/>
              </a:rPr>
            </a:br>
            <a:r>
              <a:rPr lang="de-DE" sz="900" dirty="0">
                <a:solidFill>
                  <a:srgbClr val="37373A"/>
                </a:solidFill>
                <a:latin typeface="+mj-lt"/>
              </a:rPr>
              <a:t>Die </a:t>
            </a:r>
            <a:r>
              <a:rPr lang="de-DE" sz="900" b="1" dirty="0">
                <a:solidFill>
                  <a:srgbClr val="B43E62"/>
                </a:solidFill>
                <a:latin typeface="+mj-lt"/>
              </a:rPr>
              <a:t>Kinder müssen einzeln </a:t>
            </a:r>
            <a:r>
              <a:rPr lang="de-DE" sz="900" dirty="0">
                <a:solidFill>
                  <a:srgbClr val="37373A"/>
                </a:solidFill>
                <a:latin typeface="+mj-lt"/>
              </a:rPr>
              <a:t>mittels PCR-Methode </a:t>
            </a:r>
            <a:r>
              <a:rPr lang="de-DE" sz="900" b="1" dirty="0">
                <a:solidFill>
                  <a:srgbClr val="B43E62"/>
                </a:solidFill>
                <a:latin typeface="+mj-lt"/>
              </a:rPr>
              <a:t>getestet werden</a:t>
            </a:r>
            <a:r>
              <a:rPr lang="de-DE" sz="900" dirty="0">
                <a:solidFill>
                  <a:srgbClr val="37373A"/>
                </a:solidFill>
                <a:latin typeface="+mj-lt"/>
              </a:rPr>
              <a:t>.</a:t>
            </a:r>
            <a:br>
              <a:rPr lang="de-DE" sz="900" dirty="0">
                <a:solidFill>
                  <a:srgbClr val="37373A"/>
                </a:solidFill>
                <a:latin typeface="+mj-lt"/>
              </a:rPr>
            </a:br>
            <a:r>
              <a:rPr lang="de-DE" sz="900" dirty="0">
                <a:solidFill>
                  <a:srgbClr val="37373A"/>
                </a:solidFill>
                <a:latin typeface="+mj-lt"/>
              </a:rPr>
              <a:t>Nach einem negativen Individualtest ist der Besuch wie gewohnt </a:t>
            </a:r>
            <a:r>
              <a:rPr lang="de-DE" sz="900" dirty="0" smtClean="0">
                <a:solidFill>
                  <a:srgbClr val="37373A"/>
                </a:solidFill>
                <a:latin typeface="+mj-lt"/>
              </a:rPr>
              <a:t>möglich</a:t>
            </a:r>
            <a:r>
              <a:rPr lang="de-DE" sz="900" dirty="0">
                <a:solidFill>
                  <a:srgbClr val="37373A"/>
                </a:solidFill>
                <a:latin typeface="+mj-lt"/>
              </a:rPr>
              <a:t>, sofern keine Quarantäne als enge Kontaktperson angeordnet wird.</a:t>
            </a:r>
          </a:p>
        </p:txBody>
      </p:sp>
      <p:cxnSp>
        <p:nvCxnSpPr>
          <p:cNvPr id="44" name="Connector: Elbow 43">
            <a:extLst>
              <a:ext uri="{FF2B5EF4-FFF2-40B4-BE49-F238E27FC236}">
                <a16:creationId xmlns:a16="http://schemas.microsoft.com/office/drawing/2014/main" id="{9252E195-AA08-4959-9A65-2CFA7CE78FCD}"/>
              </a:ext>
            </a:extLst>
          </p:cNvPr>
          <p:cNvCxnSpPr>
            <a:stCxn id="118" idx="3"/>
            <a:endCxn id="191" idx="1"/>
          </p:cNvCxnSpPr>
          <p:nvPr/>
        </p:nvCxnSpPr>
        <p:spPr>
          <a:xfrm flipV="1">
            <a:off x="2130906" y="2607683"/>
            <a:ext cx="1479987" cy="772647"/>
          </a:xfrm>
          <a:prstGeom prst="bentConnector3">
            <a:avLst/>
          </a:prstGeom>
          <a:ln w="9525"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AFFFEFCE-D3C6-4023-B0F6-A32399932434}"/>
              </a:ext>
            </a:extLst>
          </p:cNvPr>
          <p:cNvCxnSpPr>
            <a:stCxn id="118" idx="3"/>
            <a:endCxn id="140" idx="1"/>
          </p:cNvCxnSpPr>
          <p:nvPr/>
        </p:nvCxnSpPr>
        <p:spPr>
          <a:xfrm>
            <a:off x="2130906" y="3380330"/>
            <a:ext cx="1479987" cy="616599"/>
          </a:xfrm>
          <a:prstGeom prst="bentConnector3">
            <a:avLst/>
          </a:prstGeom>
          <a:ln w="9525"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69" name="Rectangle 25">
            <a:extLst>
              <a:ext uri="{FF2B5EF4-FFF2-40B4-BE49-F238E27FC236}">
                <a16:creationId xmlns:a16="http://schemas.microsoft.com/office/drawing/2014/main" id="{94DFE282-2D1D-4CA1-9139-3B5C28C2B638}"/>
              </a:ext>
            </a:extLst>
          </p:cNvPr>
          <p:cNvSpPr>
            <a:spLocks noChangeArrowheads="1"/>
          </p:cNvSpPr>
          <p:nvPr/>
        </p:nvSpPr>
        <p:spPr bwMode="auto">
          <a:xfrm>
            <a:off x="6423003" y="2259048"/>
            <a:ext cx="1620000" cy="553998"/>
          </a:xfrm>
          <a:prstGeom prst="rect">
            <a:avLst/>
          </a:prstGeom>
          <a:solidFill>
            <a:schemeClr val="bg1"/>
          </a:solidFill>
          <a:ln w="9525" cap="rnd" cmpd="sng" algn="ctr">
            <a:noFill/>
            <a:prstDash val="solid"/>
            <a:round/>
            <a:headEnd type="none" w="med" len="med"/>
            <a:tailEnd type="none" w="med" len="med"/>
          </a:ln>
        </p:spPr>
        <p:txBody>
          <a:bodyPr wrap="square" lIns="0" tIns="0" rIns="0" bIns="0" anchor="ctr">
            <a:spAutoFit/>
          </a:bodyPr>
          <a:lstStyle/>
          <a:p>
            <a:pPr algn="ctr">
              <a:buSzPct val="100000"/>
            </a:pPr>
            <a:r>
              <a:rPr lang="de-DE" sz="900" dirty="0">
                <a:solidFill>
                  <a:srgbClr val="37373A"/>
                </a:solidFill>
                <a:latin typeface="+mj-lt"/>
              </a:rPr>
              <a:t>Keine weiteren Schritte notwendig</a:t>
            </a:r>
            <a:r>
              <a:rPr lang="de-DE" sz="900" dirty="0">
                <a:solidFill>
                  <a:srgbClr val="3C8C93"/>
                </a:solidFill>
                <a:latin typeface="+mj-lt"/>
              </a:rPr>
              <a:t>. </a:t>
            </a:r>
            <a:r>
              <a:rPr lang="de-DE" sz="900" b="1" dirty="0">
                <a:solidFill>
                  <a:srgbClr val="3C8C93"/>
                </a:solidFill>
                <a:latin typeface="+mj-lt"/>
              </a:rPr>
              <a:t>Der Besuch am nächsten Tag ist wie gewohnt möglich.</a:t>
            </a:r>
          </a:p>
        </p:txBody>
      </p:sp>
      <p:grpSp>
        <p:nvGrpSpPr>
          <p:cNvPr id="276" name="Group 275">
            <a:extLst>
              <a:ext uri="{FF2B5EF4-FFF2-40B4-BE49-F238E27FC236}">
                <a16:creationId xmlns:a16="http://schemas.microsoft.com/office/drawing/2014/main" id="{14245A00-9735-491E-A65A-B404DCAED741}"/>
              </a:ext>
            </a:extLst>
          </p:cNvPr>
          <p:cNvGrpSpPr>
            <a:grpSpLocks noChangeAspect="1"/>
          </p:cNvGrpSpPr>
          <p:nvPr/>
        </p:nvGrpSpPr>
        <p:grpSpPr>
          <a:xfrm>
            <a:off x="7057253" y="1857542"/>
            <a:ext cx="351000" cy="351000"/>
            <a:chOff x="982662" y="3868738"/>
            <a:chExt cx="269875" cy="269875"/>
          </a:xfrm>
        </p:grpSpPr>
        <p:sp>
          <p:nvSpPr>
            <p:cNvPr id="277" name="Oval 16">
              <a:extLst>
                <a:ext uri="{FF2B5EF4-FFF2-40B4-BE49-F238E27FC236}">
                  <a16:creationId xmlns:a16="http://schemas.microsoft.com/office/drawing/2014/main" id="{B0403DC7-F307-4C2A-820A-C7489063778C}"/>
                </a:ext>
              </a:extLst>
            </p:cNvPr>
            <p:cNvSpPr>
              <a:spLocks noChangeArrowheads="1"/>
            </p:cNvSpPr>
            <p:nvPr/>
          </p:nvSpPr>
          <p:spPr bwMode="auto">
            <a:xfrm>
              <a:off x="982662" y="3868738"/>
              <a:ext cx="269875" cy="269875"/>
            </a:xfrm>
            <a:prstGeom prst="ellipse">
              <a:avLst/>
            </a:prstGeom>
            <a:solidFill>
              <a:srgbClr val="3C8C93"/>
            </a:solidFill>
            <a:ln>
              <a:noFill/>
            </a:ln>
          </p:spPr>
          <p:txBody>
            <a:bodyPr vert="horz" wrap="square" lIns="68580" tIns="34290" rIns="68580" bIns="34290" numCol="1" anchor="t" anchorCtr="0" compatLnSpc="1">
              <a:prstTxWarp prst="textNoShape">
                <a:avLst/>
              </a:prstTxWarp>
            </a:bodyPr>
            <a:lstStyle/>
            <a:p>
              <a:endParaRPr lang="de-DE" dirty="0">
                <a:solidFill>
                  <a:schemeClr val="bg1"/>
                </a:solidFill>
                <a:latin typeface="+mj-lt"/>
              </a:endParaRPr>
            </a:p>
          </p:txBody>
        </p:sp>
        <p:sp>
          <p:nvSpPr>
            <p:cNvPr id="278" name="Freeform 17">
              <a:extLst>
                <a:ext uri="{FF2B5EF4-FFF2-40B4-BE49-F238E27FC236}">
                  <a16:creationId xmlns:a16="http://schemas.microsoft.com/office/drawing/2014/main" id="{4F50115C-49EB-48B9-802B-10753013F457}"/>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de-DE" dirty="0">
                <a:solidFill>
                  <a:schemeClr val="bg1"/>
                </a:solidFill>
                <a:latin typeface="+mj-lt"/>
              </a:endParaRPr>
            </a:p>
          </p:txBody>
        </p:sp>
      </p:grpSp>
      <p:cxnSp>
        <p:nvCxnSpPr>
          <p:cNvPr id="279" name="Straight Arrow Connector 278">
            <a:extLst>
              <a:ext uri="{FF2B5EF4-FFF2-40B4-BE49-F238E27FC236}">
                <a16:creationId xmlns:a16="http://schemas.microsoft.com/office/drawing/2014/main" id="{75DA840A-181D-455C-BDDA-DD2650DD164D}"/>
              </a:ext>
            </a:extLst>
          </p:cNvPr>
          <p:cNvCxnSpPr>
            <a:cxnSpLocks/>
          </p:cNvCxnSpPr>
          <p:nvPr/>
        </p:nvCxnSpPr>
        <p:spPr>
          <a:xfrm>
            <a:off x="5214914" y="2536046"/>
            <a:ext cx="1085279" cy="0"/>
          </a:xfrm>
          <a:prstGeom prst="straightConnector1">
            <a:avLst/>
          </a:prstGeom>
          <a:ln w="9525"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nvGrpSpPr>
          <p:cNvPr id="237" name="Group 236">
            <a:extLst>
              <a:ext uri="{FF2B5EF4-FFF2-40B4-BE49-F238E27FC236}">
                <a16:creationId xmlns:a16="http://schemas.microsoft.com/office/drawing/2014/main" id="{A4F7C185-BD69-47A8-BDBA-7B0E3E9638E7}"/>
              </a:ext>
            </a:extLst>
          </p:cNvPr>
          <p:cNvGrpSpPr>
            <a:grpSpLocks noChangeAspect="1"/>
          </p:cNvGrpSpPr>
          <p:nvPr/>
        </p:nvGrpSpPr>
        <p:grpSpPr>
          <a:xfrm>
            <a:off x="2802981" y="2812220"/>
            <a:ext cx="135838" cy="135838"/>
            <a:chOff x="982662" y="3868738"/>
            <a:chExt cx="269875" cy="269875"/>
          </a:xfrm>
        </p:grpSpPr>
        <p:sp>
          <p:nvSpPr>
            <p:cNvPr id="239" name="Oval 16">
              <a:extLst>
                <a:ext uri="{FF2B5EF4-FFF2-40B4-BE49-F238E27FC236}">
                  <a16:creationId xmlns:a16="http://schemas.microsoft.com/office/drawing/2014/main" id="{16AB1893-1371-4E7F-A699-7C36DB72640B}"/>
                </a:ext>
              </a:extLst>
            </p:cNvPr>
            <p:cNvSpPr>
              <a:spLocks noChangeArrowheads="1"/>
            </p:cNvSpPr>
            <p:nvPr/>
          </p:nvSpPr>
          <p:spPr bwMode="auto">
            <a:xfrm>
              <a:off x="982662" y="3868738"/>
              <a:ext cx="269875" cy="269875"/>
            </a:xfrm>
            <a:prstGeom prst="ellipse">
              <a:avLst/>
            </a:prstGeom>
            <a:solidFill>
              <a:srgbClr val="3C8C93"/>
            </a:solidFill>
            <a:ln>
              <a:noFill/>
            </a:ln>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sp>
          <p:nvSpPr>
            <p:cNvPr id="241" name="Freeform 17">
              <a:extLst>
                <a:ext uri="{FF2B5EF4-FFF2-40B4-BE49-F238E27FC236}">
                  <a16:creationId xmlns:a16="http://schemas.microsoft.com/office/drawing/2014/main" id="{8A32BE28-756F-47F3-99B4-90CF716378A5}"/>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grpSp>
        <p:nvGrpSpPr>
          <p:cNvPr id="234" name="Group 233">
            <a:extLst>
              <a:ext uri="{FF2B5EF4-FFF2-40B4-BE49-F238E27FC236}">
                <a16:creationId xmlns:a16="http://schemas.microsoft.com/office/drawing/2014/main" id="{9639ED9D-2E08-4368-A9A3-6AF5CA229F31}"/>
              </a:ext>
            </a:extLst>
          </p:cNvPr>
          <p:cNvGrpSpPr>
            <a:grpSpLocks noChangeAspect="1"/>
          </p:cNvGrpSpPr>
          <p:nvPr/>
        </p:nvGrpSpPr>
        <p:grpSpPr>
          <a:xfrm>
            <a:off x="2803399" y="3648060"/>
            <a:ext cx="135000" cy="135000"/>
            <a:chOff x="5961063" y="3294063"/>
            <a:chExt cx="269875" cy="269875"/>
          </a:xfrm>
        </p:grpSpPr>
        <p:sp>
          <p:nvSpPr>
            <p:cNvPr id="235" name="Oval 18">
              <a:extLst>
                <a:ext uri="{FF2B5EF4-FFF2-40B4-BE49-F238E27FC236}">
                  <a16:creationId xmlns:a16="http://schemas.microsoft.com/office/drawing/2014/main" id="{C51710AC-616D-4544-BAFA-5491B527A450}"/>
                </a:ext>
              </a:extLst>
            </p:cNvPr>
            <p:cNvSpPr>
              <a:spLocks noChangeArrowheads="1"/>
            </p:cNvSpPr>
            <p:nvPr/>
          </p:nvSpPr>
          <p:spPr bwMode="auto">
            <a:xfrm>
              <a:off x="5961063" y="3294063"/>
              <a:ext cx="269875" cy="269875"/>
            </a:xfrm>
            <a:prstGeom prst="ellipse">
              <a:avLst/>
            </a:prstGeom>
            <a:solidFill>
              <a:srgbClr val="B43E62"/>
            </a:solidFill>
            <a:ln>
              <a:noFill/>
            </a:ln>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sp>
          <p:nvSpPr>
            <p:cNvPr id="236" name="Freeform 19">
              <a:extLst>
                <a:ext uri="{FF2B5EF4-FFF2-40B4-BE49-F238E27FC236}">
                  <a16:creationId xmlns:a16="http://schemas.microsoft.com/office/drawing/2014/main" id="{30677264-C19B-41A5-8703-4D6ABFB93FE7}"/>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sp>
        <p:nvSpPr>
          <p:cNvPr id="243" name="Rectangle 242">
            <a:extLst>
              <a:ext uri="{FF2B5EF4-FFF2-40B4-BE49-F238E27FC236}">
                <a16:creationId xmlns:a16="http://schemas.microsoft.com/office/drawing/2014/main" id="{34B9BACB-9C1E-4C74-ACAC-49A0D808A694}"/>
              </a:ext>
            </a:extLst>
          </p:cNvPr>
          <p:cNvSpPr/>
          <p:nvPr/>
        </p:nvSpPr>
        <p:spPr>
          <a:xfrm>
            <a:off x="2963259" y="2776980"/>
            <a:ext cx="637620" cy="20774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buFont typeface="Trebuchet MS" panose="020B0603020202020204" pitchFamily="34" charset="0"/>
              <a:buChar char="​"/>
            </a:pPr>
            <a:r>
              <a:rPr lang="de-DE" sz="750" dirty="0">
                <a:solidFill>
                  <a:srgbClr val="3C8C93"/>
                </a:solidFill>
                <a:latin typeface="+mj-lt"/>
              </a:rPr>
              <a:t>PCR-Pool-Test </a:t>
            </a:r>
            <a:br>
              <a:rPr lang="de-DE" sz="750" dirty="0">
                <a:solidFill>
                  <a:srgbClr val="3C8C93"/>
                </a:solidFill>
                <a:latin typeface="+mj-lt"/>
              </a:rPr>
            </a:br>
            <a:r>
              <a:rPr lang="de-DE" sz="750" dirty="0">
                <a:solidFill>
                  <a:srgbClr val="3C8C93"/>
                </a:solidFill>
                <a:latin typeface="+mj-lt"/>
              </a:rPr>
              <a:t>negativ</a:t>
            </a:r>
          </a:p>
        </p:txBody>
      </p:sp>
      <p:sp>
        <p:nvSpPr>
          <p:cNvPr id="244" name="Rectangle 243">
            <a:extLst>
              <a:ext uri="{FF2B5EF4-FFF2-40B4-BE49-F238E27FC236}">
                <a16:creationId xmlns:a16="http://schemas.microsoft.com/office/drawing/2014/main" id="{78DC8A9F-E24E-42E7-8763-AD01A300A75D}"/>
              </a:ext>
            </a:extLst>
          </p:cNvPr>
          <p:cNvSpPr/>
          <p:nvPr/>
        </p:nvSpPr>
        <p:spPr>
          <a:xfrm>
            <a:off x="2985376" y="3611685"/>
            <a:ext cx="585811" cy="20774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buFont typeface="Trebuchet MS" panose="020B0603020202020204" pitchFamily="34" charset="0"/>
              <a:buChar char="​"/>
            </a:pPr>
            <a:r>
              <a:rPr lang="de-DE" sz="750" dirty="0">
                <a:solidFill>
                  <a:srgbClr val="B43E62"/>
                </a:solidFill>
                <a:latin typeface="+mj-lt"/>
              </a:rPr>
              <a:t>PCR-Pool-Test</a:t>
            </a:r>
            <a:br>
              <a:rPr lang="de-DE" sz="750" dirty="0">
                <a:solidFill>
                  <a:srgbClr val="B43E62"/>
                </a:solidFill>
                <a:latin typeface="+mj-lt"/>
              </a:rPr>
            </a:br>
            <a:r>
              <a:rPr lang="de-DE" sz="750" dirty="0">
                <a:solidFill>
                  <a:srgbClr val="B43E62"/>
                </a:solidFill>
                <a:latin typeface="+mj-lt"/>
              </a:rPr>
              <a:t>positiv</a:t>
            </a:r>
          </a:p>
        </p:txBody>
      </p:sp>
      <p:cxnSp>
        <p:nvCxnSpPr>
          <p:cNvPr id="75" name="Straight Arrow Connector 74">
            <a:extLst>
              <a:ext uri="{FF2B5EF4-FFF2-40B4-BE49-F238E27FC236}">
                <a16:creationId xmlns:a16="http://schemas.microsoft.com/office/drawing/2014/main" id="{B754B523-1324-43C7-B950-8379B800F7E4}"/>
              </a:ext>
            </a:extLst>
          </p:cNvPr>
          <p:cNvCxnSpPr>
            <a:cxnSpLocks/>
          </p:cNvCxnSpPr>
          <p:nvPr/>
        </p:nvCxnSpPr>
        <p:spPr>
          <a:xfrm>
            <a:off x="5214913" y="3934604"/>
            <a:ext cx="1085279" cy="0"/>
          </a:xfrm>
          <a:prstGeom prst="straightConnector1">
            <a:avLst/>
          </a:prstGeom>
          <a:ln w="9525"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BEB556DE-54D6-404D-ADAB-6BCB9AEAA3E3}"/>
              </a:ext>
            </a:extLst>
          </p:cNvPr>
          <p:cNvGrpSpPr>
            <a:grpSpLocks noChangeAspect="1"/>
          </p:cNvGrpSpPr>
          <p:nvPr/>
        </p:nvGrpSpPr>
        <p:grpSpPr>
          <a:xfrm>
            <a:off x="7110312" y="3136140"/>
            <a:ext cx="540000" cy="540000"/>
            <a:chOff x="5273400" y="2606400"/>
            <a:chExt cx="1645200" cy="1645200"/>
          </a:xfrm>
        </p:grpSpPr>
        <p:sp>
          <p:nvSpPr>
            <p:cNvPr id="77" name="AutoShape 11">
              <a:extLst>
                <a:ext uri="{FF2B5EF4-FFF2-40B4-BE49-F238E27FC236}">
                  <a16:creationId xmlns:a16="http://schemas.microsoft.com/office/drawing/2014/main" id="{2DC4C768-47EE-404A-BA50-B45BDED3B590}"/>
                </a:ext>
              </a:extLst>
            </p:cNvPr>
            <p:cNvSpPr>
              <a:spLocks noChangeAspect="1" noChangeArrowheads="1" noTextEdit="1"/>
            </p:cNvSpPr>
            <p:nvPr/>
          </p:nvSpPr>
          <p:spPr bwMode="auto">
            <a:xfrm>
              <a:off x="5273400" y="2606400"/>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nvGrpSpPr>
            <p:cNvPr id="78" name="Group 77">
              <a:extLst>
                <a:ext uri="{FF2B5EF4-FFF2-40B4-BE49-F238E27FC236}">
                  <a16:creationId xmlns:a16="http://schemas.microsoft.com/office/drawing/2014/main" id="{A0985893-57E9-4E73-A04A-CC68E0A9BFF3}"/>
                </a:ext>
              </a:extLst>
            </p:cNvPr>
            <p:cNvGrpSpPr/>
            <p:nvPr/>
          </p:nvGrpSpPr>
          <p:grpSpPr>
            <a:xfrm>
              <a:off x="5674798" y="2854323"/>
              <a:ext cx="813079" cy="1121555"/>
              <a:chOff x="5674798" y="2854323"/>
              <a:chExt cx="813079" cy="1121555"/>
            </a:xfrm>
          </p:grpSpPr>
          <p:sp>
            <p:nvSpPr>
              <p:cNvPr id="79" name="Freeform 13">
                <a:extLst>
                  <a:ext uri="{FF2B5EF4-FFF2-40B4-BE49-F238E27FC236}">
                    <a16:creationId xmlns:a16="http://schemas.microsoft.com/office/drawing/2014/main" id="{AB3EABFC-14D2-4553-BEA0-79238AB9D55B}"/>
                  </a:ext>
                </a:extLst>
              </p:cNvPr>
              <p:cNvSpPr>
                <a:spLocks noEditPoints="1"/>
              </p:cNvSpPr>
              <p:nvPr/>
            </p:nvSpPr>
            <p:spPr bwMode="auto">
              <a:xfrm>
                <a:off x="5702599" y="2854323"/>
                <a:ext cx="785278" cy="1121555"/>
              </a:xfrm>
              <a:custGeom>
                <a:avLst/>
                <a:gdLst>
                  <a:gd name="T0" fmla="*/ 1100 w 1100"/>
                  <a:gd name="T1" fmla="*/ 1446 h 1571"/>
                  <a:gd name="T2" fmla="*/ 1100 w 1100"/>
                  <a:gd name="T3" fmla="*/ 1549 h 1571"/>
                  <a:gd name="T4" fmla="*/ 1078 w 1100"/>
                  <a:gd name="T5" fmla="*/ 1571 h 1571"/>
                  <a:gd name="T6" fmla="*/ 22 w 1100"/>
                  <a:gd name="T7" fmla="*/ 1571 h 1571"/>
                  <a:gd name="T8" fmla="*/ 0 w 1100"/>
                  <a:gd name="T9" fmla="*/ 1549 h 1571"/>
                  <a:gd name="T10" fmla="*/ 0 w 1100"/>
                  <a:gd name="T11" fmla="*/ 1446 h 1571"/>
                  <a:gd name="T12" fmla="*/ 22 w 1100"/>
                  <a:gd name="T13" fmla="*/ 1424 h 1571"/>
                  <a:gd name="T14" fmla="*/ 83 w 1100"/>
                  <a:gd name="T15" fmla="*/ 1424 h 1571"/>
                  <a:gd name="T16" fmla="*/ 380 w 1100"/>
                  <a:gd name="T17" fmla="*/ 1424 h 1571"/>
                  <a:gd name="T18" fmla="*/ 497 w 1100"/>
                  <a:gd name="T19" fmla="*/ 1424 h 1571"/>
                  <a:gd name="T20" fmla="*/ 501 w 1100"/>
                  <a:gd name="T21" fmla="*/ 1424 h 1571"/>
                  <a:gd name="T22" fmla="*/ 786 w 1100"/>
                  <a:gd name="T23" fmla="*/ 1058 h 1571"/>
                  <a:gd name="T24" fmla="*/ 710 w 1100"/>
                  <a:gd name="T25" fmla="*/ 832 h 1571"/>
                  <a:gd name="T26" fmla="*/ 794 w 1100"/>
                  <a:gd name="T27" fmla="*/ 717 h 1571"/>
                  <a:gd name="T28" fmla="*/ 924 w 1100"/>
                  <a:gd name="T29" fmla="*/ 1058 h 1571"/>
                  <a:gd name="T30" fmla="*/ 771 w 1100"/>
                  <a:gd name="T31" fmla="*/ 1424 h 1571"/>
                  <a:gd name="T32" fmla="*/ 794 w 1100"/>
                  <a:gd name="T33" fmla="*/ 1424 h 1571"/>
                  <a:gd name="T34" fmla="*/ 1078 w 1100"/>
                  <a:gd name="T35" fmla="*/ 1424 h 1571"/>
                  <a:gd name="T36" fmla="*/ 1100 w 1100"/>
                  <a:gd name="T37" fmla="*/ 1446 h 1571"/>
                  <a:gd name="T38" fmla="*/ 150 w 1100"/>
                  <a:gd name="T39" fmla="*/ 916 h 1571"/>
                  <a:gd name="T40" fmla="*/ 176 w 1100"/>
                  <a:gd name="T41" fmla="*/ 927 h 1571"/>
                  <a:gd name="T42" fmla="*/ 174 w 1100"/>
                  <a:gd name="T43" fmla="*/ 931 h 1571"/>
                  <a:gd name="T44" fmla="*/ 186 w 1100"/>
                  <a:gd name="T45" fmla="*/ 960 h 1571"/>
                  <a:gd name="T46" fmla="*/ 250 w 1100"/>
                  <a:gd name="T47" fmla="*/ 987 h 1571"/>
                  <a:gd name="T48" fmla="*/ 279 w 1100"/>
                  <a:gd name="T49" fmla="*/ 975 h 1571"/>
                  <a:gd name="T50" fmla="*/ 280 w 1100"/>
                  <a:gd name="T51" fmla="*/ 972 h 1571"/>
                  <a:gd name="T52" fmla="*/ 310 w 1100"/>
                  <a:gd name="T53" fmla="*/ 984 h 1571"/>
                  <a:gd name="T54" fmla="*/ 339 w 1100"/>
                  <a:gd name="T55" fmla="*/ 973 h 1571"/>
                  <a:gd name="T56" fmla="*/ 417 w 1100"/>
                  <a:gd name="T57" fmla="*/ 789 h 1571"/>
                  <a:gd name="T58" fmla="*/ 369 w 1100"/>
                  <a:gd name="T59" fmla="*/ 654 h 1571"/>
                  <a:gd name="T60" fmla="*/ 566 w 1100"/>
                  <a:gd name="T61" fmla="*/ 437 h 1571"/>
                  <a:gd name="T62" fmla="*/ 702 w 1100"/>
                  <a:gd name="T63" fmla="*/ 118 h 1571"/>
                  <a:gd name="T64" fmla="*/ 648 w 1100"/>
                  <a:gd name="T65" fmla="*/ 94 h 1571"/>
                  <a:gd name="T66" fmla="*/ 670 w 1100"/>
                  <a:gd name="T67" fmla="*/ 41 h 1571"/>
                  <a:gd name="T68" fmla="*/ 574 w 1100"/>
                  <a:gd name="T69" fmla="*/ 0 h 1571"/>
                  <a:gd name="T70" fmla="*/ 552 w 1100"/>
                  <a:gd name="T71" fmla="*/ 54 h 1571"/>
                  <a:gd name="T72" fmla="*/ 501 w 1100"/>
                  <a:gd name="T73" fmla="*/ 32 h 1571"/>
                  <a:gd name="T74" fmla="*/ 138 w 1100"/>
                  <a:gd name="T75" fmla="*/ 887 h 1571"/>
                  <a:gd name="T76" fmla="*/ 150 w 1100"/>
                  <a:gd name="T77" fmla="*/ 916 h 1571"/>
                  <a:gd name="T78" fmla="*/ 586 w 1100"/>
                  <a:gd name="T79" fmla="*/ 568 h 1571"/>
                  <a:gd name="T80" fmla="*/ 672 w 1100"/>
                  <a:gd name="T81" fmla="*/ 654 h 1571"/>
                  <a:gd name="T82" fmla="*/ 586 w 1100"/>
                  <a:gd name="T83" fmla="*/ 739 h 1571"/>
                  <a:gd name="T84" fmla="*/ 501 w 1100"/>
                  <a:gd name="T85" fmla="*/ 654 h 1571"/>
                  <a:gd name="T86" fmla="*/ 586 w 1100"/>
                  <a:gd name="T87" fmla="*/ 568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0" h="1571">
                    <a:moveTo>
                      <a:pt x="1100" y="1446"/>
                    </a:moveTo>
                    <a:cubicBezTo>
                      <a:pt x="1100" y="1549"/>
                      <a:pt x="1100" y="1549"/>
                      <a:pt x="1100" y="1549"/>
                    </a:cubicBezTo>
                    <a:cubicBezTo>
                      <a:pt x="1100" y="1561"/>
                      <a:pt x="1090" y="1571"/>
                      <a:pt x="1078" y="1571"/>
                    </a:cubicBezTo>
                    <a:cubicBezTo>
                      <a:pt x="22" y="1571"/>
                      <a:pt x="22" y="1571"/>
                      <a:pt x="22" y="1571"/>
                    </a:cubicBezTo>
                    <a:cubicBezTo>
                      <a:pt x="10" y="1571"/>
                      <a:pt x="0" y="1561"/>
                      <a:pt x="0" y="1549"/>
                    </a:cubicBezTo>
                    <a:cubicBezTo>
                      <a:pt x="0" y="1446"/>
                      <a:pt x="0" y="1446"/>
                      <a:pt x="0" y="1446"/>
                    </a:cubicBezTo>
                    <a:cubicBezTo>
                      <a:pt x="0" y="1434"/>
                      <a:pt x="10" y="1424"/>
                      <a:pt x="22" y="1424"/>
                    </a:cubicBezTo>
                    <a:cubicBezTo>
                      <a:pt x="83" y="1424"/>
                      <a:pt x="83" y="1424"/>
                      <a:pt x="83" y="1424"/>
                    </a:cubicBezTo>
                    <a:cubicBezTo>
                      <a:pt x="380" y="1424"/>
                      <a:pt x="380" y="1424"/>
                      <a:pt x="380" y="1424"/>
                    </a:cubicBezTo>
                    <a:cubicBezTo>
                      <a:pt x="497" y="1424"/>
                      <a:pt x="497" y="1424"/>
                      <a:pt x="497" y="1424"/>
                    </a:cubicBezTo>
                    <a:cubicBezTo>
                      <a:pt x="501" y="1424"/>
                      <a:pt x="501" y="1424"/>
                      <a:pt x="501" y="1424"/>
                    </a:cubicBezTo>
                    <a:cubicBezTo>
                      <a:pt x="665" y="1383"/>
                      <a:pt x="786" y="1235"/>
                      <a:pt x="786" y="1058"/>
                    </a:cubicBezTo>
                    <a:cubicBezTo>
                      <a:pt x="786" y="973"/>
                      <a:pt x="758" y="895"/>
                      <a:pt x="710" y="832"/>
                    </a:cubicBezTo>
                    <a:cubicBezTo>
                      <a:pt x="750" y="805"/>
                      <a:pt x="780" y="764"/>
                      <a:pt x="794" y="717"/>
                    </a:cubicBezTo>
                    <a:cubicBezTo>
                      <a:pt x="875" y="808"/>
                      <a:pt x="924" y="927"/>
                      <a:pt x="924" y="1058"/>
                    </a:cubicBezTo>
                    <a:cubicBezTo>
                      <a:pt x="924" y="1201"/>
                      <a:pt x="866" y="1331"/>
                      <a:pt x="771" y="1424"/>
                    </a:cubicBezTo>
                    <a:cubicBezTo>
                      <a:pt x="794" y="1424"/>
                      <a:pt x="794" y="1424"/>
                      <a:pt x="794" y="1424"/>
                    </a:cubicBezTo>
                    <a:cubicBezTo>
                      <a:pt x="1078" y="1424"/>
                      <a:pt x="1078" y="1424"/>
                      <a:pt x="1078" y="1424"/>
                    </a:cubicBezTo>
                    <a:cubicBezTo>
                      <a:pt x="1090" y="1424"/>
                      <a:pt x="1100" y="1434"/>
                      <a:pt x="1100" y="1446"/>
                    </a:cubicBezTo>
                    <a:close/>
                    <a:moveTo>
                      <a:pt x="150" y="916"/>
                    </a:moveTo>
                    <a:cubicBezTo>
                      <a:pt x="176" y="927"/>
                      <a:pt x="176" y="927"/>
                      <a:pt x="176" y="927"/>
                    </a:cubicBezTo>
                    <a:cubicBezTo>
                      <a:pt x="174" y="931"/>
                      <a:pt x="174" y="931"/>
                      <a:pt x="174" y="931"/>
                    </a:cubicBezTo>
                    <a:cubicBezTo>
                      <a:pt x="170" y="942"/>
                      <a:pt x="175" y="955"/>
                      <a:pt x="186" y="960"/>
                    </a:cubicBezTo>
                    <a:cubicBezTo>
                      <a:pt x="250" y="987"/>
                      <a:pt x="250" y="987"/>
                      <a:pt x="250" y="987"/>
                    </a:cubicBezTo>
                    <a:cubicBezTo>
                      <a:pt x="261" y="992"/>
                      <a:pt x="274" y="986"/>
                      <a:pt x="279" y="975"/>
                    </a:cubicBezTo>
                    <a:cubicBezTo>
                      <a:pt x="280" y="972"/>
                      <a:pt x="280" y="972"/>
                      <a:pt x="280" y="972"/>
                    </a:cubicBezTo>
                    <a:cubicBezTo>
                      <a:pt x="310" y="984"/>
                      <a:pt x="310" y="984"/>
                      <a:pt x="310" y="984"/>
                    </a:cubicBezTo>
                    <a:cubicBezTo>
                      <a:pt x="321" y="989"/>
                      <a:pt x="334" y="984"/>
                      <a:pt x="339" y="973"/>
                    </a:cubicBezTo>
                    <a:cubicBezTo>
                      <a:pt x="417" y="789"/>
                      <a:pt x="417" y="789"/>
                      <a:pt x="417" y="789"/>
                    </a:cubicBezTo>
                    <a:cubicBezTo>
                      <a:pt x="387" y="752"/>
                      <a:pt x="369" y="705"/>
                      <a:pt x="369" y="654"/>
                    </a:cubicBezTo>
                    <a:cubicBezTo>
                      <a:pt x="369" y="540"/>
                      <a:pt x="456" y="447"/>
                      <a:pt x="566" y="437"/>
                    </a:cubicBezTo>
                    <a:cubicBezTo>
                      <a:pt x="702" y="118"/>
                      <a:pt x="702" y="118"/>
                      <a:pt x="702" y="118"/>
                    </a:cubicBezTo>
                    <a:cubicBezTo>
                      <a:pt x="648" y="94"/>
                      <a:pt x="648" y="94"/>
                      <a:pt x="648" y="94"/>
                    </a:cubicBezTo>
                    <a:cubicBezTo>
                      <a:pt x="670" y="41"/>
                      <a:pt x="670" y="41"/>
                      <a:pt x="670" y="41"/>
                    </a:cubicBezTo>
                    <a:cubicBezTo>
                      <a:pt x="574" y="0"/>
                      <a:pt x="574" y="0"/>
                      <a:pt x="574" y="0"/>
                    </a:cubicBezTo>
                    <a:cubicBezTo>
                      <a:pt x="552" y="54"/>
                      <a:pt x="552" y="54"/>
                      <a:pt x="552" y="54"/>
                    </a:cubicBezTo>
                    <a:cubicBezTo>
                      <a:pt x="501" y="32"/>
                      <a:pt x="501" y="32"/>
                      <a:pt x="501" y="32"/>
                    </a:cubicBezTo>
                    <a:cubicBezTo>
                      <a:pt x="138" y="887"/>
                      <a:pt x="138" y="887"/>
                      <a:pt x="138" y="887"/>
                    </a:cubicBezTo>
                    <a:cubicBezTo>
                      <a:pt x="133" y="899"/>
                      <a:pt x="138" y="912"/>
                      <a:pt x="150" y="916"/>
                    </a:cubicBezTo>
                    <a:close/>
                    <a:moveTo>
                      <a:pt x="586" y="568"/>
                    </a:moveTo>
                    <a:cubicBezTo>
                      <a:pt x="634" y="568"/>
                      <a:pt x="672" y="606"/>
                      <a:pt x="672" y="654"/>
                    </a:cubicBezTo>
                    <a:cubicBezTo>
                      <a:pt x="672" y="701"/>
                      <a:pt x="634" y="739"/>
                      <a:pt x="586" y="739"/>
                    </a:cubicBezTo>
                    <a:cubicBezTo>
                      <a:pt x="539" y="739"/>
                      <a:pt x="501" y="701"/>
                      <a:pt x="501" y="654"/>
                    </a:cubicBezTo>
                    <a:cubicBezTo>
                      <a:pt x="501" y="606"/>
                      <a:pt x="539" y="568"/>
                      <a:pt x="586" y="568"/>
                    </a:cubicBezTo>
                    <a:close/>
                  </a:path>
                </a:pathLst>
              </a:custGeom>
              <a:solidFill>
                <a:srgbClr val="B43E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sp>
            <p:nvSpPr>
              <p:cNvPr id="80" name="Freeform 14">
                <a:extLst>
                  <a:ext uri="{FF2B5EF4-FFF2-40B4-BE49-F238E27FC236}">
                    <a16:creationId xmlns:a16="http://schemas.microsoft.com/office/drawing/2014/main" id="{A5D1045F-CB1A-42D1-8211-652D86928AB3}"/>
                  </a:ext>
                </a:extLst>
              </p:cNvPr>
              <p:cNvSpPr>
                <a:spLocks noEditPoints="1"/>
              </p:cNvSpPr>
              <p:nvPr/>
            </p:nvSpPr>
            <p:spPr bwMode="auto">
              <a:xfrm>
                <a:off x="5674798" y="3197072"/>
                <a:ext cx="570489" cy="526693"/>
              </a:xfrm>
              <a:custGeom>
                <a:avLst/>
                <a:gdLst>
                  <a:gd name="T0" fmla="*/ 625 w 799"/>
                  <a:gd name="T1" fmla="*/ 0 h 738"/>
                  <a:gd name="T2" fmla="*/ 452 w 799"/>
                  <a:gd name="T3" fmla="*/ 174 h 738"/>
                  <a:gd name="T4" fmla="*/ 625 w 799"/>
                  <a:gd name="T5" fmla="*/ 347 h 738"/>
                  <a:gd name="T6" fmla="*/ 799 w 799"/>
                  <a:gd name="T7" fmla="*/ 174 h 738"/>
                  <a:gd name="T8" fmla="*/ 625 w 799"/>
                  <a:gd name="T9" fmla="*/ 0 h 738"/>
                  <a:gd name="T10" fmla="*/ 625 w 799"/>
                  <a:gd name="T11" fmla="*/ 303 h 738"/>
                  <a:gd name="T12" fmla="*/ 496 w 799"/>
                  <a:gd name="T13" fmla="*/ 174 h 738"/>
                  <a:gd name="T14" fmla="*/ 625 w 799"/>
                  <a:gd name="T15" fmla="*/ 44 h 738"/>
                  <a:gd name="T16" fmla="*/ 755 w 799"/>
                  <a:gd name="T17" fmla="*/ 174 h 738"/>
                  <a:gd name="T18" fmla="*/ 625 w 799"/>
                  <a:gd name="T19" fmla="*/ 303 h 738"/>
                  <a:gd name="T20" fmla="*/ 408 w 799"/>
                  <a:gd name="T21" fmla="*/ 605 h 738"/>
                  <a:gd name="T22" fmla="*/ 71 w 799"/>
                  <a:gd name="T23" fmla="*/ 462 h 738"/>
                  <a:gd name="T24" fmla="*/ 42 w 799"/>
                  <a:gd name="T25" fmla="*/ 473 h 738"/>
                  <a:gd name="T26" fmla="*/ 5 w 799"/>
                  <a:gd name="T27" fmla="*/ 561 h 738"/>
                  <a:gd name="T28" fmla="*/ 16 w 799"/>
                  <a:gd name="T29" fmla="*/ 590 h 738"/>
                  <a:gd name="T30" fmla="*/ 353 w 799"/>
                  <a:gd name="T31" fmla="*/ 733 h 738"/>
                  <a:gd name="T32" fmla="*/ 382 w 799"/>
                  <a:gd name="T33" fmla="*/ 721 h 738"/>
                  <a:gd name="T34" fmla="*/ 419 w 799"/>
                  <a:gd name="T35" fmla="*/ 634 h 738"/>
                  <a:gd name="T36" fmla="*/ 408 w 799"/>
                  <a:gd name="T37" fmla="*/ 605 h 738"/>
                  <a:gd name="T38" fmla="*/ 366 w 799"/>
                  <a:gd name="T39" fmla="*/ 642 h 738"/>
                  <a:gd name="T40" fmla="*/ 354 w 799"/>
                  <a:gd name="T41" fmla="*/ 671 h 738"/>
                  <a:gd name="T42" fmla="*/ 341 w 799"/>
                  <a:gd name="T43" fmla="*/ 676 h 738"/>
                  <a:gd name="T44" fmla="*/ 63 w 799"/>
                  <a:gd name="T45" fmla="*/ 558 h 738"/>
                  <a:gd name="T46" fmla="*/ 58 w 799"/>
                  <a:gd name="T47" fmla="*/ 545 h 738"/>
                  <a:gd name="T48" fmla="*/ 70 w 799"/>
                  <a:gd name="T49" fmla="*/ 516 h 738"/>
                  <a:gd name="T50" fmla="*/ 83 w 799"/>
                  <a:gd name="T51" fmla="*/ 511 h 738"/>
                  <a:gd name="T52" fmla="*/ 361 w 799"/>
                  <a:gd name="T53" fmla="*/ 629 h 738"/>
                  <a:gd name="T54" fmla="*/ 366 w 799"/>
                  <a:gd name="T55" fmla="*/ 64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9" h="738">
                    <a:moveTo>
                      <a:pt x="625" y="0"/>
                    </a:moveTo>
                    <a:cubicBezTo>
                      <a:pt x="530" y="0"/>
                      <a:pt x="452" y="78"/>
                      <a:pt x="452" y="174"/>
                    </a:cubicBezTo>
                    <a:cubicBezTo>
                      <a:pt x="452" y="269"/>
                      <a:pt x="530" y="347"/>
                      <a:pt x="625" y="347"/>
                    </a:cubicBezTo>
                    <a:cubicBezTo>
                      <a:pt x="721" y="347"/>
                      <a:pt x="799" y="269"/>
                      <a:pt x="799" y="174"/>
                    </a:cubicBezTo>
                    <a:cubicBezTo>
                      <a:pt x="799" y="78"/>
                      <a:pt x="721" y="0"/>
                      <a:pt x="625" y="0"/>
                    </a:cubicBezTo>
                    <a:close/>
                    <a:moveTo>
                      <a:pt x="625" y="303"/>
                    </a:moveTo>
                    <a:cubicBezTo>
                      <a:pt x="554" y="303"/>
                      <a:pt x="496" y="245"/>
                      <a:pt x="496" y="174"/>
                    </a:cubicBezTo>
                    <a:cubicBezTo>
                      <a:pt x="496" y="102"/>
                      <a:pt x="554" y="44"/>
                      <a:pt x="625" y="44"/>
                    </a:cubicBezTo>
                    <a:cubicBezTo>
                      <a:pt x="697" y="44"/>
                      <a:pt x="755" y="102"/>
                      <a:pt x="755" y="174"/>
                    </a:cubicBezTo>
                    <a:cubicBezTo>
                      <a:pt x="755" y="245"/>
                      <a:pt x="697" y="303"/>
                      <a:pt x="625" y="303"/>
                    </a:cubicBezTo>
                    <a:close/>
                    <a:moveTo>
                      <a:pt x="408" y="605"/>
                    </a:moveTo>
                    <a:cubicBezTo>
                      <a:pt x="71" y="462"/>
                      <a:pt x="71" y="462"/>
                      <a:pt x="71" y="462"/>
                    </a:cubicBezTo>
                    <a:cubicBezTo>
                      <a:pt x="59" y="457"/>
                      <a:pt x="46" y="462"/>
                      <a:pt x="42" y="473"/>
                    </a:cubicBezTo>
                    <a:cubicBezTo>
                      <a:pt x="5" y="561"/>
                      <a:pt x="5" y="561"/>
                      <a:pt x="5" y="561"/>
                    </a:cubicBezTo>
                    <a:cubicBezTo>
                      <a:pt x="0" y="572"/>
                      <a:pt x="5" y="585"/>
                      <a:pt x="16" y="590"/>
                    </a:cubicBezTo>
                    <a:cubicBezTo>
                      <a:pt x="353" y="733"/>
                      <a:pt x="353" y="733"/>
                      <a:pt x="353" y="733"/>
                    </a:cubicBezTo>
                    <a:cubicBezTo>
                      <a:pt x="364" y="738"/>
                      <a:pt x="377" y="732"/>
                      <a:pt x="382" y="721"/>
                    </a:cubicBezTo>
                    <a:cubicBezTo>
                      <a:pt x="419" y="634"/>
                      <a:pt x="419" y="634"/>
                      <a:pt x="419" y="634"/>
                    </a:cubicBezTo>
                    <a:cubicBezTo>
                      <a:pt x="424" y="622"/>
                      <a:pt x="419" y="609"/>
                      <a:pt x="408" y="605"/>
                    </a:cubicBezTo>
                    <a:close/>
                    <a:moveTo>
                      <a:pt x="366" y="642"/>
                    </a:moveTo>
                    <a:cubicBezTo>
                      <a:pt x="354" y="671"/>
                      <a:pt x="354" y="671"/>
                      <a:pt x="354" y="671"/>
                    </a:cubicBezTo>
                    <a:cubicBezTo>
                      <a:pt x="352" y="676"/>
                      <a:pt x="346" y="678"/>
                      <a:pt x="341" y="676"/>
                    </a:cubicBezTo>
                    <a:cubicBezTo>
                      <a:pt x="63" y="558"/>
                      <a:pt x="63" y="558"/>
                      <a:pt x="63" y="558"/>
                    </a:cubicBezTo>
                    <a:cubicBezTo>
                      <a:pt x="58" y="555"/>
                      <a:pt x="55" y="550"/>
                      <a:pt x="58" y="545"/>
                    </a:cubicBezTo>
                    <a:cubicBezTo>
                      <a:pt x="70" y="516"/>
                      <a:pt x="70" y="516"/>
                      <a:pt x="70" y="516"/>
                    </a:cubicBezTo>
                    <a:cubicBezTo>
                      <a:pt x="72" y="511"/>
                      <a:pt x="78" y="508"/>
                      <a:pt x="83" y="511"/>
                    </a:cubicBezTo>
                    <a:cubicBezTo>
                      <a:pt x="361" y="629"/>
                      <a:pt x="361" y="629"/>
                      <a:pt x="361" y="629"/>
                    </a:cubicBezTo>
                    <a:cubicBezTo>
                      <a:pt x="366" y="631"/>
                      <a:pt x="368" y="637"/>
                      <a:pt x="366" y="642"/>
                    </a:cubicBezTo>
                    <a:close/>
                  </a:path>
                </a:pathLst>
              </a:custGeom>
              <a:solidFill>
                <a:srgbClr val="792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grpSp>
      <p:grpSp>
        <p:nvGrpSpPr>
          <p:cNvPr id="2" name="Group 1">
            <a:extLst>
              <a:ext uri="{FF2B5EF4-FFF2-40B4-BE49-F238E27FC236}">
                <a16:creationId xmlns:a16="http://schemas.microsoft.com/office/drawing/2014/main" id="{A022F8CE-1074-481B-B9C5-A4525716511E}"/>
              </a:ext>
            </a:extLst>
          </p:cNvPr>
          <p:cNvGrpSpPr/>
          <p:nvPr/>
        </p:nvGrpSpPr>
        <p:grpSpPr>
          <a:xfrm>
            <a:off x="4150893" y="1747804"/>
            <a:ext cx="540000" cy="540000"/>
            <a:chOff x="4150893" y="1613161"/>
            <a:chExt cx="540000" cy="540000"/>
          </a:xfrm>
        </p:grpSpPr>
        <p:grpSp>
          <p:nvGrpSpPr>
            <p:cNvPr id="194" name="Group 193">
              <a:extLst>
                <a:ext uri="{FF2B5EF4-FFF2-40B4-BE49-F238E27FC236}">
                  <a16:creationId xmlns:a16="http://schemas.microsoft.com/office/drawing/2014/main" id="{9D8D809D-26DA-4DE9-BCD4-71F56F51E91B}"/>
                </a:ext>
              </a:extLst>
            </p:cNvPr>
            <p:cNvGrpSpPr>
              <a:grpSpLocks noChangeAspect="1"/>
            </p:cNvGrpSpPr>
            <p:nvPr/>
          </p:nvGrpSpPr>
          <p:grpSpPr>
            <a:xfrm>
              <a:off x="4277420" y="1739689"/>
              <a:ext cx="286945" cy="286945"/>
              <a:chOff x="1983582" y="2081213"/>
              <a:chExt cx="1647825" cy="1647825"/>
            </a:xfrm>
          </p:grpSpPr>
          <p:sp>
            <p:nvSpPr>
              <p:cNvPr id="196" name="AutoShape 5">
                <a:extLst>
                  <a:ext uri="{FF2B5EF4-FFF2-40B4-BE49-F238E27FC236}">
                    <a16:creationId xmlns:a16="http://schemas.microsoft.com/office/drawing/2014/main" id="{A3C96900-C5ED-40AE-A7E3-56F64E68BFE9}"/>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grpSp>
            <p:nvGrpSpPr>
              <p:cNvPr id="197" name="Group 196">
                <a:extLst>
                  <a:ext uri="{FF2B5EF4-FFF2-40B4-BE49-F238E27FC236}">
                    <a16:creationId xmlns:a16="http://schemas.microsoft.com/office/drawing/2014/main" id="{A94CAF68-6B5E-4F77-90C4-29F8B840BA48}"/>
                  </a:ext>
                </a:extLst>
              </p:cNvPr>
              <p:cNvGrpSpPr/>
              <p:nvPr/>
            </p:nvGrpSpPr>
            <p:grpSpPr>
              <a:xfrm>
                <a:off x="2145507" y="2316163"/>
                <a:ext cx="1323975" cy="1176338"/>
                <a:chOff x="2145507" y="2316163"/>
                <a:chExt cx="1323975" cy="1176338"/>
              </a:xfrm>
            </p:grpSpPr>
            <p:sp>
              <p:nvSpPr>
                <p:cNvPr id="198" name="Freeform 7">
                  <a:extLst>
                    <a:ext uri="{FF2B5EF4-FFF2-40B4-BE49-F238E27FC236}">
                      <a16:creationId xmlns:a16="http://schemas.microsoft.com/office/drawing/2014/main" id="{5B4BA25C-16B3-42CF-B50A-7D42E41F3868}"/>
                    </a:ext>
                  </a:extLst>
                </p:cNvPr>
                <p:cNvSpPr>
                  <a:spLocks noEditPoints="1"/>
                </p:cNvSpPr>
                <p:nvPr/>
              </p:nvSpPr>
              <p:spPr bwMode="auto">
                <a:xfrm>
                  <a:off x="2145507" y="2316163"/>
                  <a:ext cx="1323975" cy="1176338"/>
                </a:xfrm>
                <a:custGeom>
                  <a:avLst/>
                  <a:gdLst>
                    <a:gd name="T0" fmla="*/ 1626 w 1850"/>
                    <a:gd name="T1" fmla="*/ 771 h 1644"/>
                    <a:gd name="T2" fmla="*/ 1507 w 1850"/>
                    <a:gd name="T3" fmla="*/ 764 h 1644"/>
                    <a:gd name="T4" fmla="*/ 1431 w 1850"/>
                    <a:gd name="T5" fmla="*/ 571 h 1644"/>
                    <a:gd name="T6" fmla="*/ 1496 w 1850"/>
                    <a:gd name="T7" fmla="*/ 528 h 1644"/>
                    <a:gd name="T8" fmla="*/ 1592 w 1850"/>
                    <a:gd name="T9" fmla="*/ 418 h 1644"/>
                    <a:gd name="T10" fmla="*/ 1462 w 1850"/>
                    <a:gd name="T11" fmla="*/ 470 h 1644"/>
                    <a:gd name="T12" fmla="*/ 1393 w 1850"/>
                    <a:gd name="T13" fmla="*/ 506 h 1644"/>
                    <a:gd name="T14" fmla="*/ 1268 w 1850"/>
                    <a:gd name="T15" fmla="*/ 348 h 1644"/>
                    <a:gd name="T16" fmla="*/ 1322 w 1850"/>
                    <a:gd name="T17" fmla="*/ 242 h 1644"/>
                    <a:gd name="T18" fmla="*/ 1401 w 1850"/>
                    <a:gd name="T19" fmla="*/ 44 h 1644"/>
                    <a:gd name="T20" fmla="*/ 1233 w 1850"/>
                    <a:gd name="T21" fmla="*/ 190 h 1644"/>
                    <a:gd name="T22" fmla="*/ 1168 w 1850"/>
                    <a:gd name="T23" fmla="*/ 289 h 1644"/>
                    <a:gd name="T24" fmla="*/ 962 w 1850"/>
                    <a:gd name="T25" fmla="*/ 254 h 1644"/>
                    <a:gd name="T26" fmla="*/ 958 w 1850"/>
                    <a:gd name="T27" fmla="*/ 178 h 1644"/>
                    <a:gd name="T28" fmla="*/ 938 w 1850"/>
                    <a:gd name="T29" fmla="*/ 42 h 1644"/>
                    <a:gd name="T30" fmla="*/ 892 w 1850"/>
                    <a:gd name="T31" fmla="*/ 178 h 1644"/>
                    <a:gd name="T32" fmla="*/ 888 w 1850"/>
                    <a:gd name="T33" fmla="*/ 254 h 1644"/>
                    <a:gd name="T34" fmla="*/ 682 w 1850"/>
                    <a:gd name="T35" fmla="*/ 289 h 1644"/>
                    <a:gd name="T36" fmla="*/ 617 w 1850"/>
                    <a:gd name="T37" fmla="*/ 190 h 1644"/>
                    <a:gd name="T38" fmla="*/ 449 w 1850"/>
                    <a:gd name="T39" fmla="*/ 44 h 1644"/>
                    <a:gd name="T40" fmla="*/ 528 w 1850"/>
                    <a:gd name="T41" fmla="*/ 242 h 1644"/>
                    <a:gd name="T42" fmla="*/ 582 w 1850"/>
                    <a:gd name="T43" fmla="*/ 348 h 1644"/>
                    <a:gd name="T44" fmla="*/ 456 w 1850"/>
                    <a:gd name="T45" fmla="*/ 505 h 1644"/>
                    <a:gd name="T46" fmla="*/ 387 w 1850"/>
                    <a:gd name="T47" fmla="*/ 470 h 1644"/>
                    <a:gd name="T48" fmla="*/ 258 w 1850"/>
                    <a:gd name="T49" fmla="*/ 418 h 1644"/>
                    <a:gd name="T50" fmla="*/ 353 w 1850"/>
                    <a:gd name="T51" fmla="*/ 528 h 1644"/>
                    <a:gd name="T52" fmla="*/ 418 w 1850"/>
                    <a:gd name="T53" fmla="*/ 570 h 1644"/>
                    <a:gd name="T54" fmla="*/ 343 w 1850"/>
                    <a:gd name="T55" fmla="*/ 764 h 1644"/>
                    <a:gd name="T56" fmla="*/ 224 w 1850"/>
                    <a:gd name="T57" fmla="*/ 771 h 1644"/>
                    <a:gd name="T58" fmla="*/ 13 w 1850"/>
                    <a:gd name="T59" fmla="*/ 802 h 1644"/>
                    <a:gd name="T60" fmla="*/ 224 w 1850"/>
                    <a:gd name="T61" fmla="*/ 873 h 1644"/>
                    <a:gd name="T62" fmla="*/ 343 w 1850"/>
                    <a:gd name="T63" fmla="*/ 880 h 1644"/>
                    <a:gd name="T64" fmla="*/ 415 w 1850"/>
                    <a:gd name="T65" fmla="*/ 1076 h 1644"/>
                    <a:gd name="T66" fmla="*/ 352 w 1850"/>
                    <a:gd name="T67" fmla="*/ 1118 h 1644"/>
                    <a:gd name="T68" fmla="*/ 258 w 1850"/>
                    <a:gd name="T69" fmla="*/ 1226 h 1644"/>
                    <a:gd name="T70" fmla="*/ 385 w 1850"/>
                    <a:gd name="T71" fmla="*/ 1175 h 1644"/>
                    <a:gd name="T72" fmla="*/ 453 w 1850"/>
                    <a:gd name="T73" fmla="*/ 1140 h 1644"/>
                    <a:gd name="T74" fmla="*/ 582 w 1850"/>
                    <a:gd name="T75" fmla="*/ 1296 h 1644"/>
                    <a:gd name="T76" fmla="*/ 528 w 1850"/>
                    <a:gd name="T77" fmla="*/ 1402 h 1644"/>
                    <a:gd name="T78" fmla="*/ 449 w 1850"/>
                    <a:gd name="T79" fmla="*/ 1600 h 1644"/>
                    <a:gd name="T80" fmla="*/ 617 w 1850"/>
                    <a:gd name="T81" fmla="*/ 1454 h 1644"/>
                    <a:gd name="T82" fmla="*/ 682 w 1850"/>
                    <a:gd name="T83" fmla="*/ 1355 h 1644"/>
                    <a:gd name="T84" fmla="*/ 888 w 1850"/>
                    <a:gd name="T85" fmla="*/ 1390 h 1644"/>
                    <a:gd name="T86" fmla="*/ 892 w 1850"/>
                    <a:gd name="T87" fmla="*/ 1466 h 1644"/>
                    <a:gd name="T88" fmla="*/ 912 w 1850"/>
                    <a:gd name="T89" fmla="*/ 1602 h 1644"/>
                    <a:gd name="T90" fmla="*/ 958 w 1850"/>
                    <a:gd name="T91" fmla="*/ 1466 h 1644"/>
                    <a:gd name="T92" fmla="*/ 962 w 1850"/>
                    <a:gd name="T93" fmla="*/ 1390 h 1644"/>
                    <a:gd name="T94" fmla="*/ 1168 w 1850"/>
                    <a:gd name="T95" fmla="*/ 1355 h 1644"/>
                    <a:gd name="T96" fmla="*/ 1233 w 1850"/>
                    <a:gd name="T97" fmla="*/ 1454 h 1644"/>
                    <a:gd name="T98" fmla="*/ 1401 w 1850"/>
                    <a:gd name="T99" fmla="*/ 1600 h 1644"/>
                    <a:gd name="T100" fmla="*/ 1322 w 1850"/>
                    <a:gd name="T101" fmla="*/ 1402 h 1644"/>
                    <a:gd name="T102" fmla="*/ 1268 w 1850"/>
                    <a:gd name="T103" fmla="*/ 1296 h 1644"/>
                    <a:gd name="T104" fmla="*/ 1393 w 1850"/>
                    <a:gd name="T105" fmla="*/ 1139 h 1644"/>
                    <a:gd name="T106" fmla="*/ 1463 w 1850"/>
                    <a:gd name="T107" fmla="*/ 1174 h 1644"/>
                    <a:gd name="T108" fmla="*/ 1592 w 1850"/>
                    <a:gd name="T109" fmla="*/ 1226 h 1644"/>
                    <a:gd name="T110" fmla="*/ 1496 w 1850"/>
                    <a:gd name="T111" fmla="*/ 1116 h 1644"/>
                    <a:gd name="T112" fmla="*/ 1432 w 1850"/>
                    <a:gd name="T113" fmla="*/ 1073 h 1644"/>
                    <a:gd name="T114" fmla="*/ 1507 w 1850"/>
                    <a:gd name="T115" fmla="*/ 880 h 1644"/>
                    <a:gd name="T116" fmla="*/ 1626 w 1850"/>
                    <a:gd name="T117" fmla="*/ 873 h 1644"/>
                    <a:gd name="T118" fmla="*/ 1837 w 1850"/>
                    <a:gd name="T119" fmla="*/ 842 h 1644"/>
                    <a:gd name="T120" fmla="*/ 445 w 1850"/>
                    <a:gd name="T121" fmla="*/ 822 h 1644"/>
                    <a:gd name="T122" fmla="*/ 925 w 1850"/>
                    <a:gd name="T123" fmla="*/ 1302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50" h="1644">
                      <a:moveTo>
                        <a:pt x="1737" y="720"/>
                      </a:moveTo>
                      <a:cubicBezTo>
                        <a:pt x="1710" y="720"/>
                        <a:pt x="1686" y="731"/>
                        <a:pt x="1668" y="748"/>
                      </a:cubicBezTo>
                      <a:cubicBezTo>
                        <a:pt x="1656" y="759"/>
                        <a:pt x="1642" y="767"/>
                        <a:pt x="1626" y="771"/>
                      </a:cubicBezTo>
                      <a:cubicBezTo>
                        <a:pt x="1603" y="777"/>
                        <a:pt x="1603" y="777"/>
                        <a:pt x="1603" y="777"/>
                      </a:cubicBezTo>
                      <a:cubicBezTo>
                        <a:pt x="1579" y="783"/>
                        <a:pt x="1553" y="781"/>
                        <a:pt x="1530" y="773"/>
                      </a:cubicBezTo>
                      <a:cubicBezTo>
                        <a:pt x="1507" y="764"/>
                        <a:pt x="1507" y="764"/>
                        <a:pt x="1507" y="764"/>
                      </a:cubicBezTo>
                      <a:cubicBezTo>
                        <a:pt x="1507" y="764"/>
                        <a:pt x="1469" y="737"/>
                        <a:pt x="1449" y="704"/>
                      </a:cubicBezTo>
                      <a:cubicBezTo>
                        <a:pt x="1442" y="672"/>
                        <a:pt x="1432" y="641"/>
                        <a:pt x="1419" y="611"/>
                      </a:cubicBezTo>
                      <a:cubicBezTo>
                        <a:pt x="1423" y="590"/>
                        <a:pt x="1431" y="571"/>
                        <a:pt x="1431" y="571"/>
                      </a:cubicBezTo>
                      <a:cubicBezTo>
                        <a:pt x="1441" y="559"/>
                        <a:pt x="1441" y="559"/>
                        <a:pt x="1441" y="559"/>
                      </a:cubicBezTo>
                      <a:cubicBezTo>
                        <a:pt x="1451" y="547"/>
                        <a:pt x="1466" y="537"/>
                        <a:pt x="1481" y="533"/>
                      </a:cubicBezTo>
                      <a:cubicBezTo>
                        <a:pt x="1496" y="528"/>
                        <a:pt x="1496" y="528"/>
                        <a:pt x="1496" y="528"/>
                      </a:cubicBezTo>
                      <a:cubicBezTo>
                        <a:pt x="1506" y="526"/>
                        <a:pt x="1517" y="526"/>
                        <a:pt x="1527" y="528"/>
                      </a:cubicBezTo>
                      <a:cubicBezTo>
                        <a:pt x="1543" y="532"/>
                        <a:pt x="1561" y="529"/>
                        <a:pt x="1576" y="521"/>
                      </a:cubicBezTo>
                      <a:cubicBezTo>
                        <a:pt x="1612" y="500"/>
                        <a:pt x="1621" y="451"/>
                        <a:pt x="1592" y="418"/>
                      </a:cubicBezTo>
                      <a:cubicBezTo>
                        <a:pt x="1575" y="398"/>
                        <a:pt x="1546" y="390"/>
                        <a:pt x="1520" y="399"/>
                      </a:cubicBezTo>
                      <a:cubicBezTo>
                        <a:pt x="1499" y="407"/>
                        <a:pt x="1484" y="424"/>
                        <a:pt x="1478" y="444"/>
                      </a:cubicBezTo>
                      <a:cubicBezTo>
                        <a:pt x="1475" y="454"/>
                        <a:pt x="1470" y="463"/>
                        <a:pt x="1462" y="470"/>
                      </a:cubicBezTo>
                      <a:cubicBezTo>
                        <a:pt x="1451" y="481"/>
                        <a:pt x="1451" y="481"/>
                        <a:pt x="1451" y="481"/>
                      </a:cubicBezTo>
                      <a:cubicBezTo>
                        <a:pt x="1440" y="493"/>
                        <a:pt x="1424" y="501"/>
                        <a:pt x="1409" y="503"/>
                      </a:cubicBezTo>
                      <a:cubicBezTo>
                        <a:pt x="1393" y="506"/>
                        <a:pt x="1393" y="506"/>
                        <a:pt x="1393" y="506"/>
                      </a:cubicBezTo>
                      <a:cubicBezTo>
                        <a:pt x="1393" y="506"/>
                        <a:pt x="1372" y="504"/>
                        <a:pt x="1352" y="496"/>
                      </a:cubicBezTo>
                      <a:cubicBezTo>
                        <a:pt x="1334" y="472"/>
                        <a:pt x="1313" y="449"/>
                        <a:pt x="1291" y="429"/>
                      </a:cubicBezTo>
                      <a:cubicBezTo>
                        <a:pt x="1272" y="394"/>
                        <a:pt x="1268" y="348"/>
                        <a:pt x="1268" y="348"/>
                      </a:cubicBezTo>
                      <a:cubicBezTo>
                        <a:pt x="1272" y="324"/>
                        <a:pt x="1272" y="324"/>
                        <a:pt x="1272" y="324"/>
                      </a:cubicBezTo>
                      <a:cubicBezTo>
                        <a:pt x="1276" y="300"/>
                        <a:pt x="1288" y="276"/>
                        <a:pt x="1305" y="259"/>
                      </a:cubicBezTo>
                      <a:cubicBezTo>
                        <a:pt x="1322" y="242"/>
                        <a:pt x="1322" y="242"/>
                        <a:pt x="1322" y="242"/>
                      </a:cubicBezTo>
                      <a:cubicBezTo>
                        <a:pt x="1333" y="230"/>
                        <a:pt x="1347" y="222"/>
                        <a:pt x="1363" y="218"/>
                      </a:cubicBezTo>
                      <a:cubicBezTo>
                        <a:pt x="1392" y="209"/>
                        <a:pt x="1418" y="187"/>
                        <a:pt x="1430" y="154"/>
                      </a:cubicBezTo>
                      <a:cubicBezTo>
                        <a:pt x="1444" y="115"/>
                        <a:pt x="1432" y="71"/>
                        <a:pt x="1401" y="44"/>
                      </a:cubicBezTo>
                      <a:cubicBezTo>
                        <a:pt x="1351" y="0"/>
                        <a:pt x="1277" y="14"/>
                        <a:pt x="1245" y="69"/>
                      </a:cubicBezTo>
                      <a:cubicBezTo>
                        <a:pt x="1232" y="92"/>
                        <a:pt x="1229" y="119"/>
                        <a:pt x="1234" y="143"/>
                      </a:cubicBezTo>
                      <a:cubicBezTo>
                        <a:pt x="1238" y="159"/>
                        <a:pt x="1238" y="175"/>
                        <a:pt x="1233" y="190"/>
                      </a:cubicBezTo>
                      <a:cubicBezTo>
                        <a:pt x="1227" y="213"/>
                        <a:pt x="1227" y="213"/>
                        <a:pt x="1227" y="213"/>
                      </a:cubicBezTo>
                      <a:cubicBezTo>
                        <a:pt x="1220" y="237"/>
                        <a:pt x="1206" y="259"/>
                        <a:pt x="1187" y="274"/>
                      </a:cubicBezTo>
                      <a:cubicBezTo>
                        <a:pt x="1168" y="289"/>
                        <a:pt x="1168" y="289"/>
                        <a:pt x="1168" y="289"/>
                      </a:cubicBezTo>
                      <a:cubicBezTo>
                        <a:pt x="1168" y="289"/>
                        <a:pt x="1126" y="309"/>
                        <a:pt x="1087" y="309"/>
                      </a:cubicBezTo>
                      <a:cubicBezTo>
                        <a:pt x="1058" y="300"/>
                        <a:pt x="1029" y="294"/>
                        <a:pt x="998" y="290"/>
                      </a:cubicBezTo>
                      <a:cubicBezTo>
                        <a:pt x="978" y="276"/>
                        <a:pt x="962" y="254"/>
                        <a:pt x="962" y="254"/>
                      </a:cubicBezTo>
                      <a:cubicBezTo>
                        <a:pt x="957" y="239"/>
                        <a:pt x="957" y="239"/>
                        <a:pt x="957" y="239"/>
                      </a:cubicBezTo>
                      <a:cubicBezTo>
                        <a:pt x="951" y="225"/>
                        <a:pt x="950" y="208"/>
                        <a:pt x="954" y="193"/>
                      </a:cubicBezTo>
                      <a:cubicBezTo>
                        <a:pt x="958" y="178"/>
                        <a:pt x="958" y="178"/>
                        <a:pt x="958" y="178"/>
                      </a:cubicBezTo>
                      <a:cubicBezTo>
                        <a:pt x="960" y="168"/>
                        <a:pt x="966" y="159"/>
                        <a:pt x="973" y="151"/>
                      </a:cubicBezTo>
                      <a:cubicBezTo>
                        <a:pt x="986" y="137"/>
                        <a:pt x="993" y="116"/>
                        <a:pt x="989" y="94"/>
                      </a:cubicBezTo>
                      <a:cubicBezTo>
                        <a:pt x="985" y="68"/>
                        <a:pt x="964" y="47"/>
                        <a:pt x="938" y="42"/>
                      </a:cubicBezTo>
                      <a:cubicBezTo>
                        <a:pt x="896" y="34"/>
                        <a:pt x="860" y="66"/>
                        <a:pt x="860" y="106"/>
                      </a:cubicBezTo>
                      <a:cubicBezTo>
                        <a:pt x="860" y="124"/>
                        <a:pt x="866" y="139"/>
                        <a:pt x="877" y="151"/>
                      </a:cubicBezTo>
                      <a:cubicBezTo>
                        <a:pt x="884" y="159"/>
                        <a:pt x="890" y="168"/>
                        <a:pt x="892" y="178"/>
                      </a:cubicBezTo>
                      <a:cubicBezTo>
                        <a:pt x="896" y="193"/>
                        <a:pt x="896" y="193"/>
                        <a:pt x="896" y="193"/>
                      </a:cubicBezTo>
                      <a:cubicBezTo>
                        <a:pt x="900" y="208"/>
                        <a:pt x="899" y="225"/>
                        <a:pt x="893" y="239"/>
                      </a:cubicBezTo>
                      <a:cubicBezTo>
                        <a:pt x="888" y="254"/>
                        <a:pt x="888" y="254"/>
                        <a:pt x="888" y="254"/>
                      </a:cubicBezTo>
                      <a:cubicBezTo>
                        <a:pt x="888" y="254"/>
                        <a:pt x="872" y="276"/>
                        <a:pt x="852" y="290"/>
                      </a:cubicBezTo>
                      <a:cubicBezTo>
                        <a:pt x="821" y="294"/>
                        <a:pt x="792" y="300"/>
                        <a:pt x="763" y="309"/>
                      </a:cubicBezTo>
                      <a:cubicBezTo>
                        <a:pt x="724" y="309"/>
                        <a:pt x="682" y="289"/>
                        <a:pt x="682" y="289"/>
                      </a:cubicBezTo>
                      <a:cubicBezTo>
                        <a:pt x="663" y="274"/>
                        <a:pt x="663" y="274"/>
                        <a:pt x="663" y="274"/>
                      </a:cubicBezTo>
                      <a:cubicBezTo>
                        <a:pt x="644" y="259"/>
                        <a:pt x="630" y="237"/>
                        <a:pt x="623" y="213"/>
                      </a:cubicBezTo>
                      <a:cubicBezTo>
                        <a:pt x="617" y="190"/>
                        <a:pt x="617" y="190"/>
                        <a:pt x="617" y="190"/>
                      </a:cubicBezTo>
                      <a:cubicBezTo>
                        <a:pt x="612" y="175"/>
                        <a:pt x="612" y="159"/>
                        <a:pt x="616" y="143"/>
                      </a:cubicBezTo>
                      <a:cubicBezTo>
                        <a:pt x="621" y="119"/>
                        <a:pt x="618" y="92"/>
                        <a:pt x="605" y="69"/>
                      </a:cubicBezTo>
                      <a:cubicBezTo>
                        <a:pt x="573" y="14"/>
                        <a:pt x="499" y="0"/>
                        <a:pt x="449" y="44"/>
                      </a:cubicBezTo>
                      <a:cubicBezTo>
                        <a:pt x="418" y="71"/>
                        <a:pt x="406" y="115"/>
                        <a:pt x="420" y="154"/>
                      </a:cubicBezTo>
                      <a:cubicBezTo>
                        <a:pt x="432" y="187"/>
                        <a:pt x="458" y="209"/>
                        <a:pt x="487" y="218"/>
                      </a:cubicBezTo>
                      <a:cubicBezTo>
                        <a:pt x="503" y="222"/>
                        <a:pt x="517" y="230"/>
                        <a:pt x="528" y="242"/>
                      </a:cubicBezTo>
                      <a:cubicBezTo>
                        <a:pt x="545" y="259"/>
                        <a:pt x="545" y="259"/>
                        <a:pt x="545" y="259"/>
                      </a:cubicBezTo>
                      <a:cubicBezTo>
                        <a:pt x="562" y="276"/>
                        <a:pt x="574" y="300"/>
                        <a:pt x="578" y="324"/>
                      </a:cubicBezTo>
                      <a:cubicBezTo>
                        <a:pt x="582" y="348"/>
                        <a:pt x="582" y="348"/>
                        <a:pt x="582" y="348"/>
                      </a:cubicBezTo>
                      <a:cubicBezTo>
                        <a:pt x="582" y="348"/>
                        <a:pt x="578" y="394"/>
                        <a:pt x="559" y="429"/>
                      </a:cubicBezTo>
                      <a:cubicBezTo>
                        <a:pt x="537" y="449"/>
                        <a:pt x="517" y="471"/>
                        <a:pt x="499" y="495"/>
                      </a:cubicBezTo>
                      <a:cubicBezTo>
                        <a:pt x="478" y="503"/>
                        <a:pt x="456" y="505"/>
                        <a:pt x="456" y="505"/>
                      </a:cubicBezTo>
                      <a:cubicBezTo>
                        <a:pt x="440" y="503"/>
                        <a:pt x="440" y="503"/>
                        <a:pt x="440" y="503"/>
                      </a:cubicBezTo>
                      <a:cubicBezTo>
                        <a:pt x="425" y="500"/>
                        <a:pt x="409" y="492"/>
                        <a:pt x="398" y="481"/>
                      </a:cubicBezTo>
                      <a:cubicBezTo>
                        <a:pt x="387" y="470"/>
                        <a:pt x="387" y="470"/>
                        <a:pt x="387" y="470"/>
                      </a:cubicBezTo>
                      <a:cubicBezTo>
                        <a:pt x="379" y="463"/>
                        <a:pt x="374" y="454"/>
                        <a:pt x="371" y="444"/>
                      </a:cubicBezTo>
                      <a:cubicBezTo>
                        <a:pt x="365" y="424"/>
                        <a:pt x="351" y="407"/>
                        <a:pt x="329" y="400"/>
                      </a:cubicBezTo>
                      <a:cubicBezTo>
                        <a:pt x="304" y="391"/>
                        <a:pt x="275" y="398"/>
                        <a:pt x="258" y="418"/>
                      </a:cubicBezTo>
                      <a:cubicBezTo>
                        <a:pt x="229" y="451"/>
                        <a:pt x="238" y="499"/>
                        <a:pt x="274" y="520"/>
                      </a:cubicBezTo>
                      <a:cubicBezTo>
                        <a:pt x="289" y="529"/>
                        <a:pt x="306" y="531"/>
                        <a:pt x="322" y="527"/>
                      </a:cubicBezTo>
                      <a:cubicBezTo>
                        <a:pt x="332" y="525"/>
                        <a:pt x="343" y="525"/>
                        <a:pt x="353" y="528"/>
                      </a:cubicBezTo>
                      <a:cubicBezTo>
                        <a:pt x="368" y="532"/>
                        <a:pt x="368" y="532"/>
                        <a:pt x="368" y="532"/>
                      </a:cubicBezTo>
                      <a:cubicBezTo>
                        <a:pt x="383" y="536"/>
                        <a:pt x="398" y="546"/>
                        <a:pt x="408" y="558"/>
                      </a:cubicBezTo>
                      <a:cubicBezTo>
                        <a:pt x="418" y="570"/>
                        <a:pt x="418" y="570"/>
                        <a:pt x="418" y="570"/>
                      </a:cubicBezTo>
                      <a:cubicBezTo>
                        <a:pt x="418" y="570"/>
                        <a:pt x="427" y="591"/>
                        <a:pt x="430" y="613"/>
                      </a:cubicBezTo>
                      <a:cubicBezTo>
                        <a:pt x="418" y="642"/>
                        <a:pt x="408" y="672"/>
                        <a:pt x="401" y="704"/>
                      </a:cubicBezTo>
                      <a:cubicBezTo>
                        <a:pt x="381" y="737"/>
                        <a:pt x="343" y="764"/>
                        <a:pt x="343" y="764"/>
                      </a:cubicBezTo>
                      <a:cubicBezTo>
                        <a:pt x="320" y="773"/>
                        <a:pt x="320" y="773"/>
                        <a:pt x="320" y="773"/>
                      </a:cubicBezTo>
                      <a:cubicBezTo>
                        <a:pt x="297" y="781"/>
                        <a:pt x="271" y="783"/>
                        <a:pt x="247" y="777"/>
                      </a:cubicBezTo>
                      <a:cubicBezTo>
                        <a:pt x="224" y="771"/>
                        <a:pt x="224" y="771"/>
                        <a:pt x="224" y="771"/>
                      </a:cubicBezTo>
                      <a:cubicBezTo>
                        <a:pt x="208" y="767"/>
                        <a:pt x="194" y="759"/>
                        <a:pt x="183" y="748"/>
                      </a:cubicBezTo>
                      <a:cubicBezTo>
                        <a:pt x="160" y="727"/>
                        <a:pt x="128" y="716"/>
                        <a:pt x="93" y="722"/>
                      </a:cubicBezTo>
                      <a:cubicBezTo>
                        <a:pt x="53" y="729"/>
                        <a:pt x="21" y="761"/>
                        <a:pt x="13" y="802"/>
                      </a:cubicBezTo>
                      <a:cubicBezTo>
                        <a:pt x="0" y="867"/>
                        <a:pt x="50" y="924"/>
                        <a:pt x="113" y="924"/>
                      </a:cubicBezTo>
                      <a:cubicBezTo>
                        <a:pt x="140" y="924"/>
                        <a:pt x="164" y="913"/>
                        <a:pt x="182" y="896"/>
                      </a:cubicBezTo>
                      <a:cubicBezTo>
                        <a:pt x="194" y="885"/>
                        <a:pt x="208" y="877"/>
                        <a:pt x="224" y="873"/>
                      </a:cubicBezTo>
                      <a:cubicBezTo>
                        <a:pt x="247" y="867"/>
                        <a:pt x="247" y="867"/>
                        <a:pt x="247" y="867"/>
                      </a:cubicBezTo>
                      <a:cubicBezTo>
                        <a:pt x="271" y="861"/>
                        <a:pt x="297" y="863"/>
                        <a:pt x="320" y="871"/>
                      </a:cubicBezTo>
                      <a:cubicBezTo>
                        <a:pt x="343" y="880"/>
                        <a:pt x="343" y="880"/>
                        <a:pt x="343" y="880"/>
                      </a:cubicBezTo>
                      <a:cubicBezTo>
                        <a:pt x="343" y="880"/>
                        <a:pt x="381" y="907"/>
                        <a:pt x="401" y="940"/>
                      </a:cubicBezTo>
                      <a:cubicBezTo>
                        <a:pt x="407" y="970"/>
                        <a:pt x="417" y="999"/>
                        <a:pt x="428" y="1026"/>
                      </a:cubicBezTo>
                      <a:cubicBezTo>
                        <a:pt x="427" y="1051"/>
                        <a:pt x="415" y="1076"/>
                        <a:pt x="415" y="1076"/>
                      </a:cubicBezTo>
                      <a:cubicBezTo>
                        <a:pt x="405" y="1088"/>
                        <a:pt x="405" y="1088"/>
                        <a:pt x="405" y="1088"/>
                      </a:cubicBezTo>
                      <a:cubicBezTo>
                        <a:pt x="396" y="1100"/>
                        <a:pt x="381" y="1109"/>
                        <a:pt x="366" y="1114"/>
                      </a:cubicBezTo>
                      <a:cubicBezTo>
                        <a:pt x="352" y="1118"/>
                        <a:pt x="352" y="1118"/>
                        <a:pt x="352" y="1118"/>
                      </a:cubicBezTo>
                      <a:cubicBezTo>
                        <a:pt x="342" y="1121"/>
                        <a:pt x="331" y="1121"/>
                        <a:pt x="321" y="1118"/>
                      </a:cubicBezTo>
                      <a:cubicBezTo>
                        <a:pt x="305" y="1115"/>
                        <a:pt x="288" y="1117"/>
                        <a:pt x="274" y="1125"/>
                      </a:cubicBezTo>
                      <a:cubicBezTo>
                        <a:pt x="239" y="1146"/>
                        <a:pt x="229" y="1194"/>
                        <a:pt x="258" y="1226"/>
                      </a:cubicBezTo>
                      <a:cubicBezTo>
                        <a:pt x="275" y="1245"/>
                        <a:pt x="303" y="1253"/>
                        <a:pt x="328" y="1244"/>
                      </a:cubicBezTo>
                      <a:cubicBezTo>
                        <a:pt x="349" y="1236"/>
                        <a:pt x="364" y="1220"/>
                        <a:pt x="369" y="1201"/>
                      </a:cubicBezTo>
                      <a:cubicBezTo>
                        <a:pt x="372" y="1191"/>
                        <a:pt x="377" y="1182"/>
                        <a:pt x="385" y="1175"/>
                      </a:cubicBezTo>
                      <a:cubicBezTo>
                        <a:pt x="396" y="1164"/>
                        <a:pt x="396" y="1164"/>
                        <a:pt x="396" y="1164"/>
                      </a:cubicBezTo>
                      <a:cubicBezTo>
                        <a:pt x="407" y="1153"/>
                        <a:pt x="422" y="1145"/>
                        <a:pt x="437" y="1142"/>
                      </a:cubicBezTo>
                      <a:cubicBezTo>
                        <a:pt x="453" y="1140"/>
                        <a:pt x="453" y="1140"/>
                        <a:pt x="453" y="1140"/>
                      </a:cubicBezTo>
                      <a:cubicBezTo>
                        <a:pt x="453" y="1140"/>
                        <a:pt x="480" y="1142"/>
                        <a:pt x="502" y="1153"/>
                      </a:cubicBezTo>
                      <a:cubicBezTo>
                        <a:pt x="519" y="1175"/>
                        <a:pt x="538" y="1196"/>
                        <a:pt x="559" y="1215"/>
                      </a:cubicBezTo>
                      <a:cubicBezTo>
                        <a:pt x="578" y="1250"/>
                        <a:pt x="582" y="1296"/>
                        <a:pt x="582" y="1296"/>
                      </a:cubicBezTo>
                      <a:cubicBezTo>
                        <a:pt x="578" y="1320"/>
                        <a:pt x="578" y="1320"/>
                        <a:pt x="578" y="1320"/>
                      </a:cubicBezTo>
                      <a:cubicBezTo>
                        <a:pt x="574" y="1344"/>
                        <a:pt x="562" y="1368"/>
                        <a:pt x="545" y="1385"/>
                      </a:cubicBezTo>
                      <a:cubicBezTo>
                        <a:pt x="528" y="1402"/>
                        <a:pt x="528" y="1402"/>
                        <a:pt x="528" y="1402"/>
                      </a:cubicBezTo>
                      <a:cubicBezTo>
                        <a:pt x="517" y="1414"/>
                        <a:pt x="503" y="1422"/>
                        <a:pt x="487" y="1426"/>
                      </a:cubicBezTo>
                      <a:cubicBezTo>
                        <a:pt x="458" y="1435"/>
                        <a:pt x="432" y="1457"/>
                        <a:pt x="420" y="1490"/>
                      </a:cubicBezTo>
                      <a:cubicBezTo>
                        <a:pt x="406" y="1529"/>
                        <a:pt x="418" y="1573"/>
                        <a:pt x="449" y="1600"/>
                      </a:cubicBezTo>
                      <a:cubicBezTo>
                        <a:pt x="499" y="1644"/>
                        <a:pt x="573" y="1630"/>
                        <a:pt x="605" y="1575"/>
                      </a:cubicBezTo>
                      <a:cubicBezTo>
                        <a:pt x="618" y="1552"/>
                        <a:pt x="621" y="1525"/>
                        <a:pt x="616" y="1501"/>
                      </a:cubicBezTo>
                      <a:cubicBezTo>
                        <a:pt x="612" y="1485"/>
                        <a:pt x="612" y="1469"/>
                        <a:pt x="617" y="1454"/>
                      </a:cubicBezTo>
                      <a:cubicBezTo>
                        <a:pt x="623" y="1431"/>
                        <a:pt x="623" y="1431"/>
                        <a:pt x="623" y="1431"/>
                      </a:cubicBezTo>
                      <a:cubicBezTo>
                        <a:pt x="630" y="1407"/>
                        <a:pt x="644" y="1385"/>
                        <a:pt x="663" y="1370"/>
                      </a:cubicBezTo>
                      <a:cubicBezTo>
                        <a:pt x="682" y="1355"/>
                        <a:pt x="682" y="1355"/>
                        <a:pt x="682" y="1355"/>
                      </a:cubicBezTo>
                      <a:cubicBezTo>
                        <a:pt x="682" y="1355"/>
                        <a:pt x="724" y="1335"/>
                        <a:pt x="763" y="1335"/>
                      </a:cubicBezTo>
                      <a:cubicBezTo>
                        <a:pt x="792" y="1344"/>
                        <a:pt x="822" y="1350"/>
                        <a:pt x="852" y="1354"/>
                      </a:cubicBezTo>
                      <a:cubicBezTo>
                        <a:pt x="872" y="1368"/>
                        <a:pt x="888" y="1390"/>
                        <a:pt x="888" y="1390"/>
                      </a:cubicBezTo>
                      <a:cubicBezTo>
                        <a:pt x="893" y="1404"/>
                        <a:pt x="893" y="1404"/>
                        <a:pt x="893" y="1404"/>
                      </a:cubicBezTo>
                      <a:cubicBezTo>
                        <a:pt x="899" y="1419"/>
                        <a:pt x="900" y="1436"/>
                        <a:pt x="896" y="1451"/>
                      </a:cubicBezTo>
                      <a:cubicBezTo>
                        <a:pt x="892" y="1466"/>
                        <a:pt x="892" y="1466"/>
                        <a:pt x="892" y="1466"/>
                      </a:cubicBezTo>
                      <a:cubicBezTo>
                        <a:pt x="889" y="1476"/>
                        <a:pt x="884" y="1485"/>
                        <a:pt x="877" y="1493"/>
                      </a:cubicBezTo>
                      <a:cubicBezTo>
                        <a:pt x="864" y="1507"/>
                        <a:pt x="856" y="1528"/>
                        <a:pt x="861" y="1550"/>
                      </a:cubicBezTo>
                      <a:cubicBezTo>
                        <a:pt x="865" y="1576"/>
                        <a:pt x="886" y="1597"/>
                        <a:pt x="912" y="1602"/>
                      </a:cubicBezTo>
                      <a:cubicBezTo>
                        <a:pt x="954" y="1610"/>
                        <a:pt x="991" y="1578"/>
                        <a:pt x="991" y="1538"/>
                      </a:cubicBezTo>
                      <a:cubicBezTo>
                        <a:pt x="991" y="1520"/>
                        <a:pt x="984" y="1504"/>
                        <a:pt x="973" y="1493"/>
                      </a:cubicBezTo>
                      <a:cubicBezTo>
                        <a:pt x="966" y="1485"/>
                        <a:pt x="961" y="1476"/>
                        <a:pt x="958" y="1466"/>
                      </a:cubicBezTo>
                      <a:cubicBezTo>
                        <a:pt x="954" y="1451"/>
                        <a:pt x="954" y="1451"/>
                        <a:pt x="954" y="1451"/>
                      </a:cubicBezTo>
                      <a:cubicBezTo>
                        <a:pt x="950" y="1436"/>
                        <a:pt x="951" y="1419"/>
                        <a:pt x="957" y="1404"/>
                      </a:cubicBezTo>
                      <a:cubicBezTo>
                        <a:pt x="962" y="1390"/>
                        <a:pt x="962" y="1390"/>
                        <a:pt x="962" y="1390"/>
                      </a:cubicBezTo>
                      <a:cubicBezTo>
                        <a:pt x="962" y="1390"/>
                        <a:pt x="978" y="1368"/>
                        <a:pt x="998" y="1354"/>
                      </a:cubicBezTo>
                      <a:cubicBezTo>
                        <a:pt x="1028" y="1350"/>
                        <a:pt x="1058" y="1344"/>
                        <a:pt x="1087" y="1335"/>
                      </a:cubicBezTo>
                      <a:cubicBezTo>
                        <a:pt x="1126" y="1335"/>
                        <a:pt x="1168" y="1355"/>
                        <a:pt x="1168" y="1355"/>
                      </a:cubicBezTo>
                      <a:cubicBezTo>
                        <a:pt x="1187" y="1370"/>
                        <a:pt x="1187" y="1370"/>
                        <a:pt x="1187" y="1370"/>
                      </a:cubicBezTo>
                      <a:cubicBezTo>
                        <a:pt x="1206" y="1385"/>
                        <a:pt x="1220" y="1407"/>
                        <a:pt x="1227" y="1431"/>
                      </a:cubicBezTo>
                      <a:cubicBezTo>
                        <a:pt x="1233" y="1454"/>
                        <a:pt x="1233" y="1454"/>
                        <a:pt x="1233" y="1454"/>
                      </a:cubicBezTo>
                      <a:cubicBezTo>
                        <a:pt x="1238" y="1469"/>
                        <a:pt x="1238" y="1485"/>
                        <a:pt x="1234" y="1501"/>
                      </a:cubicBezTo>
                      <a:cubicBezTo>
                        <a:pt x="1229" y="1525"/>
                        <a:pt x="1232" y="1552"/>
                        <a:pt x="1245" y="1575"/>
                      </a:cubicBezTo>
                      <a:cubicBezTo>
                        <a:pt x="1277" y="1630"/>
                        <a:pt x="1351" y="1644"/>
                        <a:pt x="1401" y="1600"/>
                      </a:cubicBezTo>
                      <a:cubicBezTo>
                        <a:pt x="1432" y="1573"/>
                        <a:pt x="1444" y="1529"/>
                        <a:pt x="1430" y="1490"/>
                      </a:cubicBezTo>
                      <a:cubicBezTo>
                        <a:pt x="1418" y="1457"/>
                        <a:pt x="1392" y="1435"/>
                        <a:pt x="1363" y="1426"/>
                      </a:cubicBezTo>
                      <a:cubicBezTo>
                        <a:pt x="1347" y="1422"/>
                        <a:pt x="1333" y="1414"/>
                        <a:pt x="1322" y="1402"/>
                      </a:cubicBezTo>
                      <a:cubicBezTo>
                        <a:pt x="1305" y="1385"/>
                        <a:pt x="1305" y="1385"/>
                        <a:pt x="1305" y="1385"/>
                      </a:cubicBezTo>
                      <a:cubicBezTo>
                        <a:pt x="1288" y="1368"/>
                        <a:pt x="1276" y="1344"/>
                        <a:pt x="1272" y="1320"/>
                      </a:cubicBezTo>
                      <a:cubicBezTo>
                        <a:pt x="1268" y="1296"/>
                        <a:pt x="1268" y="1296"/>
                        <a:pt x="1268" y="1296"/>
                      </a:cubicBezTo>
                      <a:cubicBezTo>
                        <a:pt x="1268" y="1296"/>
                        <a:pt x="1272" y="1250"/>
                        <a:pt x="1291" y="1215"/>
                      </a:cubicBezTo>
                      <a:cubicBezTo>
                        <a:pt x="1313" y="1195"/>
                        <a:pt x="1334" y="1172"/>
                        <a:pt x="1352" y="1148"/>
                      </a:cubicBezTo>
                      <a:cubicBezTo>
                        <a:pt x="1372" y="1140"/>
                        <a:pt x="1393" y="1139"/>
                        <a:pt x="1393" y="1139"/>
                      </a:cubicBezTo>
                      <a:cubicBezTo>
                        <a:pt x="1409" y="1141"/>
                        <a:pt x="1409" y="1141"/>
                        <a:pt x="1409" y="1141"/>
                      </a:cubicBezTo>
                      <a:cubicBezTo>
                        <a:pt x="1425" y="1144"/>
                        <a:pt x="1440" y="1152"/>
                        <a:pt x="1452" y="1163"/>
                      </a:cubicBezTo>
                      <a:cubicBezTo>
                        <a:pt x="1463" y="1174"/>
                        <a:pt x="1463" y="1174"/>
                        <a:pt x="1463" y="1174"/>
                      </a:cubicBezTo>
                      <a:cubicBezTo>
                        <a:pt x="1470" y="1181"/>
                        <a:pt x="1476" y="1190"/>
                        <a:pt x="1479" y="1200"/>
                      </a:cubicBezTo>
                      <a:cubicBezTo>
                        <a:pt x="1484" y="1220"/>
                        <a:pt x="1499" y="1237"/>
                        <a:pt x="1520" y="1244"/>
                      </a:cubicBezTo>
                      <a:cubicBezTo>
                        <a:pt x="1546" y="1253"/>
                        <a:pt x="1575" y="1246"/>
                        <a:pt x="1592" y="1226"/>
                      </a:cubicBezTo>
                      <a:cubicBezTo>
                        <a:pt x="1621" y="1193"/>
                        <a:pt x="1612" y="1144"/>
                        <a:pt x="1576" y="1124"/>
                      </a:cubicBezTo>
                      <a:cubicBezTo>
                        <a:pt x="1561" y="1115"/>
                        <a:pt x="1543" y="1113"/>
                        <a:pt x="1528" y="1116"/>
                      </a:cubicBezTo>
                      <a:cubicBezTo>
                        <a:pt x="1517" y="1119"/>
                        <a:pt x="1507" y="1119"/>
                        <a:pt x="1496" y="1116"/>
                      </a:cubicBezTo>
                      <a:cubicBezTo>
                        <a:pt x="1482" y="1112"/>
                        <a:pt x="1482" y="1112"/>
                        <a:pt x="1482" y="1112"/>
                      </a:cubicBezTo>
                      <a:cubicBezTo>
                        <a:pt x="1466" y="1107"/>
                        <a:pt x="1451" y="1098"/>
                        <a:pt x="1442" y="1085"/>
                      </a:cubicBezTo>
                      <a:cubicBezTo>
                        <a:pt x="1432" y="1073"/>
                        <a:pt x="1432" y="1073"/>
                        <a:pt x="1432" y="1073"/>
                      </a:cubicBezTo>
                      <a:cubicBezTo>
                        <a:pt x="1432" y="1073"/>
                        <a:pt x="1423" y="1054"/>
                        <a:pt x="1420" y="1032"/>
                      </a:cubicBezTo>
                      <a:cubicBezTo>
                        <a:pt x="1432" y="1003"/>
                        <a:pt x="1442" y="972"/>
                        <a:pt x="1449" y="940"/>
                      </a:cubicBezTo>
                      <a:cubicBezTo>
                        <a:pt x="1469" y="907"/>
                        <a:pt x="1507" y="880"/>
                        <a:pt x="1507" y="880"/>
                      </a:cubicBezTo>
                      <a:cubicBezTo>
                        <a:pt x="1530" y="871"/>
                        <a:pt x="1530" y="871"/>
                        <a:pt x="1530" y="871"/>
                      </a:cubicBezTo>
                      <a:cubicBezTo>
                        <a:pt x="1553" y="863"/>
                        <a:pt x="1579" y="861"/>
                        <a:pt x="1603" y="867"/>
                      </a:cubicBezTo>
                      <a:cubicBezTo>
                        <a:pt x="1626" y="873"/>
                        <a:pt x="1626" y="873"/>
                        <a:pt x="1626" y="873"/>
                      </a:cubicBezTo>
                      <a:cubicBezTo>
                        <a:pt x="1642" y="877"/>
                        <a:pt x="1656" y="885"/>
                        <a:pt x="1667" y="896"/>
                      </a:cubicBezTo>
                      <a:cubicBezTo>
                        <a:pt x="1690" y="917"/>
                        <a:pt x="1722" y="928"/>
                        <a:pt x="1757" y="922"/>
                      </a:cubicBezTo>
                      <a:cubicBezTo>
                        <a:pt x="1797" y="915"/>
                        <a:pt x="1829" y="883"/>
                        <a:pt x="1837" y="842"/>
                      </a:cubicBezTo>
                      <a:cubicBezTo>
                        <a:pt x="1850" y="777"/>
                        <a:pt x="1800" y="720"/>
                        <a:pt x="1737" y="720"/>
                      </a:cubicBezTo>
                      <a:close/>
                      <a:moveTo>
                        <a:pt x="925" y="1302"/>
                      </a:moveTo>
                      <a:cubicBezTo>
                        <a:pt x="660" y="1302"/>
                        <a:pt x="445" y="1087"/>
                        <a:pt x="445" y="822"/>
                      </a:cubicBezTo>
                      <a:cubicBezTo>
                        <a:pt x="445" y="557"/>
                        <a:pt x="660" y="342"/>
                        <a:pt x="925" y="342"/>
                      </a:cubicBezTo>
                      <a:cubicBezTo>
                        <a:pt x="1190" y="342"/>
                        <a:pt x="1405" y="557"/>
                        <a:pt x="1405" y="822"/>
                      </a:cubicBezTo>
                      <a:cubicBezTo>
                        <a:pt x="1405" y="1087"/>
                        <a:pt x="1190" y="1302"/>
                        <a:pt x="925" y="1302"/>
                      </a:cubicBezTo>
                      <a:close/>
                    </a:path>
                  </a:pathLst>
                </a:custGeom>
                <a:solidFill>
                  <a:srgbClr val="003B59"/>
                </a:solidFill>
                <a:ln>
                  <a:noFill/>
                </a:ln>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sp>
              <p:nvSpPr>
                <p:cNvPr id="199" name="Freeform 8">
                  <a:extLst>
                    <a:ext uri="{FF2B5EF4-FFF2-40B4-BE49-F238E27FC236}">
                      <a16:creationId xmlns:a16="http://schemas.microsoft.com/office/drawing/2014/main" id="{7580DB7E-072B-4723-9BB8-E80D9447F668}"/>
                    </a:ext>
                  </a:extLst>
                </p:cNvPr>
                <p:cNvSpPr>
                  <a:spLocks noEditPoints="1"/>
                </p:cNvSpPr>
                <p:nvPr/>
              </p:nvSpPr>
              <p:spPr bwMode="auto">
                <a:xfrm>
                  <a:off x="2496345" y="2592388"/>
                  <a:ext cx="622300" cy="623888"/>
                </a:xfrm>
                <a:custGeom>
                  <a:avLst/>
                  <a:gdLst>
                    <a:gd name="T0" fmla="*/ 744 w 872"/>
                    <a:gd name="T1" fmla="*/ 128 h 872"/>
                    <a:gd name="T2" fmla="*/ 436 w 872"/>
                    <a:gd name="T3" fmla="*/ 0 h 872"/>
                    <a:gd name="T4" fmla="*/ 128 w 872"/>
                    <a:gd name="T5" fmla="*/ 128 h 872"/>
                    <a:gd name="T6" fmla="*/ 0 w 872"/>
                    <a:gd name="T7" fmla="*/ 436 h 872"/>
                    <a:gd name="T8" fmla="*/ 128 w 872"/>
                    <a:gd name="T9" fmla="*/ 744 h 872"/>
                    <a:gd name="T10" fmla="*/ 436 w 872"/>
                    <a:gd name="T11" fmla="*/ 872 h 872"/>
                    <a:gd name="T12" fmla="*/ 744 w 872"/>
                    <a:gd name="T13" fmla="*/ 744 h 872"/>
                    <a:gd name="T14" fmla="*/ 872 w 872"/>
                    <a:gd name="T15" fmla="*/ 436 h 872"/>
                    <a:gd name="T16" fmla="*/ 744 w 872"/>
                    <a:gd name="T17" fmla="*/ 128 h 872"/>
                    <a:gd name="T18" fmla="*/ 472 w 872"/>
                    <a:gd name="T19" fmla="*/ 112 h 872"/>
                    <a:gd name="T20" fmla="*/ 576 w 872"/>
                    <a:gd name="T21" fmla="*/ 216 h 872"/>
                    <a:gd name="T22" fmla="*/ 472 w 872"/>
                    <a:gd name="T23" fmla="*/ 320 h 872"/>
                    <a:gd name="T24" fmla="*/ 368 w 872"/>
                    <a:gd name="T25" fmla="*/ 216 h 872"/>
                    <a:gd name="T26" fmla="*/ 472 w 872"/>
                    <a:gd name="T27" fmla="*/ 112 h 872"/>
                    <a:gd name="T28" fmla="*/ 195 w 872"/>
                    <a:gd name="T29" fmla="*/ 216 h 872"/>
                    <a:gd name="T30" fmla="*/ 276 w 872"/>
                    <a:gd name="T31" fmla="*/ 297 h 872"/>
                    <a:gd name="T32" fmla="*/ 195 w 872"/>
                    <a:gd name="T33" fmla="*/ 377 h 872"/>
                    <a:gd name="T34" fmla="*/ 114 w 872"/>
                    <a:gd name="T35" fmla="*/ 297 h 872"/>
                    <a:gd name="T36" fmla="*/ 195 w 872"/>
                    <a:gd name="T37" fmla="*/ 216 h 872"/>
                    <a:gd name="T38" fmla="*/ 215 w 872"/>
                    <a:gd name="T39" fmla="*/ 679 h 872"/>
                    <a:gd name="T40" fmla="*/ 119 w 872"/>
                    <a:gd name="T41" fmla="*/ 583 h 872"/>
                    <a:gd name="T42" fmla="*/ 215 w 872"/>
                    <a:gd name="T43" fmla="*/ 487 h 872"/>
                    <a:gd name="T44" fmla="*/ 311 w 872"/>
                    <a:gd name="T45" fmla="*/ 583 h 872"/>
                    <a:gd name="T46" fmla="*/ 215 w 872"/>
                    <a:gd name="T47" fmla="*/ 679 h 872"/>
                    <a:gd name="T48" fmla="*/ 403 w 872"/>
                    <a:gd name="T49" fmla="*/ 539 h 872"/>
                    <a:gd name="T50" fmla="*/ 322 w 872"/>
                    <a:gd name="T51" fmla="*/ 458 h 872"/>
                    <a:gd name="T52" fmla="*/ 403 w 872"/>
                    <a:gd name="T53" fmla="*/ 377 h 872"/>
                    <a:gd name="T54" fmla="*/ 484 w 872"/>
                    <a:gd name="T55" fmla="*/ 458 h 872"/>
                    <a:gd name="T56" fmla="*/ 403 w 872"/>
                    <a:gd name="T57" fmla="*/ 539 h 872"/>
                    <a:gd name="T58" fmla="*/ 545 w 872"/>
                    <a:gd name="T59" fmla="*/ 760 h 872"/>
                    <a:gd name="T60" fmla="*/ 464 w 872"/>
                    <a:gd name="T61" fmla="*/ 679 h 872"/>
                    <a:gd name="T62" fmla="*/ 545 w 872"/>
                    <a:gd name="T63" fmla="*/ 599 h 872"/>
                    <a:gd name="T64" fmla="*/ 625 w 872"/>
                    <a:gd name="T65" fmla="*/ 679 h 872"/>
                    <a:gd name="T66" fmla="*/ 545 w 872"/>
                    <a:gd name="T67" fmla="*/ 760 h 872"/>
                    <a:gd name="T68" fmla="*/ 662 w 872"/>
                    <a:gd name="T69" fmla="*/ 540 h 872"/>
                    <a:gd name="T70" fmla="*/ 566 w 872"/>
                    <a:gd name="T71" fmla="*/ 444 h 872"/>
                    <a:gd name="T72" fmla="*/ 662 w 872"/>
                    <a:gd name="T73" fmla="*/ 348 h 872"/>
                    <a:gd name="T74" fmla="*/ 758 w 872"/>
                    <a:gd name="T75" fmla="*/ 444 h 872"/>
                    <a:gd name="T76" fmla="*/ 662 w 872"/>
                    <a:gd name="T77" fmla="*/ 54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2" h="872">
                      <a:moveTo>
                        <a:pt x="744" y="128"/>
                      </a:moveTo>
                      <a:cubicBezTo>
                        <a:pt x="662" y="45"/>
                        <a:pt x="553" y="0"/>
                        <a:pt x="436" y="0"/>
                      </a:cubicBezTo>
                      <a:cubicBezTo>
                        <a:pt x="319" y="0"/>
                        <a:pt x="210" y="45"/>
                        <a:pt x="128" y="128"/>
                      </a:cubicBezTo>
                      <a:cubicBezTo>
                        <a:pt x="45" y="210"/>
                        <a:pt x="0" y="319"/>
                        <a:pt x="0" y="436"/>
                      </a:cubicBezTo>
                      <a:cubicBezTo>
                        <a:pt x="0" y="553"/>
                        <a:pt x="45" y="662"/>
                        <a:pt x="128" y="744"/>
                      </a:cubicBezTo>
                      <a:cubicBezTo>
                        <a:pt x="210" y="827"/>
                        <a:pt x="319" y="872"/>
                        <a:pt x="436" y="872"/>
                      </a:cubicBezTo>
                      <a:cubicBezTo>
                        <a:pt x="553" y="872"/>
                        <a:pt x="662" y="827"/>
                        <a:pt x="744" y="744"/>
                      </a:cubicBezTo>
                      <a:cubicBezTo>
                        <a:pt x="827" y="662"/>
                        <a:pt x="872" y="553"/>
                        <a:pt x="872" y="436"/>
                      </a:cubicBezTo>
                      <a:cubicBezTo>
                        <a:pt x="872" y="319"/>
                        <a:pt x="827" y="210"/>
                        <a:pt x="744" y="128"/>
                      </a:cubicBezTo>
                      <a:close/>
                      <a:moveTo>
                        <a:pt x="472" y="112"/>
                      </a:moveTo>
                      <a:cubicBezTo>
                        <a:pt x="529" y="112"/>
                        <a:pt x="576" y="158"/>
                        <a:pt x="576" y="216"/>
                      </a:cubicBezTo>
                      <a:cubicBezTo>
                        <a:pt x="576" y="273"/>
                        <a:pt x="529" y="320"/>
                        <a:pt x="472" y="320"/>
                      </a:cubicBezTo>
                      <a:cubicBezTo>
                        <a:pt x="414" y="320"/>
                        <a:pt x="368" y="273"/>
                        <a:pt x="368" y="216"/>
                      </a:cubicBezTo>
                      <a:cubicBezTo>
                        <a:pt x="368" y="158"/>
                        <a:pt x="414" y="112"/>
                        <a:pt x="472" y="112"/>
                      </a:cubicBezTo>
                      <a:close/>
                      <a:moveTo>
                        <a:pt x="195" y="216"/>
                      </a:moveTo>
                      <a:cubicBezTo>
                        <a:pt x="240" y="216"/>
                        <a:pt x="276" y="252"/>
                        <a:pt x="276" y="297"/>
                      </a:cubicBezTo>
                      <a:cubicBezTo>
                        <a:pt x="276" y="341"/>
                        <a:pt x="240" y="377"/>
                        <a:pt x="195" y="377"/>
                      </a:cubicBezTo>
                      <a:cubicBezTo>
                        <a:pt x="151" y="377"/>
                        <a:pt x="114" y="341"/>
                        <a:pt x="114" y="297"/>
                      </a:cubicBezTo>
                      <a:cubicBezTo>
                        <a:pt x="114" y="252"/>
                        <a:pt x="151" y="216"/>
                        <a:pt x="195" y="216"/>
                      </a:cubicBezTo>
                      <a:close/>
                      <a:moveTo>
                        <a:pt x="215" y="679"/>
                      </a:moveTo>
                      <a:cubicBezTo>
                        <a:pt x="162" y="679"/>
                        <a:pt x="119" y="636"/>
                        <a:pt x="119" y="583"/>
                      </a:cubicBezTo>
                      <a:cubicBezTo>
                        <a:pt x="119" y="530"/>
                        <a:pt x="162" y="487"/>
                        <a:pt x="215" y="487"/>
                      </a:cubicBezTo>
                      <a:cubicBezTo>
                        <a:pt x="268" y="487"/>
                        <a:pt x="311" y="530"/>
                        <a:pt x="311" y="583"/>
                      </a:cubicBezTo>
                      <a:cubicBezTo>
                        <a:pt x="311" y="636"/>
                        <a:pt x="268" y="679"/>
                        <a:pt x="215" y="679"/>
                      </a:cubicBezTo>
                      <a:close/>
                      <a:moveTo>
                        <a:pt x="403" y="539"/>
                      </a:moveTo>
                      <a:cubicBezTo>
                        <a:pt x="359" y="539"/>
                        <a:pt x="322" y="503"/>
                        <a:pt x="322" y="458"/>
                      </a:cubicBezTo>
                      <a:cubicBezTo>
                        <a:pt x="322" y="414"/>
                        <a:pt x="359" y="377"/>
                        <a:pt x="403" y="377"/>
                      </a:cubicBezTo>
                      <a:cubicBezTo>
                        <a:pt x="448" y="377"/>
                        <a:pt x="484" y="414"/>
                        <a:pt x="484" y="458"/>
                      </a:cubicBezTo>
                      <a:cubicBezTo>
                        <a:pt x="484" y="503"/>
                        <a:pt x="448" y="539"/>
                        <a:pt x="403" y="539"/>
                      </a:cubicBezTo>
                      <a:close/>
                      <a:moveTo>
                        <a:pt x="545" y="760"/>
                      </a:moveTo>
                      <a:cubicBezTo>
                        <a:pt x="500" y="760"/>
                        <a:pt x="464" y="724"/>
                        <a:pt x="464" y="679"/>
                      </a:cubicBezTo>
                      <a:cubicBezTo>
                        <a:pt x="464" y="635"/>
                        <a:pt x="500" y="599"/>
                        <a:pt x="545" y="599"/>
                      </a:cubicBezTo>
                      <a:cubicBezTo>
                        <a:pt x="589" y="599"/>
                        <a:pt x="625" y="635"/>
                        <a:pt x="625" y="679"/>
                      </a:cubicBezTo>
                      <a:cubicBezTo>
                        <a:pt x="625" y="724"/>
                        <a:pt x="589" y="760"/>
                        <a:pt x="545" y="760"/>
                      </a:cubicBezTo>
                      <a:close/>
                      <a:moveTo>
                        <a:pt x="662" y="540"/>
                      </a:moveTo>
                      <a:cubicBezTo>
                        <a:pt x="609" y="540"/>
                        <a:pt x="566" y="497"/>
                        <a:pt x="566" y="444"/>
                      </a:cubicBezTo>
                      <a:cubicBezTo>
                        <a:pt x="566" y="391"/>
                        <a:pt x="609" y="348"/>
                        <a:pt x="662" y="348"/>
                      </a:cubicBezTo>
                      <a:cubicBezTo>
                        <a:pt x="715" y="348"/>
                        <a:pt x="758" y="391"/>
                        <a:pt x="758" y="444"/>
                      </a:cubicBezTo>
                      <a:cubicBezTo>
                        <a:pt x="758" y="497"/>
                        <a:pt x="715" y="540"/>
                        <a:pt x="662" y="540"/>
                      </a:cubicBezTo>
                      <a:close/>
                    </a:path>
                  </a:pathLst>
                </a:custGeom>
                <a:solidFill>
                  <a:srgbClr val="4C7895"/>
                </a:solidFill>
                <a:ln>
                  <a:noFill/>
                </a:ln>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grpSp>
        </p:grpSp>
        <p:grpSp>
          <p:nvGrpSpPr>
            <p:cNvPr id="193" name="Group 192">
              <a:extLst>
                <a:ext uri="{FF2B5EF4-FFF2-40B4-BE49-F238E27FC236}">
                  <a16:creationId xmlns:a16="http://schemas.microsoft.com/office/drawing/2014/main" id="{34EA25E9-C228-4C7C-9617-8DFBF0AB9D38}"/>
                </a:ext>
              </a:extLst>
            </p:cNvPr>
            <p:cNvGrpSpPr>
              <a:grpSpLocks noChangeAspect="1"/>
            </p:cNvGrpSpPr>
            <p:nvPr/>
          </p:nvGrpSpPr>
          <p:grpSpPr>
            <a:xfrm>
              <a:off x="4150893" y="1613161"/>
              <a:ext cx="540000" cy="540000"/>
              <a:chOff x="5273675" y="2606675"/>
              <a:chExt cx="1644650" cy="1644650"/>
            </a:xfrm>
          </p:grpSpPr>
          <p:sp>
            <p:nvSpPr>
              <p:cNvPr id="200" name="AutoShape 8">
                <a:extLst>
                  <a:ext uri="{FF2B5EF4-FFF2-40B4-BE49-F238E27FC236}">
                    <a16:creationId xmlns:a16="http://schemas.microsoft.com/office/drawing/2014/main" id="{ED2BBF26-ABFF-4CC7-A4A2-6DA3F3311F9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grpSp>
            <p:nvGrpSpPr>
              <p:cNvPr id="201" name="Group 200">
                <a:extLst>
                  <a:ext uri="{FF2B5EF4-FFF2-40B4-BE49-F238E27FC236}">
                    <a16:creationId xmlns:a16="http://schemas.microsoft.com/office/drawing/2014/main" id="{CF75080F-F231-4463-8671-3E37597D73C0}"/>
                  </a:ext>
                </a:extLst>
              </p:cNvPr>
              <p:cNvGrpSpPr/>
              <p:nvPr/>
            </p:nvGrpSpPr>
            <p:grpSpPr>
              <a:xfrm>
                <a:off x="5443538" y="2776538"/>
                <a:ext cx="1304925" cy="1304925"/>
                <a:chOff x="5443538" y="2776538"/>
                <a:chExt cx="1304925" cy="1304925"/>
              </a:xfrm>
            </p:grpSpPr>
            <p:sp>
              <p:nvSpPr>
                <p:cNvPr id="202" name="Freeform 10">
                  <a:extLst>
                    <a:ext uri="{FF2B5EF4-FFF2-40B4-BE49-F238E27FC236}">
                      <a16:creationId xmlns:a16="http://schemas.microsoft.com/office/drawing/2014/main" id="{B9654940-E0C3-471F-B4EE-1F45FF753642}"/>
                    </a:ext>
                  </a:extLst>
                </p:cNvPr>
                <p:cNvSpPr>
                  <a:spLocks noEditPoints="1"/>
                </p:cNvSpPr>
                <p:nvPr/>
              </p:nvSpPr>
              <p:spPr bwMode="auto">
                <a:xfrm>
                  <a:off x="5443538" y="2776538"/>
                  <a:ext cx="1304925" cy="1304925"/>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1E4625"/>
                </a:solidFill>
                <a:ln>
                  <a:noFill/>
                </a:ln>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sp>
              <p:nvSpPr>
                <p:cNvPr id="203" name="Freeform 11">
                  <a:extLst>
                    <a:ext uri="{FF2B5EF4-FFF2-40B4-BE49-F238E27FC236}">
                      <a16:creationId xmlns:a16="http://schemas.microsoft.com/office/drawing/2014/main" id="{2517F1BE-091A-4628-9537-A8D99E737065}"/>
                    </a:ext>
                  </a:extLst>
                </p:cNvPr>
                <p:cNvSpPr>
                  <a:spLocks noEditPoints="1"/>
                </p:cNvSpPr>
                <p:nvPr/>
              </p:nvSpPr>
              <p:spPr bwMode="auto">
                <a:xfrm>
                  <a:off x="5507038" y="2840038"/>
                  <a:ext cx="1177925" cy="1177925"/>
                </a:xfrm>
                <a:custGeom>
                  <a:avLst/>
                  <a:gdLst>
                    <a:gd name="T0" fmla="*/ 826 w 1652"/>
                    <a:gd name="T1" fmla="*/ 0 h 1652"/>
                    <a:gd name="T2" fmla="*/ 0 w 1652"/>
                    <a:gd name="T3" fmla="*/ 826 h 1652"/>
                    <a:gd name="T4" fmla="*/ 826 w 1652"/>
                    <a:gd name="T5" fmla="*/ 1652 h 1652"/>
                    <a:gd name="T6" fmla="*/ 1652 w 1652"/>
                    <a:gd name="T7" fmla="*/ 826 h 1652"/>
                    <a:gd name="T8" fmla="*/ 826 w 1652"/>
                    <a:gd name="T9" fmla="*/ 0 h 1652"/>
                    <a:gd name="T10" fmla="*/ 1412 w 1652"/>
                    <a:gd name="T11" fmla="*/ 826 h 1652"/>
                    <a:gd name="T12" fmla="*/ 1359 w 1652"/>
                    <a:gd name="T13" fmla="*/ 1070 h 1652"/>
                    <a:gd name="T14" fmla="*/ 432 w 1652"/>
                    <a:gd name="T15" fmla="*/ 392 h 1652"/>
                    <a:gd name="T16" fmla="*/ 826 w 1652"/>
                    <a:gd name="T17" fmla="*/ 240 h 1652"/>
                    <a:gd name="T18" fmla="*/ 1412 w 1652"/>
                    <a:gd name="T19" fmla="*/ 826 h 1652"/>
                    <a:gd name="T20" fmla="*/ 240 w 1652"/>
                    <a:gd name="T21" fmla="*/ 826 h 1652"/>
                    <a:gd name="T22" fmla="*/ 293 w 1652"/>
                    <a:gd name="T23" fmla="*/ 582 h 1652"/>
                    <a:gd name="T24" fmla="*/ 1220 w 1652"/>
                    <a:gd name="T25" fmla="*/ 1260 h 1652"/>
                    <a:gd name="T26" fmla="*/ 826 w 1652"/>
                    <a:gd name="T27" fmla="*/ 1412 h 1652"/>
                    <a:gd name="T28" fmla="*/ 240 w 1652"/>
                    <a:gd name="T29" fmla="*/ 826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2" h="1652">
                      <a:moveTo>
                        <a:pt x="826" y="0"/>
                      </a:moveTo>
                      <a:cubicBezTo>
                        <a:pt x="371" y="0"/>
                        <a:pt x="0" y="371"/>
                        <a:pt x="0" y="826"/>
                      </a:cubicBezTo>
                      <a:cubicBezTo>
                        <a:pt x="0" y="1281"/>
                        <a:pt x="371" y="1652"/>
                        <a:pt x="826" y="1652"/>
                      </a:cubicBezTo>
                      <a:cubicBezTo>
                        <a:pt x="1281" y="1652"/>
                        <a:pt x="1652" y="1281"/>
                        <a:pt x="1652" y="826"/>
                      </a:cubicBezTo>
                      <a:cubicBezTo>
                        <a:pt x="1652" y="371"/>
                        <a:pt x="1281" y="0"/>
                        <a:pt x="826" y="0"/>
                      </a:cubicBezTo>
                      <a:close/>
                      <a:moveTo>
                        <a:pt x="1412" y="826"/>
                      </a:moveTo>
                      <a:cubicBezTo>
                        <a:pt x="1412" y="913"/>
                        <a:pt x="1393" y="996"/>
                        <a:pt x="1359" y="1070"/>
                      </a:cubicBezTo>
                      <a:cubicBezTo>
                        <a:pt x="432" y="392"/>
                        <a:pt x="432" y="392"/>
                        <a:pt x="432" y="392"/>
                      </a:cubicBezTo>
                      <a:cubicBezTo>
                        <a:pt x="536" y="298"/>
                        <a:pt x="674" y="240"/>
                        <a:pt x="826" y="240"/>
                      </a:cubicBezTo>
                      <a:cubicBezTo>
                        <a:pt x="1149" y="240"/>
                        <a:pt x="1412" y="503"/>
                        <a:pt x="1412" y="826"/>
                      </a:cubicBezTo>
                      <a:close/>
                      <a:moveTo>
                        <a:pt x="240" y="826"/>
                      </a:moveTo>
                      <a:cubicBezTo>
                        <a:pt x="240" y="739"/>
                        <a:pt x="259" y="656"/>
                        <a:pt x="293" y="582"/>
                      </a:cubicBezTo>
                      <a:cubicBezTo>
                        <a:pt x="1220" y="1260"/>
                        <a:pt x="1220" y="1260"/>
                        <a:pt x="1220" y="1260"/>
                      </a:cubicBezTo>
                      <a:cubicBezTo>
                        <a:pt x="1116" y="1354"/>
                        <a:pt x="978" y="1412"/>
                        <a:pt x="826" y="1412"/>
                      </a:cubicBezTo>
                      <a:cubicBezTo>
                        <a:pt x="503" y="1412"/>
                        <a:pt x="240" y="1149"/>
                        <a:pt x="240" y="826"/>
                      </a:cubicBezTo>
                      <a:close/>
                    </a:path>
                  </a:pathLst>
                </a:custGeom>
                <a:solidFill>
                  <a:srgbClr val="3C8C93"/>
                </a:solidFill>
                <a:ln>
                  <a:noFill/>
                </a:ln>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grpSp>
        </p:grpSp>
      </p:grpSp>
      <p:sp>
        <p:nvSpPr>
          <p:cNvPr id="4" name="Rectangle 3">
            <a:extLst>
              <a:ext uri="{FF2B5EF4-FFF2-40B4-BE49-F238E27FC236}">
                <a16:creationId xmlns:a16="http://schemas.microsoft.com/office/drawing/2014/main" id="{33486EE1-7E73-4EE2-850F-186727EC7C22}"/>
              </a:ext>
            </a:extLst>
          </p:cNvPr>
          <p:cNvSpPr/>
          <p:nvPr/>
        </p:nvSpPr>
        <p:spPr bwMode="auto">
          <a:xfrm>
            <a:off x="6300192" y="3175295"/>
            <a:ext cx="2160240" cy="1520918"/>
          </a:xfrm>
          <a:prstGeom prst="rect">
            <a:avLst/>
          </a:prstGeom>
          <a:noFill/>
          <a:ln w="9525" cap="flat" cmpd="sng" algn="ctr">
            <a:solidFill>
              <a:srgbClr val="B43E62"/>
            </a:solidFill>
            <a:prstDash val="sysDash"/>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54" name="Rectangle 53">
            <a:extLst>
              <a:ext uri="{FF2B5EF4-FFF2-40B4-BE49-F238E27FC236}">
                <a16:creationId xmlns:a16="http://schemas.microsoft.com/office/drawing/2014/main" id="{AFCDED52-03EE-4644-B2BD-CF7D795278EB}"/>
              </a:ext>
            </a:extLst>
          </p:cNvPr>
          <p:cNvSpPr/>
          <p:nvPr/>
        </p:nvSpPr>
        <p:spPr bwMode="auto">
          <a:xfrm>
            <a:off x="3386348" y="0"/>
            <a:ext cx="2372317" cy="271811"/>
          </a:xfrm>
          <a:prstGeom prst="rect">
            <a:avLst/>
          </a:prstGeom>
          <a:solidFill>
            <a:srgbClr val="0A4E7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200" dirty="0">
                <a:solidFill>
                  <a:schemeClr val="bg1"/>
                </a:solidFill>
                <a:latin typeface="+mn-lt"/>
                <a:cs typeface="+mn-cs"/>
              </a:rPr>
              <a:t>Exemplarische Darstellung</a:t>
            </a:r>
          </a:p>
        </p:txBody>
      </p:sp>
    </p:spTree>
    <p:extLst>
      <p:ext uri="{BB962C8B-B14F-4D97-AF65-F5344CB8AC3E}">
        <p14:creationId xmlns:p14="http://schemas.microsoft.com/office/powerpoint/2010/main" val="3112783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E10F2B4-9639-4A81-95C0-5314BA791586}"/>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9878" name="think-cell Slide" r:id="rId5" imgW="473" imgH="476" progId="TCLayout.ActiveDocument.1">
                  <p:embed/>
                </p:oleObj>
              </mc:Choice>
              <mc:Fallback>
                <p:oleObj name="think-cell Slide" r:id="rId5" imgW="473" imgH="476" progId="TCLayout.ActiveDocument.1">
                  <p:embed/>
                  <p:pic>
                    <p:nvPicPr>
                      <p:cNvPr id="9" name="Object 8" hidden="1">
                        <a:extLst>
                          <a:ext uri="{FF2B5EF4-FFF2-40B4-BE49-F238E27FC236}">
                            <a16:creationId xmlns:a16="http://schemas.microsoft.com/office/drawing/2014/main" id="{3E10F2B4-9639-4A81-95C0-5314BA79158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Title 2"/>
          <p:cNvSpPr>
            <a:spLocks noGrp="1"/>
          </p:cNvSpPr>
          <p:nvPr>
            <p:ph type="title"/>
          </p:nvPr>
        </p:nvSpPr>
        <p:spPr>
          <a:xfrm>
            <a:off x="472500" y="300174"/>
            <a:ext cx="7699900" cy="784830"/>
          </a:xfrm>
        </p:spPr>
        <p:txBody>
          <a:bodyPr vert="horz"/>
          <a:lstStyle/>
          <a:p>
            <a:r>
              <a:rPr lang="de-DE" dirty="0"/>
              <a:t>Bei positivem PCR-Pool werden Individualproben</a:t>
            </a:r>
            <a:br>
              <a:rPr lang="de-DE" dirty="0"/>
            </a:br>
            <a:r>
              <a:rPr lang="de-DE" dirty="0"/>
              <a:t>analysiert und ggfs. entsprechende Maßnahmen getroffen</a:t>
            </a:r>
          </a:p>
        </p:txBody>
      </p:sp>
      <p:grpSp>
        <p:nvGrpSpPr>
          <p:cNvPr id="95" name="Group 94">
            <a:extLst>
              <a:ext uri="{FF2B5EF4-FFF2-40B4-BE49-F238E27FC236}">
                <a16:creationId xmlns:a16="http://schemas.microsoft.com/office/drawing/2014/main" id="{F806ABFF-5251-47B5-AFB6-6D139C6E81AC}"/>
              </a:ext>
            </a:extLst>
          </p:cNvPr>
          <p:cNvGrpSpPr/>
          <p:nvPr/>
        </p:nvGrpSpPr>
        <p:grpSpPr>
          <a:xfrm>
            <a:off x="472499" y="1306875"/>
            <a:ext cx="8200013" cy="262417"/>
            <a:chOff x="629999" y="1319511"/>
            <a:chExt cx="2588445" cy="349889"/>
          </a:xfrm>
        </p:grpSpPr>
        <p:sp>
          <p:nvSpPr>
            <p:cNvPr id="96" name="ee4pContent1">
              <a:extLst>
                <a:ext uri="{FF2B5EF4-FFF2-40B4-BE49-F238E27FC236}">
                  <a16:creationId xmlns:a16="http://schemas.microsoft.com/office/drawing/2014/main" id="{0E1B2587-5F56-47FC-A123-066979C492BD}"/>
                </a:ext>
              </a:extLst>
            </p:cNvPr>
            <p:cNvSpPr txBox="1"/>
            <p:nvPr/>
          </p:nvSpPr>
          <p:spPr>
            <a:xfrm>
              <a:off x="629999" y="1319511"/>
              <a:ext cx="2588444" cy="3077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defPPr>
                <a:defRPr lang="en-US"/>
              </a:defPPr>
              <a:lvl1pPr>
                <a:buSzPct val="100000"/>
                <a:buFont typeface="Trebuchet MS" panose="020B0603020202020204" pitchFamily="34" charset="0"/>
                <a:buChar char="​"/>
                <a:defRPr sz="1200">
                  <a:solidFill>
                    <a:srgbClr val="008DC9"/>
                  </a:solidFill>
                </a:defRPr>
              </a:lvl1pPr>
              <a:lvl2pPr marL="288000" lvl="1" indent="-180000">
                <a:buClr>
                  <a:srgbClr val="008DC9"/>
                </a:buClr>
                <a:buSzPct val="100000"/>
                <a:buFont typeface="Trebuchet MS" panose="020B0603020202020204" pitchFamily="34" charset="0"/>
                <a:buChar char="•"/>
                <a:defRPr sz="1200">
                  <a:solidFill>
                    <a:srgbClr val="008DC9"/>
                  </a:solidFill>
                </a:defRPr>
              </a:lvl2pPr>
              <a:lvl3pPr marL="576000" lvl="2" indent="-180000">
                <a:buClr>
                  <a:srgbClr val="008DC9"/>
                </a:buClr>
                <a:buSzPct val="100000"/>
                <a:buFont typeface="Arial" panose="020B0604020202020204" pitchFamily="34" charset="0"/>
                <a:buChar char="–"/>
                <a:defRPr sz="1200">
                  <a:solidFill>
                    <a:srgbClr val="008DC9"/>
                  </a:solidFill>
                </a:defRPr>
              </a:lvl3pPr>
              <a:lvl4pPr marL="0" lvl="3">
                <a:buSzPct val="100000"/>
                <a:buFont typeface="Trebuchet MS" panose="020B0603020202020204" pitchFamily="34" charset="0"/>
                <a:buChar char="​"/>
                <a:defRPr sz="1600">
                  <a:solidFill>
                    <a:srgbClr val="006A97"/>
                  </a:solidFill>
                </a:defRPr>
              </a:lvl4pPr>
              <a:lvl5pPr marL="0" lvl="4">
                <a:buSzPct val="100000"/>
                <a:buFont typeface="Trebuchet MS" panose="020B0603020202020204" pitchFamily="34" charset="0"/>
                <a:buChar char="​"/>
                <a:defRPr sz="1600" b="1">
                  <a:solidFill>
                    <a:srgbClr val="008DC9"/>
                  </a:solidFill>
                </a:defRPr>
              </a:lvl5pPr>
              <a:lvl6pPr marL="288000" lvl="5" indent="-180000">
                <a:buClr>
                  <a:srgbClr val="008DC9"/>
                </a:buClr>
                <a:buSzPct val="100000"/>
                <a:buFont typeface="Trebuchet MS" panose="020B0603020202020204" pitchFamily="34" charset="0"/>
                <a:buChar char="•"/>
                <a:defRPr sz="1600">
                  <a:solidFill>
                    <a:srgbClr val="008DC9"/>
                  </a:solidFill>
                </a:defRPr>
              </a:lvl6pPr>
              <a:lvl7pPr marL="0" lvl="6">
                <a:buSzPct val="100000"/>
                <a:buFont typeface="Trebuchet MS" panose="020B0603020202020204" pitchFamily="34" charset="0"/>
                <a:buChar char="​"/>
                <a:defRPr sz="4400">
                  <a:solidFill>
                    <a:srgbClr val="008DC9"/>
                  </a:solidFill>
                </a:defRPr>
              </a:lvl7pPr>
              <a:lvl8pPr marL="0" lvl="7">
                <a:buSzPct val="100000"/>
                <a:buFont typeface="Trebuchet MS" panose="020B0603020202020204" pitchFamily="34" charset="0"/>
                <a:buChar char="​"/>
                <a:defRPr sz="4000">
                  <a:solidFill>
                    <a:srgbClr val="006A97"/>
                  </a:solidFill>
                </a:defRPr>
              </a:lvl8pPr>
              <a:lvl9pPr marL="0" lvl="8">
                <a:buSzPct val="100000"/>
                <a:buFont typeface="Trebuchet MS" panose="020B0603020202020204" pitchFamily="34" charset="0"/>
                <a:buChar char="​"/>
                <a:defRPr sz="2400">
                  <a:solidFill>
                    <a:srgbClr val="006A97"/>
                  </a:solidFill>
                </a:defRPr>
              </a:lvl9pPr>
            </a:lstStyle>
            <a:p>
              <a:pPr>
                <a:buNone/>
              </a:pPr>
              <a:r>
                <a:rPr lang="de-DE" b="1" dirty="0">
                  <a:solidFill>
                    <a:srgbClr val="0A4E78"/>
                  </a:solidFill>
                </a:rPr>
                <a:t>Befundübermittlung der Individualtests </a:t>
              </a:r>
            </a:p>
          </p:txBody>
        </p:sp>
        <p:cxnSp>
          <p:nvCxnSpPr>
            <p:cNvPr id="97" name="Straight Connector 96">
              <a:extLst>
                <a:ext uri="{FF2B5EF4-FFF2-40B4-BE49-F238E27FC236}">
                  <a16:creationId xmlns:a16="http://schemas.microsoft.com/office/drawing/2014/main" id="{473B1687-CE06-458C-9EC6-BA1F1FA0AB70}"/>
                </a:ext>
              </a:extLst>
            </p:cNvPr>
            <p:cNvCxnSpPr>
              <a:cxnSpLocks/>
            </p:cNvCxnSpPr>
            <p:nvPr/>
          </p:nvCxnSpPr>
          <p:spPr>
            <a:xfrm>
              <a:off x="630000" y="1669400"/>
              <a:ext cx="2588444" cy="0"/>
            </a:xfrm>
            <a:prstGeom prst="line">
              <a:avLst/>
            </a:prstGeom>
            <a:ln w="19050" cap="rnd" cmpd="sng" algn="ctr">
              <a:solidFill>
                <a:srgbClr val="006A9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8" name="Rectangle 25">
            <a:extLst>
              <a:ext uri="{FF2B5EF4-FFF2-40B4-BE49-F238E27FC236}">
                <a16:creationId xmlns:a16="http://schemas.microsoft.com/office/drawing/2014/main" id="{193EC274-45A8-4491-8BC9-DFB56F985D98}"/>
              </a:ext>
            </a:extLst>
          </p:cNvPr>
          <p:cNvSpPr>
            <a:spLocks noChangeArrowheads="1"/>
          </p:cNvSpPr>
          <p:nvPr/>
        </p:nvSpPr>
        <p:spPr bwMode="auto">
          <a:xfrm>
            <a:off x="510906" y="3329999"/>
            <a:ext cx="1620000" cy="249299"/>
          </a:xfrm>
          <a:prstGeom prst="rect">
            <a:avLst/>
          </a:prstGeom>
          <a:solidFill>
            <a:schemeClr val="bg1"/>
          </a:solidFill>
          <a:ln w="9525" cap="rnd" cmpd="sng" algn="ctr">
            <a:noFill/>
            <a:prstDash val="solid"/>
            <a:round/>
            <a:headEnd type="none" w="med" len="med"/>
            <a:tailEnd type="none" w="med" len="med"/>
          </a:ln>
        </p:spPr>
        <p:txBody>
          <a:bodyPr wrap="square" lIns="0" tIns="0" rIns="0" bIns="0" anchor="t">
            <a:spAutoFit/>
          </a:bodyPr>
          <a:lstStyle/>
          <a:p>
            <a:pPr marL="34528" lvl="1" algn="ctr">
              <a:lnSpc>
                <a:spcPct val="90000"/>
              </a:lnSpc>
              <a:spcAft>
                <a:spcPts val="450"/>
              </a:spcAft>
              <a:buClr>
                <a:schemeClr val="tx2"/>
              </a:buClr>
              <a:buSzPct val="100000"/>
            </a:pPr>
            <a:r>
              <a:rPr lang="de-DE" sz="900" spc="-15" dirty="0">
                <a:solidFill>
                  <a:srgbClr val="37373A"/>
                </a:solidFill>
                <a:latin typeface="+mj-lt"/>
              </a:rPr>
              <a:t>PCR-Analyse der</a:t>
            </a:r>
            <a:br>
              <a:rPr lang="de-DE" sz="900" spc="-15" dirty="0">
                <a:solidFill>
                  <a:srgbClr val="37373A"/>
                </a:solidFill>
                <a:latin typeface="+mj-lt"/>
              </a:rPr>
            </a:br>
            <a:r>
              <a:rPr lang="de-DE" sz="900" b="1" spc="-15" dirty="0">
                <a:solidFill>
                  <a:srgbClr val="37373A"/>
                </a:solidFill>
                <a:latin typeface="+mj-lt"/>
              </a:rPr>
              <a:t>Individualtests</a:t>
            </a:r>
            <a:r>
              <a:rPr lang="de-DE" sz="900" spc="-15" dirty="0">
                <a:solidFill>
                  <a:srgbClr val="37373A"/>
                </a:solidFill>
                <a:latin typeface="+mj-lt"/>
              </a:rPr>
              <a:t> im Labor.</a:t>
            </a:r>
          </a:p>
        </p:txBody>
      </p:sp>
      <p:grpSp>
        <p:nvGrpSpPr>
          <p:cNvPr id="15" name="Group 14">
            <a:extLst>
              <a:ext uri="{FF2B5EF4-FFF2-40B4-BE49-F238E27FC236}">
                <a16:creationId xmlns:a16="http://schemas.microsoft.com/office/drawing/2014/main" id="{F510D4DD-D5C1-4995-8390-088E5CF982D8}"/>
              </a:ext>
            </a:extLst>
          </p:cNvPr>
          <p:cNvGrpSpPr/>
          <p:nvPr/>
        </p:nvGrpSpPr>
        <p:grpSpPr>
          <a:xfrm>
            <a:off x="1050906" y="2779644"/>
            <a:ext cx="540000" cy="540000"/>
            <a:chOff x="321770" y="2454673"/>
            <a:chExt cx="540000" cy="540000"/>
          </a:xfrm>
        </p:grpSpPr>
        <p:sp>
          <p:nvSpPr>
            <p:cNvPr id="87" name="AutoShape 11">
              <a:extLst>
                <a:ext uri="{FF2B5EF4-FFF2-40B4-BE49-F238E27FC236}">
                  <a16:creationId xmlns:a16="http://schemas.microsoft.com/office/drawing/2014/main" id="{FA41AAD6-3F11-4B2D-97ED-0A4BB32C733C}"/>
                </a:ext>
              </a:extLst>
            </p:cNvPr>
            <p:cNvSpPr>
              <a:spLocks noChangeAspect="1" noChangeArrowheads="1" noTextEdit="1"/>
            </p:cNvSpPr>
            <p:nvPr/>
          </p:nvSpPr>
          <p:spPr bwMode="auto">
            <a:xfrm>
              <a:off x="321770" y="2454673"/>
              <a:ext cx="540000"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nvGrpSpPr>
            <p:cNvPr id="88" name="Group 87">
              <a:extLst>
                <a:ext uri="{FF2B5EF4-FFF2-40B4-BE49-F238E27FC236}">
                  <a16:creationId xmlns:a16="http://schemas.microsoft.com/office/drawing/2014/main" id="{884EAEEB-5F3D-4059-B9A5-022E09C018DB}"/>
                </a:ext>
              </a:extLst>
            </p:cNvPr>
            <p:cNvGrpSpPr/>
            <p:nvPr/>
          </p:nvGrpSpPr>
          <p:grpSpPr>
            <a:xfrm>
              <a:off x="453520" y="2536048"/>
              <a:ext cx="266875" cy="368125"/>
              <a:chOff x="5674798" y="2854323"/>
              <a:chExt cx="813079" cy="1121555"/>
            </a:xfrm>
          </p:grpSpPr>
          <p:sp>
            <p:nvSpPr>
              <p:cNvPr id="89" name="Freeform 13">
                <a:extLst>
                  <a:ext uri="{FF2B5EF4-FFF2-40B4-BE49-F238E27FC236}">
                    <a16:creationId xmlns:a16="http://schemas.microsoft.com/office/drawing/2014/main" id="{5CB34869-6D45-4FCB-978D-6838E6703F61}"/>
                  </a:ext>
                </a:extLst>
              </p:cNvPr>
              <p:cNvSpPr>
                <a:spLocks noEditPoints="1"/>
              </p:cNvSpPr>
              <p:nvPr/>
            </p:nvSpPr>
            <p:spPr bwMode="auto">
              <a:xfrm>
                <a:off x="5702599" y="2854323"/>
                <a:ext cx="785278" cy="1121555"/>
              </a:xfrm>
              <a:custGeom>
                <a:avLst/>
                <a:gdLst>
                  <a:gd name="T0" fmla="*/ 1100 w 1100"/>
                  <a:gd name="T1" fmla="*/ 1446 h 1571"/>
                  <a:gd name="T2" fmla="*/ 1100 w 1100"/>
                  <a:gd name="T3" fmla="*/ 1549 h 1571"/>
                  <a:gd name="T4" fmla="*/ 1078 w 1100"/>
                  <a:gd name="T5" fmla="*/ 1571 h 1571"/>
                  <a:gd name="T6" fmla="*/ 22 w 1100"/>
                  <a:gd name="T7" fmla="*/ 1571 h 1571"/>
                  <a:gd name="T8" fmla="*/ 0 w 1100"/>
                  <a:gd name="T9" fmla="*/ 1549 h 1571"/>
                  <a:gd name="T10" fmla="*/ 0 w 1100"/>
                  <a:gd name="T11" fmla="*/ 1446 h 1571"/>
                  <a:gd name="T12" fmla="*/ 22 w 1100"/>
                  <a:gd name="T13" fmla="*/ 1424 h 1571"/>
                  <a:gd name="T14" fmla="*/ 83 w 1100"/>
                  <a:gd name="T15" fmla="*/ 1424 h 1571"/>
                  <a:gd name="T16" fmla="*/ 380 w 1100"/>
                  <a:gd name="T17" fmla="*/ 1424 h 1571"/>
                  <a:gd name="T18" fmla="*/ 497 w 1100"/>
                  <a:gd name="T19" fmla="*/ 1424 h 1571"/>
                  <a:gd name="T20" fmla="*/ 501 w 1100"/>
                  <a:gd name="T21" fmla="*/ 1424 h 1571"/>
                  <a:gd name="T22" fmla="*/ 786 w 1100"/>
                  <a:gd name="T23" fmla="*/ 1058 h 1571"/>
                  <a:gd name="T24" fmla="*/ 710 w 1100"/>
                  <a:gd name="T25" fmla="*/ 832 h 1571"/>
                  <a:gd name="T26" fmla="*/ 794 w 1100"/>
                  <a:gd name="T27" fmla="*/ 717 h 1571"/>
                  <a:gd name="T28" fmla="*/ 924 w 1100"/>
                  <a:gd name="T29" fmla="*/ 1058 h 1571"/>
                  <a:gd name="T30" fmla="*/ 771 w 1100"/>
                  <a:gd name="T31" fmla="*/ 1424 h 1571"/>
                  <a:gd name="T32" fmla="*/ 794 w 1100"/>
                  <a:gd name="T33" fmla="*/ 1424 h 1571"/>
                  <a:gd name="T34" fmla="*/ 1078 w 1100"/>
                  <a:gd name="T35" fmla="*/ 1424 h 1571"/>
                  <a:gd name="T36" fmla="*/ 1100 w 1100"/>
                  <a:gd name="T37" fmla="*/ 1446 h 1571"/>
                  <a:gd name="T38" fmla="*/ 150 w 1100"/>
                  <a:gd name="T39" fmla="*/ 916 h 1571"/>
                  <a:gd name="T40" fmla="*/ 176 w 1100"/>
                  <a:gd name="T41" fmla="*/ 927 h 1571"/>
                  <a:gd name="T42" fmla="*/ 174 w 1100"/>
                  <a:gd name="T43" fmla="*/ 931 h 1571"/>
                  <a:gd name="T44" fmla="*/ 186 w 1100"/>
                  <a:gd name="T45" fmla="*/ 960 h 1571"/>
                  <a:gd name="T46" fmla="*/ 250 w 1100"/>
                  <a:gd name="T47" fmla="*/ 987 h 1571"/>
                  <a:gd name="T48" fmla="*/ 279 w 1100"/>
                  <a:gd name="T49" fmla="*/ 975 h 1571"/>
                  <a:gd name="T50" fmla="*/ 280 w 1100"/>
                  <a:gd name="T51" fmla="*/ 972 h 1571"/>
                  <a:gd name="T52" fmla="*/ 310 w 1100"/>
                  <a:gd name="T53" fmla="*/ 984 h 1571"/>
                  <a:gd name="T54" fmla="*/ 339 w 1100"/>
                  <a:gd name="T55" fmla="*/ 973 h 1571"/>
                  <a:gd name="T56" fmla="*/ 417 w 1100"/>
                  <a:gd name="T57" fmla="*/ 789 h 1571"/>
                  <a:gd name="T58" fmla="*/ 369 w 1100"/>
                  <a:gd name="T59" fmla="*/ 654 h 1571"/>
                  <a:gd name="T60" fmla="*/ 566 w 1100"/>
                  <a:gd name="T61" fmla="*/ 437 h 1571"/>
                  <a:gd name="T62" fmla="*/ 702 w 1100"/>
                  <a:gd name="T63" fmla="*/ 118 h 1571"/>
                  <a:gd name="T64" fmla="*/ 648 w 1100"/>
                  <a:gd name="T65" fmla="*/ 94 h 1571"/>
                  <a:gd name="T66" fmla="*/ 670 w 1100"/>
                  <a:gd name="T67" fmla="*/ 41 h 1571"/>
                  <a:gd name="T68" fmla="*/ 574 w 1100"/>
                  <a:gd name="T69" fmla="*/ 0 h 1571"/>
                  <a:gd name="T70" fmla="*/ 552 w 1100"/>
                  <a:gd name="T71" fmla="*/ 54 h 1571"/>
                  <a:gd name="T72" fmla="*/ 501 w 1100"/>
                  <a:gd name="T73" fmla="*/ 32 h 1571"/>
                  <a:gd name="T74" fmla="*/ 138 w 1100"/>
                  <a:gd name="T75" fmla="*/ 887 h 1571"/>
                  <a:gd name="T76" fmla="*/ 150 w 1100"/>
                  <a:gd name="T77" fmla="*/ 916 h 1571"/>
                  <a:gd name="T78" fmla="*/ 586 w 1100"/>
                  <a:gd name="T79" fmla="*/ 568 h 1571"/>
                  <a:gd name="T80" fmla="*/ 672 w 1100"/>
                  <a:gd name="T81" fmla="*/ 654 h 1571"/>
                  <a:gd name="T82" fmla="*/ 586 w 1100"/>
                  <a:gd name="T83" fmla="*/ 739 h 1571"/>
                  <a:gd name="T84" fmla="*/ 501 w 1100"/>
                  <a:gd name="T85" fmla="*/ 654 h 1571"/>
                  <a:gd name="T86" fmla="*/ 586 w 1100"/>
                  <a:gd name="T87" fmla="*/ 568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0" h="1571">
                    <a:moveTo>
                      <a:pt x="1100" y="1446"/>
                    </a:moveTo>
                    <a:cubicBezTo>
                      <a:pt x="1100" y="1549"/>
                      <a:pt x="1100" y="1549"/>
                      <a:pt x="1100" y="1549"/>
                    </a:cubicBezTo>
                    <a:cubicBezTo>
                      <a:pt x="1100" y="1561"/>
                      <a:pt x="1090" y="1571"/>
                      <a:pt x="1078" y="1571"/>
                    </a:cubicBezTo>
                    <a:cubicBezTo>
                      <a:pt x="22" y="1571"/>
                      <a:pt x="22" y="1571"/>
                      <a:pt x="22" y="1571"/>
                    </a:cubicBezTo>
                    <a:cubicBezTo>
                      <a:pt x="10" y="1571"/>
                      <a:pt x="0" y="1561"/>
                      <a:pt x="0" y="1549"/>
                    </a:cubicBezTo>
                    <a:cubicBezTo>
                      <a:pt x="0" y="1446"/>
                      <a:pt x="0" y="1446"/>
                      <a:pt x="0" y="1446"/>
                    </a:cubicBezTo>
                    <a:cubicBezTo>
                      <a:pt x="0" y="1434"/>
                      <a:pt x="10" y="1424"/>
                      <a:pt x="22" y="1424"/>
                    </a:cubicBezTo>
                    <a:cubicBezTo>
                      <a:pt x="83" y="1424"/>
                      <a:pt x="83" y="1424"/>
                      <a:pt x="83" y="1424"/>
                    </a:cubicBezTo>
                    <a:cubicBezTo>
                      <a:pt x="380" y="1424"/>
                      <a:pt x="380" y="1424"/>
                      <a:pt x="380" y="1424"/>
                    </a:cubicBezTo>
                    <a:cubicBezTo>
                      <a:pt x="497" y="1424"/>
                      <a:pt x="497" y="1424"/>
                      <a:pt x="497" y="1424"/>
                    </a:cubicBezTo>
                    <a:cubicBezTo>
                      <a:pt x="501" y="1424"/>
                      <a:pt x="501" y="1424"/>
                      <a:pt x="501" y="1424"/>
                    </a:cubicBezTo>
                    <a:cubicBezTo>
                      <a:pt x="665" y="1383"/>
                      <a:pt x="786" y="1235"/>
                      <a:pt x="786" y="1058"/>
                    </a:cubicBezTo>
                    <a:cubicBezTo>
                      <a:pt x="786" y="973"/>
                      <a:pt x="758" y="895"/>
                      <a:pt x="710" y="832"/>
                    </a:cubicBezTo>
                    <a:cubicBezTo>
                      <a:pt x="750" y="805"/>
                      <a:pt x="780" y="764"/>
                      <a:pt x="794" y="717"/>
                    </a:cubicBezTo>
                    <a:cubicBezTo>
                      <a:pt x="875" y="808"/>
                      <a:pt x="924" y="927"/>
                      <a:pt x="924" y="1058"/>
                    </a:cubicBezTo>
                    <a:cubicBezTo>
                      <a:pt x="924" y="1201"/>
                      <a:pt x="866" y="1331"/>
                      <a:pt x="771" y="1424"/>
                    </a:cubicBezTo>
                    <a:cubicBezTo>
                      <a:pt x="794" y="1424"/>
                      <a:pt x="794" y="1424"/>
                      <a:pt x="794" y="1424"/>
                    </a:cubicBezTo>
                    <a:cubicBezTo>
                      <a:pt x="1078" y="1424"/>
                      <a:pt x="1078" y="1424"/>
                      <a:pt x="1078" y="1424"/>
                    </a:cubicBezTo>
                    <a:cubicBezTo>
                      <a:pt x="1090" y="1424"/>
                      <a:pt x="1100" y="1434"/>
                      <a:pt x="1100" y="1446"/>
                    </a:cubicBezTo>
                    <a:close/>
                    <a:moveTo>
                      <a:pt x="150" y="916"/>
                    </a:moveTo>
                    <a:cubicBezTo>
                      <a:pt x="176" y="927"/>
                      <a:pt x="176" y="927"/>
                      <a:pt x="176" y="927"/>
                    </a:cubicBezTo>
                    <a:cubicBezTo>
                      <a:pt x="174" y="931"/>
                      <a:pt x="174" y="931"/>
                      <a:pt x="174" y="931"/>
                    </a:cubicBezTo>
                    <a:cubicBezTo>
                      <a:pt x="170" y="942"/>
                      <a:pt x="175" y="955"/>
                      <a:pt x="186" y="960"/>
                    </a:cubicBezTo>
                    <a:cubicBezTo>
                      <a:pt x="250" y="987"/>
                      <a:pt x="250" y="987"/>
                      <a:pt x="250" y="987"/>
                    </a:cubicBezTo>
                    <a:cubicBezTo>
                      <a:pt x="261" y="992"/>
                      <a:pt x="274" y="986"/>
                      <a:pt x="279" y="975"/>
                    </a:cubicBezTo>
                    <a:cubicBezTo>
                      <a:pt x="280" y="972"/>
                      <a:pt x="280" y="972"/>
                      <a:pt x="280" y="972"/>
                    </a:cubicBezTo>
                    <a:cubicBezTo>
                      <a:pt x="310" y="984"/>
                      <a:pt x="310" y="984"/>
                      <a:pt x="310" y="984"/>
                    </a:cubicBezTo>
                    <a:cubicBezTo>
                      <a:pt x="321" y="989"/>
                      <a:pt x="334" y="984"/>
                      <a:pt x="339" y="973"/>
                    </a:cubicBezTo>
                    <a:cubicBezTo>
                      <a:pt x="417" y="789"/>
                      <a:pt x="417" y="789"/>
                      <a:pt x="417" y="789"/>
                    </a:cubicBezTo>
                    <a:cubicBezTo>
                      <a:pt x="387" y="752"/>
                      <a:pt x="369" y="705"/>
                      <a:pt x="369" y="654"/>
                    </a:cubicBezTo>
                    <a:cubicBezTo>
                      <a:pt x="369" y="540"/>
                      <a:pt x="456" y="447"/>
                      <a:pt x="566" y="437"/>
                    </a:cubicBezTo>
                    <a:cubicBezTo>
                      <a:pt x="702" y="118"/>
                      <a:pt x="702" y="118"/>
                      <a:pt x="702" y="118"/>
                    </a:cubicBezTo>
                    <a:cubicBezTo>
                      <a:pt x="648" y="94"/>
                      <a:pt x="648" y="94"/>
                      <a:pt x="648" y="94"/>
                    </a:cubicBezTo>
                    <a:cubicBezTo>
                      <a:pt x="670" y="41"/>
                      <a:pt x="670" y="41"/>
                      <a:pt x="670" y="41"/>
                    </a:cubicBezTo>
                    <a:cubicBezTo>
                      <a:pt x="574" y="0"/>
                      <a:pt x="574" y="0"/>
                      <a:pt x="574" y="0"/>
                    </a:cubicBezTo>
                    <a:cubicBezTo>
                      <a:pt x="552" y="54"/>
                      <a:pt x="552" y="54"/>
                      <a:pt x="552" y="54"/>
                    </a:cubicBezTo>
                    <a:cubicBezTo>
                      <a:pt x="501" y="32"/>
                      <a:pt x="501" y="32"/>
                      <a:pt x="501" y="32"/>
                    </a:cubicBezTo>
                    <a:cubicBezTo>
                      <a:pt x="138" y="887"/>
                      <a:pt x="138" y="887"/>
                      <a:pt x="138" y="887"/>
                    </a:cubicBezTo>
                    <a:cubicBezTo>
                      <a:pt x="133" y="899"/>
                      <a:pt x="138" y="912"/>
                      <a:pt x="150" y="916"/>
                    </a:cubicBezTo>
                    <a:close/>
                    <a:moveTo>
                      <a:pt x="586" y="568"/>
                    </a:moveTo>
                    <a:cubicBezTo>
                      <a:pt x="634" y="568"/>
                      <a:pt x="672" y="606"/>
                      <a:pt x="672" y="654"/>
                    </a:cubicBezTo>
                    <a:cubicBezTo>
                      <a:pt x="672" y="701"/>
                      <a:pt x="634" y="739"/>
                      <a:pt x="586" y="739"/>
                    </a:cubicBezTo>
                    <a:cubicBezTo>
                      <a:pt x="539" y="739"/>
                      <a:pt x="501" y="701"/>
                      <a:pt x="501" y="654"/>
                    </a:cubicBezTo>
                    <a:cubicBezTo>
                      <a:pt x="501" y="606"/>
                      <a:pt x="539" y="568"/>
                      <a:pt x="586" y="56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sp>
            <p:nvSpPr>
              <p:cNvPr id="90" name="Freeform 14">
                <a:extLst>
                  <a:ext uri="{FF2B5EF4-FFF2-40B4-BE49-F238E27FC236}">
                    <a16:creationId xmlns:a16="http://schemas.microsoft.com/office/drawing/2014/main" id="{85E92512-3162-4C4A-B95A-A1B2A4C54EC2}"/>
                  </a:ext>
                </a:extLst>
              </p:cNvPr>
              <p:cNvSpPr>
                <a:spLocks noEditPoints="1"/>
              </p:cNvSpPr>
              <p:nvPr/>
            </p:nvSpPr>
            <p:spPr bwMode="auto">
              <a:xfrm>
                <a:off x="5674798" y="3197072"/>
                <a:ext cx="570489" cy="526693"/>
              </a:xfrm>
              <a:custGeom>
                <a:avLst/>
                <a:gdLst>
                  <a:gd name="T0" fmla="*/ 625 w 799"/>
                  <a:gd name="T1" fmla="*/ 0 h 738"/>
                  <a:gd name="T2" fmla="*/ 452 w 799"/>
                  <a:gd name="T3" fmla="*/ 174 h 738"/>
                  <a:gd name="T4" fmla="*/ 625 w 799"/>
                  <a:gd name="T5" fmla="*/ 347 h 738"/>
                  <a:gd name="T6" fmla="*/ 799 w 799"/>
                  <a:gd name="T7" fmla="*/ 174 h 738"/>
                  <a:gd name="T8" fmla="*/ 625 w 799"/>
                  <a:gd name="T9" fmla="*/ 0 h 738"/>
                  <a:gd name="T10" fmla="*/ 625 w 799"/>
                  <a:gd name="T11" fmla="*/ 303 h 738"/>
                  <a:gd name="T12" fmla="*/ 496 w 799"/>
                  <a:gd name="T13" fmla="*/ 174 h 738"/>
                  <a:gd name="T14" fmla="*/ 625 w 799"/>
                  <a:gd name="T15" fmla="*/ 44 h 738"/>
                  <a:gd name="T16" fmla="*/ 755 w 799"/>
                  <a:gd name="T17" fmla="*/ 174 h 738"/>
                  <a:gd name="T18" fmla="*/ 625 w 799"/>
                  <a:gd name="T19" fmla="*/ 303 h 738"/>
                  <a:gd name="T20" fmla="*/ 408 w 799"/>
                  <a:gd name="T21" fmla="*/ 605 h 738"/>
                  <a:gd name="T22" fmla="*/ 71 w 799"/>
                  <a:gd name="T23" fmla="*/ 462 h 738"/>
                  <a:gd name="T24" fmla="*/ 42 w 799"/>
                  <a:gd name="T25" fmla="*/ 473 h 738"/>
                  <a:gd name="T26" fmla="*/ 5 w 799"/>
                  <a:gd name="T27" fmla="*/ 561 h 738"/>
                  <a:gd name="T28" fmla="*/ 16 w 799"/>
                  <a:gd name="T29" fmla="*/ 590 h 738"/>
                  <a:gd name="T30" fmla="*/ 353 w 799"/>
                  <a:gd name="T31" fmla="*/ 733 h 738"/>
                  <a:gd name="T32" fmla="*/ 382 w 799"/>
                  <a:gd name="T33" fmla="*/ 721 h 738"/>
                  <a:gd name="T34" fmla="*/ 419 w 799"/>
                  <a:gd name="T35" fmla="*/ 634 h 738"/>
                  <a:gd name="T36" fmla="*/ 408 w 799"/>
                  <a:gd name="T37" fmla="*/ 605 h 738"/>
                  <a:gd name="T38" fmla="*/ 366 w 799"/>
                  <a:gd name="T39" fmla="*/ 642 h 738"/>
                  <a:gd name="T40" fmla="*/ 354 w 799"/>
                  <a:gd name="T41" fmla="*/ 671 h 738"/>
                  <a:gd name="T42" fmla="*/ 341 w 799"/>
                  <a:gd name="T43" fmla="*/ 676 h 738"/>
                  <a:gd name="T44" fmla="*/ 63 w 799"/>
                  <a:gd name="T45" fmla="*/ 558 h 738"/>
                  <a:gd name="T46" fmla="*/ 58 w 799"/>
                  <a:gd name="T47" fmla="*/ 545 h 738"/>
                  <a:gd name="T48" fmla="*/ 70 w 799"/>
                  <a:gd name="T49" fmla="*/ 516 h 738"/>
                  <a:gd name="T50" fmla="*/ 83 w 799"/>
                  <a:gd name="T51" fmla="*/ 511 h 738"/>
                  <a:gd name="T52" fmla="*/ 361 w 799"/>
                  <a:gd name="T53" fmla="*/ 629 h 738"/>
                  <a:gd name="T54" fmla="*/ 366 w 799"/>
                  <a:gd name="T55" fmla="*/ 64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9" h="738">
                    <a:moveTo>
                      <a:pt x="625" y="0"/>
                    </a:moveTo>
                    <a:cubicBezTo>
                      <a:pt x="530" y="0"/>
                      <a:pt x="452" y="78"/>
                      <a:pt x="452" y="174"/>
                    </a:cubicBezTo>
                    <a:cubicBezTo>
                      <a:pt x="452" y="269"/>
                      <a:pt x="530" y="347"/>
                      <a:pt x="625" y="347"/>
                    </a:cubicBezTo>
                    <a:cubicBezTo>
                      <a:pt x="721" y="347"/>
                      <a:pt x="799" y="269"/>
                      <a:pt x="799" y="174"/>
                    </a:cubicBezTo>
                    <a:cubicBezTo>
                      <a:pt x="799" y="78"/>
                      <a:pt x="721" y="0"/>
                      <a:pt x="625" y="0"/>
                    </a:cubicBezTo>
                    <a:close/>
                    <a:moveTo>
                      <a:pt x="625" y="303"/>
                    </a:moveTo>
                    <a:cubicBezTo>
                      <a:pt x="554" y="303"/>
                      <a:pt x="496" y="245"/>
                      <a:pt x="496" y="174"/>
                    </a:cubicBezTo>
                    <a:cubicBezTo>
                      <a:pt x="496" y="102"/>
                      <a:pt x="554" y="44"/>
                      <a:pt x="625" y="44"/>
                    </a:cubicBezTo>
                    <a:cubicBezTo>
                      <a:pt x="697" y="44"/>
                      <a:pt x="755" y="102"/>
                      <a:pt x="755" y="174"/>
                    </a:cubicBezTo>
                    <a:cubicBezTo>
                      <a:pt x="755" y="245"/>
                      <a:pt x="697" y="303"/>
                      <a:pt x="625" y="303"/>
                    </a:cubicBezTo>
                    <a:close/>
                    <a:moveTo>
                      <a:pt x="408" y="605"/>
                    </a:moveTo>
                    <a:cubicBezTo>
                      <a:pt x="71" y="462"/>
                      <a:pt x="71" y="462"/>
                      <a:pt x="71" y="462"/>
                    </a:cubicBezTo>
                    <a:cubicBezTo>
                      <a:pt x="59" y="457"/>
                      <a:pt x="46" y="462"/>
                      <a:pt x="42" y="473"/>
                    </a:cubicBezTo>
                    <a:cubicBezTo>
                      <a:pt x="5" y="561"/>
                      <a:pt x="5" y="561"/>
                      <a:pt x="5" y="561"/>
                    </a:cubicBezTo>
                    <a:cubicBezTo>
                      <a:pt x="0" y="572"/>
                      <a:pt x="5" y="585"/>
                      <a:pt x="16" y="590"/>
                    </a:cubicBezTo>
                    <a:cubicBezTo>
                      <a:pt x="353" y="733"/>
                      <a:pt x="353" y="733"/>
                      <a:pt x="353" y="733"/>
                    </a:cubicBezTo>
                    <a:cubicBezTo>
                      <a:pt x="364" y="738"/>
                      <a:pt x="377" y="732"/>
                      <a:pt x="382" y="721"/>
                    </a:cubicBezTo>
                    <a:cubicBezTo>
                      <a:pt x="419" y="634"/>
                      <a:pt x="419" y="634"/>
                      <a:pt x="419" y="634"/>
                    </a:cubicBezTo>
                    <a:cubicBezTo>
                      <a:pt x="424" y="622"/>
                      <a:pt x="419" y="609"/>
                      <a:pt x="408" y="605"/>
                    </a:cubicBezTo>
                    <a:close/>
                    <a:moveTo>
                      <a:pt x="366" y="642"/>
                    </a:moveTo>
                    <a:cubicBezTo>
                      <a:pt x="354" y="671"/>
                      <a:pt x="354" y="671"/>
                      <a:pt x="354" y="671"/>
                    </a:cubicBezTo>
                    <a:cubicBezTo>
                      <a:pt x="352" y="676"/>
                      <a:pt x="346" y="678"/>
                      <a:pt x="341" y="676"/>
                    </a:cubicBezTo>
                    <a:cubicBezTo>
                      <a:pt x="63" y="558"/>
                      <a:pt x="63" y="558"/>
                      <a:pt x="63" y="558"/>
                    </a:cubicBezTo>
                    <a:cubicBezTo>
                      <a:pt x="58" y="555"/>
                      <a:pt x="55" y="550"/>
                      <a:pt x="58" y="545"/>
                    </a:cubicBezTo>
                    <a:cubicBezTo>
                      <a:pt x="70" y="516"/>
                      <a:pt x="70" y="516"/>
                      <a:pt x="70" y="516"/>
                    </a:cubicBezTo>
                    <a:cubicBezTo>
                      <a:pt x="72" y="511"/>
                      <a:pt x="78" y="508"/>
                      <a:pt x="83" y="511"/>
                    </a:cubicBezTo>
                    <a:cubicBezTo>
                      <a:pt x="361" y="629"/>
                      <a:pt x="361" y="629"/>
                      <a:pt x="361" y="629"/>
                    </a:cubicBezTo>
                    <a:cubicBezTo>
                      <a:pt x="366" y="631"/>
                      <a:pt x="368" y="637"/>
                      <a:pt x="366" y="642"/>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grpSp>
      <p:grpSp>
        <p:nvGrpSpPr>
          <p:cNvPr id="91" name="Group 90">
            <a:extLst>
              <a:ext uri="{FF2B5EF4-FFF2-40B4-BE49-F238E27FC236}">
                <a16:creationId xmlns:a16="http://schemas.microsoft.com/office/drawing/2014/main" id="{181B7AAE-A021-4B52-850F-C11D7790B749}"/>
              </a:ext>
            </a:extLst>
          </p:cNvPr>
          <p:cNvGrpSpPr>
            <a:grpSpLocks noChangeAspect="1"/>
          </p:cNvGrpSpPr>
          <p:nvPr/>
        </p:nvGrpSpPr>
        <p:grpSpPr>
          <a:xfrm>
            <a:off x="4150893" y="3136138"/>
            <a:ext cx="540000" cy="540001"/>
            <a:chOff x="1983582" y="2081213"/>
            <a:chExt cx="1647825" cy="1647825"/>
          </a:xfrm>
        </p:grpSpPr>
        <p:sp>
          <p:nvSpPr>
            <p:cNvPr id="100" name="AutoShape 5">
              <a:extLst>
                <a:ext uri="{FF2B5EF4-FFF2-40B4-BE49-F238E27FC236}">
                  <a16:creationId xmlns:a16="http://schemas.microsoft.com/office/drawing/2014/main" id="{1338F534-E3F1-444C-AD60-AEDF3B12B988}"/>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de-DE" sz="675" dirty="0">
                <a:solidFill>
                  <a:srgbClr val="37373A"/>
                </a:solidFill>
                <a:latin typeface="+mj-lt"/>
              </a:endParaRPr>
            </a:p>
          </p:txBody>
        </p:sp>
        <p:grpSp>
          <p:nvGrpSpPr>
            <p:cNvPr id="101" name="Group 100">
              <a:extLst>
                <a:ext uri="{FF2B5EF4-FFF2-40B4-BE49-F238E27FC236}">
                  <a16:creationId xmlns:a16="http://schemas.microsoft.com/office/drawing/2014/main" id="{C78903AC-85E6-448A-976C-D58D80BE0D1A}"/>
                </a:ext>
              </a:extLst>
            </p:cNvPr>
            <p:cNvGrpSpPr/>
            <p:nvPr/>
          </p:nvGrpSpPr>
          <p:grpSpPr>
            <a:xfrm>
              <a:off x="2145507" y="2316163"/>
              <a:ext cx="1323975" cy="1176338"/>
              <a:chOff x="2145507" y="2316163"/>
              <a:chExt cx="1323975" cy="1176338"/>
            </a:xfrm>
          </p:grpSpPr>
          <p:sp>
            <p:nvSpPr>
              <p:cNvPr id="102" name="Freeform 7">
                <a:extLst>
                  <a:ext uri="{FF2B5EF4-FFF2-40B4-BE49-F238E27FC236}">
                    <a16:creationId xmlns:a16="http://schemas.microsoft.com/office/drawing/2014/main" id="{223EF96B-EC7F-49C9-B2E8-1AD52DA40CD6}"/>
                  </a:ext>
                </a:extLst>
              </p:cNvPr>
              <p:cNvSpPr>
                <a:spLocks noEditPoints="1"/>
              </p:cNvSpPr>
              <p:nvPr/>
            </p:nvSpPr>
            <p:spPr bwMode="auto">
              <a:xfrm>
                <a:off x="2145507" y="2316163"/>
                <a:ext cx="1323975" cy="1176338"/>
              </a:xfrm>
              <a:custGeom>
                <a:avLst/>
                <a:gdLst>
                  <a:gd name="T0" fmla="*/ 1626 w 1850"/>
                  <a:gd name="T1" fmla="*/ 771 h 1644"/>
                  <a:gd name="T2" fmla="*/ 1507 w 1850"/>
                  <a:gd name="T3" fmla="*/ 764 h 1644"/>
                  <a:gd name="T4" fmla="*/ 1431 w 1850"/>
                  <a:gd name="T5" fmla="*/ 571 h 1644"/>
                  <a:gd name="T6" fmla="*/ 1496 w 1850"/>
                  <a:gd name="T7" fmla="*/ 528 h 1644"/>
                  <a:gd name="T8" fmla="*/ 1592 w 1850"/>
                  <a:gd name="T9" fmla="*/ 418 h 1644"/>
                  <a:gd name="T10" fmla="*/ 1462 w 1850"/>
                  <a:gd name="T11" fmla="*/ 470 h 1644"/>
                  <a:gd name="T12" fmla="*/ 1393 w 1850"/>
                  <a:gd name="T13" fmla="*/ 506 h 1644"/>
                  <a:gd name="T14" fmla="*/ 1268 w 1850"/>
                  <a:gd name="T15" fmla="*/ 348 h 1644"/>
                  <a:gd name="T16" fmla="*/ 1322 w 1850"/>
                  <a:gd name="T17" fmla="*/ 242 h 1644"/>
                  <a:gd name="T18" fmla="*/ 1401 w 1850"/>
                  <a:gd name="T19" fmla="*/ 44 h 1644"/>
                  <a:gd name="T20" fmla="*/ 1233 w 1850"/>
                  <a:gd name="T21" fmla="*/ 190 h 1644"/>
                  <a:gd name="T22" fmla="*/ 1168 w 1850"/>
                  <a:gd name="T23" fmla="*/ 289 h 1644"/>
                  <a:gd name="T24" fmla="*/ 962 w 1850"/>
                  <a:gd name="T25" fmla="*/ 254 h 1644"/>
                  <a:gd name="T26" fmla="*/ 958 w 1850"/>
                  <a:gd name="T27" fmla="*/ 178 h 1644"/>
                  <a:gd name="T28" fmla="*/ 938 w 1850"/>
                  <a:gd name="T29" fmla="*/ 42 h 1644"/>
                  <a:gd name="T30" fmla="*/ 892 w 1850"/>
                  <a:gd name="T31" fmla="*/ 178 h 1644"/>
                  <a:gd name="T32" fmla="*/ 888 w 1850"/>
                  <a:gd name="T33" fmla="*/ 254 h 1644"/>
                  <a:gd name="T34" fmla="*/ 682 w 1850"/>
                  <a:gd name="T35" fmla="*/ 289 h 1644"/>
                  <a:gd name="T36" fmla="*/ 617 w 1850"/>
                  <a:gd name="T37" fmla="*/ 190 h 1644"/>
                  <a:gd name="T38" fmla="*/ 449 w 1850"/>
                  <a:gd name="T39" fmla="*/ 44 h 1644"/>
                  <a:gd name="T40" fmla="*/ 528 w 1850"/>
                  <a:gd name="T41" fmla="*/ 242 h 1644"/>
                  <a:gd name="T42" fmla="*/ 582 w 1850"/>
                  <a:gd name="T43" fmla="*/ 348 h 1644"/>
                  <a:gd name="T44" fmla="*/ 456 w 1850"/>
                  <a:gd name="T45" fmla="*/ 505 h 1644"/>
                  <a:gd name="T46" fmla="*/ 387 w 1850"/>
                  <a:gd name="T47" fmla="*/ 470 h 1644"/>
                  <a:gd name="T48" fmla="*/ 258 w 1850"/>
                  <a:gd name="T49" fmla="*/ 418 h 1644"/>
                  <a:gd name="T50" fmla="*/ 353 w 1850"/>
                  <a:gd name="T51" fmla="*/ 528 h 1644"/>
                  <a:gd name="T52" fmla="*/ 418 w 1850"/>
                  <a:gd name="T53" fmla="*/ 570 h 1644"/>
                  <a:gd name="T54" fmla="*/ 343 w 1850"/>
                  <a:gd name="T55" fmla="*/ 764 h 1644"/>
                  <a:gd name="T56" fmla="*/ 224 w 1850"/>
                  <a:gd name="T57" fmla="*/ 771 h 1644"/>
                  <a:gd name="T58" fmla="*/ 13 w 1850"/>
                  <a:gd name="T59" fmla="*/ 802 h 1644"/>
                  <a:gd name="T60" fmla="*/ 224 w 1850"/>
                  <a:gd name="T61" fmla="*/ 873 h 1644"/>
                  <a:gd name="T62" fmla="*/ 343 w 1850"/>
                  <a:gd name="T63" fmla="*/ 880 h 1644"/>
                  <a:gd name="T64" fmla="*/ 415 w 1850"/>
                  <a:gd name="T65" fmla="*/ 1076 h 1644"/>
                  <a:gd name="T66" fmla="*/ 352 w 1850"/>
                  <a:gd name="T67" fmla="*/ 1118 h 1644"/>
                  <a:gd name="T68" fmla="*/ 258 w 1850"/>
                  <a:gd name="T69" fmla="*/ 1226 h 1644"/>
                  <a:gd name="T70" fmla="*/ 385 w 1850"/>
                  <a:gd name="T71" fmla="*/ 1175 h 1644"/>
                  <a:gd name="T72" fmla="*/ 453 w 1850"/>
                  <a:gd name="T73" fmla="*/ 1140 h 1644"/>
                  <a:gd name="T74" fmla="*/ 582 w 1850"/>
                  <a:gd name="T75" fmla="*/ 1296 h 1644"/>
                  <a:gd name="T76" fmla="*/ 528 w 1850"/>
                  <a:gd name="T77" fmla="*/ 1402 h 1644"/>
                  <a:gd name="T78" fmla="*/ 449 w 1850"/>
                  <a:gd name="T79" fmla="*/ 1600 h 1644"/>
                  <a:gd name="T80" fmla="*/ 617 w 1850"/>
                  <a:gd name="T81" fmla="*/ 1454 h 1644"/>
                  <a:gd name="T82" fmla="*/ 682 w 1850"/>
                  <a:gd name="T83" fmla="*/ 1355 h 1644"/>
                  <a:gd name="T84" fmla="*/ 888 w 1850"/>
                  <a:gd name="T85" fmla="*/ 1390 h 1644"/>
                  <a:gd name="T86" fmla="*/ 892 w 1850"/>
                  <a:gd name="T87" fmla="*/ 1466 h 1644"/>
                  <a:gd name="T88" fmla="*/ 912 w 1850"/>
                  <a:gd name="T89" fmla="*/ 1602 h 1644"/>
                  <a:gd name="T90" fmla="*/ 958 w 1850"/>
                  <a:gd name="T91" fmla="*/ 1466 h 1644"/>
                  <a:gd name="T92" fmla="*/ 962 w 1850"/>
                  <a:gd name="T93" fmla="*/ 1390 h 1644"/>
                  <a:gd name="T94" fmla="*/ 1168 w 1850"/>
                  <a:gd name="T95" fmla="*/ 1355 h 1644"/>
                  <a:gd name="T96" fmla="*/ 1233 w 1850"/>
                  <a:gd name="T97" fmla="*/ 1454 h 1644"/>
                  <a:gd name="T98" fmla="*/ 1401 w 1850"/>
                  <a:gd name="T99" fmla="*/ 1600 h 1644"/>
                  <a:gd name="T100" fmla="*/ 1322 w 1850"/>
                  <a:gd name="T101" fmla="*/ 1402 h 1644"/>
                  <a:gd name="T102" fmla="*/ 1268 w 1850"/>
                  <a:gd name="T103" fmla="*/ 1296 h 1644"/>
                  <a:gd name="T104" fmla="*/ 1393 w 1850"/>
                  <a:gd name="T105" fmla="*/ 1139 h 1644"/>
                  <a:gd name="T106" fmla="*/ 1463 w 1850"/>
                  <a:gd name="T107" fmla="*/ 1174 h 1644"/>
                  <a:gd name="T108" fmla="*/ 1592 w 1850"/>
                  <a:gd name="T109" fmla="*/ 1226 h 1644"/>
                  <a:gd name="T110" fmla="*/ 1496 w 1850"/>
                  <a:gd name="T111" fmla="*/ 1116 h 1644"/>
                  <a:gd name="T112" fmla="*/ 1432 w 1850"/>
                  <a:gd name="T113" fmla="*/ 1073 h 1644"/>
                  <a:gd name="T114" fmla="*/ 1507 w 1850"/>
                  <a:gd name="T115" fmla="*/ 880 h 1644"/>
                  <a:gd name="T116" fmla="*/ 1626 w 1850"/>
                  <a:gd name="T117" fmla="*/ 873 h 1644"/>
                  <a:gd name="T118" fmla="*/ 1837 w 1850"/>
                  <a:gd name="T119" fmla="*/ 842 h 1644"/>
                  <a:gd name="T120" fmla="*/ 445 w 1850"/>
                  <a:gd name="T121" fmla="*/ 822 h 1644"/>
                  <a:gd name="T122" fmla="*/ 925 w 1850"/>
                  <a:gd name="T123" fmla="*/ 1302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50" h="1644">
                    <a:moveTo>
                      <a:pt x="1737" y="720"/>
                    </a:moveTo>
                    <a:cubicBezTo>
                      <a:pt x="1710" y="720"/>
                      <a:pt x="1686" y="731"/>
                      <a:pt x="1668" y="748"/>
                    </a:cubicBezTo>
                    <a:cubicBezTo>
                      <a:pt x="1656" y="759"/>
                      <a:pt x="1642" y="767"/>
                      <a:pt x="1626" y="771"/>
                    </a:cubicBezTo>
                    <a:cubicBezTo>
                      <a:pt x="1603" y="777"/>
                      <a:pt x="1603" y="777"/>
                      <a:pt x="1603" y="777"/>
                    </a:cubicBezTo>
                    <a:cubicBezTo>
                      <a:pt x="1579" y="783"/>
                      <a:pt x="1553" y="781"/>
                      <a:pt x="1530" y="773"/>
                    </a:cubicBezTo>
                    <a:cubicBezTo>
                      <a:pt x="1507" y="764"/>
                      <a:pt x="1507" y="764"/>
                      <a:pt x="1507" y="764"/>
                    </a:cubicBezTo>
                    <a:cubicBezTo>
                      <a:pt x="1507" y="764"/>
                      <a:pt x="1469" y="737"/>
                      <a:pt x="1449" y="704"/>
                    </a:cubicBezTo>
                    <a:cubicBezTo>
                      <a:pt x="1442" y="672"/>
                      <a:pt x="1432" y="641"/>
                      <a:pt x="1419" y="611"/>
                    </a:cubicBezTo>
                    <a:cubicBezTo>
                      <a:pt x="1423" y="590"/>
                      <a:pt x="1431" y="571"/>
                      <a:pt x="1431" y="571"/>
                    </a:cubicBezTo>
                    <a:cubicBezTo>
                      <a:pt x="1441" y="559"/>
                      <a:pt x="1441" y="559"/>
                      <a:pt x="1441" y="559"/>
                    </a:cubicBezTo>
                    <a:cubicBezTo>
                      <a:pt x="1451" y="547"/>
                      <a:pt x="1466" y="537"/>
                      <a:pt x="1481" y="533"/>
                    </a:cubicBezTo>
                    <a:cubicBezTo>
                      <a:pt x="1496" y="528"/>
                      <a:pt x="1496" y="528"/>
                      <a:pt x="1496" y="528"/>
                    </a:cubicBezTo>
                    <a:cubicBezTo>
                      <a:pt x="1506" y="526"/>
                      <a:pt x="1517" y="526"/>
                      <a:pt x="1527" y="528"/>
                    </a:cubicBezTo>
                    <a:cubicBezTo>
                      <a:pt x="1543" y="532"/>
                      <a:pt x="1561" y="529"/>
                      <a:pt x="1576" y="521"/>
                    </a:cubicBezTo>
                    <a:cubicBezTo>
                      <a:pt x="1612" y="500"/>
                      <a:pt x="1621" y="451"/>
                      <a:pt x="1592" y="418"/>
                    </a:cubicBezTo>
                    <a:cubicBezTo>
                      <a:pt x="1575" y="398"/>
                      <a:pt x="1546" y="390"/>
                      <a:pt x="1520" y="399"/>
                    </a:cubicBezTo>
                    <a:cubicBezTo>
                      <a:pt x="1499" y="407"/>
                      <a:pt x="1484" y="424"/>
                      <a:pt x="1478" y="444"/>
                    </a:cubicBezTo>
                    <a:cubicBezTo>
                      <a:pt x="1475" y="454"/>
                      <a:pt x="1470" y="463"/>
                      <a:pt x="1462" y="470"/>
                    </a:cubicBezTo>
                    <a:cubicBezTo>
                      <a:pt x="1451" y="481"/>
                      <a:pt x="1451" y="481"/>
                      <a:pt x="1451" y="481"/>
                    </a:cubicBezTo>
                    <a:cubicBezTo>
                      <a:pt x="1440" y="493"/>
                      <a:pt x="1424" y="501"/>
                      <a:pt x="1409" y="503"/>
                    </a:cubicBezTo>
                    <a:cubicBezTo>
                      <a:pt x="1393" y="506"/>
                      <a:pt x="1393" y="506"/>
                      <a:pt x="1393" y="506"/>
                    </a:cubicBezTo>
                    <a:cubicBezTo>
                      <a:pt x="1393" y="506"/>
                      <a:pt x="1372" y="504"/>
                      <a:pt x="1352" y="496"/>
                    </a:cubicBezTo>
                    <a:cubicBezTo>
                      <a:pt x="1334" y="472"/>
                      <a:pt x="1313" y="449"/>
                      <a:pt x="1291" y="429"/>
                    </a:cubicBezTo>
                    <a:cubicBezTo>
                      <a:pt x="1272" y="394"/>
                      <a:pt x="1268" y="348"/>
                      <a:pt x="1268" y="348"/>
                    </a:cubicBezTo>
                    <a:cubicBezTo>
                      <a:pt x="1272" y="324"/>
                      <a:pt x="1272" y="324"/>
                      <a:pt x="1272" y="324"/>
                    </a:cubicBezTo>
                    <a:cubicBezTo>
                      <a:pt x="1276" y="300"/>
                      <a:pt x="1288" y="276"/>
                      <a:pt x="1305" y="259"/>
                    </a:cubicBezTo>
                    <a:cubicBezTo>
                      <a:pt x="1322" y="242"/>
                      <a:pt x="1322" y="242"/>
                      <a:pt x="1322" y="242"/>
                    </a:cubicBezTo>
                    <a:cubicBezTo>
                      <a:pt x="1333" y="230"/>
                      <a:pt x="1347" y="222"/>
                      <a:pt x="1363" y="218"/>
                    </a:cubicBezTo>
                    <a:cubicBezTo>
                      <a:pt x="1392" y="209"/>
                      <a:pt x="1418" y="187"/>
                      <a:pt x="1430" y="154"/>
                    </a:cubicBezTo>
                    <a:cubicBezTo>
                      <a:pt x="1444" y="115"/>
                      <a:pt x="1432" y="71"/>
                      <a:pt x="1401" y="44"/>
                    </a:cubicBezTo>
                    <a:cubicBezTo>
                      <a:pt x="1351" y="0"/>
                      <a:pt x="1277" y="14"/>
                      <a:pt x="1245" y="69"/>
                    </a:cubicBezTo>
                    <a:cubicBezTo>
                      <a:pt x="1232" y="92"/>
                      <a:pt x="1229" y="119"/>
                      <a:pt x="1234" y="143"/>
                    </a:cubicBezTo>
                    <a:cubicBezTo>
                      <a:pt x="1238" y="159"/>
                      <a:pt x="1238" y="175"/>
                      <a:pt x="1233" y="190"/>
                    </a:cubicBezTo>
                    <a:cubicBezTo>
                      <a:pt x="1227" y="213"/>
                      <a:pt x="1227" y="213"/>
                      <a:pt x="1227" y="213"/>
                    </a:cubicBezTo>
                    <a:cubicBezTo>
                      <a:pt x="1220" y="237"/>
                      <a:pt x="1206" y="259"/>
                      <a:pt x="1187" y="274"/>
                    </a:cubicBezTo>
                    <a:cubicBezTo>
                      <a:pt x="1168" y="289"/>
                      <a:pt x="1168" y="289"/>
                      <a:pt x="1168" y="289"/>
                    </a:cubicBezTo>
                    <a:cubicBezTo>
                      <a:pt x="1168" y="289"/>
                      <a:pt x="1126" y="309"/>
                      <a:pt x="1087" y="309"/>
                    </a:cubicBezTo>
                    <a:cubicBezTo>
                      <a:pt x="1058" y="300"/>
                      <a:pt x="1029" y="294"/>
                      <a:pt x="998" y="290"/>
                    </a:cubicBezTo>
                    <a:cubicBezTo>
                      <a:pt x="978" y="276"/>
                      <a:pt x="962" y="254"/>
                      <a:pt x="962" y="254"/>
                    </a:cubicBezTo>
                    <a:cubicBezTo>
                      <a:pt x="957" y="239"/>
                      <a:pt x="957" y="239"/>
                      <a:pt x="957" y="239"/>
                    </a:cubicBezTo>
                    <a:cubicBezTo>
                      <a:pt x="951" y="225"/>
                      <a:pt x="950" y="208"/>
                      <a:pt x="954" y="193"/>
                    </a:cubicBezTo>
                    <a:cubicBezTo>
                      <a:pt x="958" y="178"/>
                      <a:pt x="958" y="178"/>
                      <a:pt x="958" y="178"/>
                    </a:cubicBezTo>
                    <a:cubicBezTo>
                      <a:pt x="960" y="168"/>
                      <a:pt x="966" y="159"/>
                      <a:pt x="973" y="151"/>
                    </a:cubicBezTo>
                    <a:cubicBezTo>
                      <a:pt x="986" y="137"/>
                      <a:pt x="993" y="116"/>
                      <a:pt x="989" y="94"/>
                    </a:cubicBezTo>
                    <a:cubicBezTo>
                      <a:pt x="985" y="68"/>
                      <a:pt x="964" y="47"/>
                      <a:pt x="938" y="42"/>
                    </a:cubicBezTo>
                    <a:cubicBezTo>
                      <a:pt x="896" y="34"/>
                      <a:pt x="860" y="66"/>
                      <a:pt x="860" y="106"/>
                    </a:cubicBezTo>
                    <a:cubicBezTo>
                      <a:pt x="860" y="124"/>
                      <a:pt x="866" y="139"/>
                      <a:pt x="877" y="151"/>
                    </a:cubicBezTo>
                    <a:cubicBezTo>
                      <a:pt x="884" y="159"/>
                      <a:pt x="890" y="168"/>
                      <a:pt x="892" y="178"/>
                    </a:cubicBezTo>
                    <a:cubicBezTo>
                      <a:pt x="896" y="193"/>
                      <a:pt x="896" y="193"/>
                      <a:pt x="896" y="193"/>
                    </a:cubicBezTo>
                    <a:cubicBezTo>
                      <a:pt x="900" y="208"/>
                      <a:pt x="899" y="225"/>
                      <a:pt x="893" y="239"/>
                    </a:cubicBezTo>
                    <a:cubicBezTo>
                      <a:pt x="888" y="254"/>
                      <a:pt x="888" y="254"/>
                      <a:pt x="888" y="254"/>
                    </a:cubicBezTo>
                    <a:cubicBezTo>
                      <a:pt x="888" y="254"/>
                      <a:pt x="872" y="276"/>
                      <a:pt x="852" y="290"/>
                    </a:cubicBezTo>
                    <a:cubicBezTo>
                      <a:pt x="821" y="294"/>
                      <a:pt x="792" y="300"/>
                      <a:pt x="763" y="309"/>
                    </a:cubicBezTo>
                    <a:cubicBezTo>
                      <a:pt x="724" y="309"/>
                      <a:pt x="682" y="289"/>
                      <a:pt x="682" y="289"/>
                    </a:cubicBezTo>
                    <a:cubicBezTo>
                      <a:pt x="663" y="274"/>
                      <a:pt x="663" y="274"/>
                      <a:pt x="663" y="274"/>
                    </a:cubicBezTo>
                    <a:cubicBezTo>
                      <a:pt x="644" y="259"/>
                      <a:pt x="630" y="237"/>
                      <a:pt x="623" y="213"/>
                    </a:cubicBezTo>
                    <a:cubicBezTo>
                      <a:pt x="617" y="190"/>
                      <a:pt x="617" y="190"/>
                      <a:pt x="617" y="190"/>
                    </a:cubicBezTo>
                    <a:cubicBezTo>
                      <a:pt x="612" y="175"/>
                      <a:pt x="612" y="159"/>
                      <a:pt x="616" y="143"/>
                    </a:cubicBezTo>
                    <a:cubicBezTo>
                      <a:pt x="621" y="119"/>
                      <a:pt x="618" y="92"/>
                      <a:pt x="605" y="69"/>
                    </a:cubicBezTo>
                    <a:cubicBezTo>
                      <a:pt x="573" y="14"/>
                      <a:pt x="499" y="0"/>
                      <a:pt x="449" y="44"/>
                    </a:cubicBezTo>
                    <a:cubicBezTo>
                      <a:pt x="418" y="71"/>
                      <a:pt x="406" y="115"/>
                      <a:pt x="420" y="154"/>
                    </a:cubicBezTo>
                    <a:cubicBezTo>
                      <a:pt x="432" y="187"/>
                      <a:pt x="458" y="209"/>
                      <a:pt x="487" y="218"/>
                    </a:cubicBezTo>
                    <a:cubicBezTo>
                      <a:pt x="503" y="222"/>
                      <a:pt x="517" y="230"/>
                      <a:pt x="528" y="242"/>
                    </a:cubicBezTo>
                    <a:cubicBezTo>
                      <a:pt x="545" y="259"/>
                      <a:pt x="545" y="259"/>
                      <a:pt x="545" y="259"/>
                    </a:cubicBezTo>
                    <a:cubicBezTo>
                      <a:pt x="562" y="276"/>
                      <a:pt x="574" y="300"/>
                      <a:pt x="578" y="324"/>
                    </a:cubicBezTo>
                    <a:cubicBezTo>
                      <a:pt x="582" y="348"/>
                      <a:pt x="582" y="348"/>
                      <a:pt x="582" y="348"/>
                    </a:cubicBezTo>
                    <a:cubicBezTo>
                      <a:pt x="582" y="348"/>
                      <a:pt x="578" y="394"/>
                      <a:pt x="559" y="429"/>
                    </a:cubicBezTo>
                    <a:cubicBezTo>
                      <a:pt x="537" y="449"/>
                      <a:pt x="517" y="471"/>
                      <a:pt x="499" y="495"/>
                    </a:cubicBezTo>
                    <a:cubicBezTo>
                      <a:pt x="478" y="503"/>
                      <a:pt x="456" y="505"/>
                      <a:pt x="456" y="505"/>
                    </a:cubicBezTo>
                    <a:cubicBezTo>
                      <a:pt x="440" y="503"/>
                      <a:pt x="440" y="503"/>
                      <a:pt x="440" y="503"/>
                    </a:cubicBezTo>
                    <a:cubicBezTo>
                      <a:pt x="425" y="500"/>
                      <a:pt x="409" y="492"/>
                      <a:pt x="398" y="481"/>
                    </a:cubicBezTo>
                    <a:cubicBezTo>
                      <a:pt x="387" y="470"/>
                      <a:pt x="387" y="470"/>
                      <a:pt x="387" y="470"/>
                    </a:cubicBezTo>
                    <a:cubicBezTo>
                      <a:pt x="379" y="463"/>
                      <a:pt x="374" y="454"/>
                      <a:pt x="371" y="444"/>
                    </a:cubicBezTo>
                    <a:cubicBezTo>
                      <a:pt x="365" y="424"/>
                      <a:pt x="351" y="407"/>
                      <a:pt x="329" y="400"/>
                    </a:cubicBezTo>
                    <a:cubicBezTo>
                      <a:pt x="304" y="391"/>
                      <a:pt x="275" y="398"/>
                      <a:pt x="258" y="418"/>
                    </a:cubicBezTo>
                    <a:cubicBezTo>
                      <a:pt x="229" y="451"/>
                      <a:pt x="238" y="499"/>
                      <a:pt x="274" y="520"/>
                    </a:cubicBezTo>
                    <a:cubicBezTo>
                      <a:pt x="289" y="529"/>
                      <a:pt x="306" y="531"/>
                      <a:pt x="322" y="527"/>
                    </a:cubicBezTo>
                    <a:cubicBezTo>
                      <a:pt x="332" y="525"/>
                      <a:pt x="343" y="525"/>
                      <a:pt x="353" y="528"/>
                    </a:cubicBezTo>
                    <a:cubicBezTo>
                      <a:pt x="368" y="532"/>
                      <a:pt x="368" y="532"/>
                      <a:pt x="368" y="532"/>
                    </a:cubicBezTo>
                    <a:cubicBezTo>
                      <a:pt x="383" y="536"/>
                      <a:pt x="398" y="546"/>
                      <a:pt x="408" y="558"/>
                    </a:cubicBezTo>
                    <a:cubicBezTo>
                      <a:pt x="418" y="570"/>
                      <a:pt x="418" y="570"/>
                      <a:pt x="418" y="570"/>
                    </a:cubicBezTo>
                    <a:cubicBezTo>
                      <a:pt x="418" y="570"/>
                      <a:pt x="427" y="591"/>
                      <a:pt x="430" y="613"/>
                    </a:cubicBezTo>
                    <a:cubicBezTo>
                      <a:pt x="418" y="642"/>
                      <a:pt x="408" y="672"/>
                      <a:pt x="401" y="704"/>
                    </a:cubicBezTo>
                    <a:cubicBezTo>
                      <a:pt x="381" y="737"/>
                      <a:pt x="343" y="764"/>
                      <a:pt x="343" y="764"/>
                    </a:cubicBezTo>
                    <a:cubicBezTo>
                      <a:pt x="320" y="773"/>
                      <a:pt x="320" y="773"/>
                      <a:pt x="320" y="773"/>
                    </a:cubicBezTo>
                    <a:cubicBezTo>
                      <a:pt x="297" y="781"/>
                      <a:pt x="271" y="783"/>
                      <a:pt x="247" y="777"/>
                    </a:cubicBezTo>
                    <a:cubicBezTo>
                      <a:pt x="224" y="771"/>
                      <a:pt x="224" y="771"/>
                      <a:pt x="224" y="771"/>
                    </a:cubicBezTo>
                    <a:cubicBezTo>
                      <a:pt x="208" y="767"/>
                      <a:pt x="194" y="759"/>
                      <a:pt x="183" y="748"/>
                    </a:cubicBezTo>
                    <a:cubicBezTo>
                      <a:pt x="160" y="727"/>
                      <a:pt x="128" y="716"/>
                      <a:pt x="93" y="722"/>
                    </a:cubicBezTo>
                    <a:cubicBezTo>
                      <a:pt x="53" y="729"/>
                      <a:pt x="21" y="761"/>
                      <a:pt x="13" y="802"/>
                    </a:cubicBezTo>
                    <a:cubicBezTo>
                      <a:pt x="0" y="867"/>
                      <a:pt x="50" y="924"/>
                      <a:pt x="113" y="924"/>
                    </a:cubicBezTo>
                    <a:cubicBezTo>
                      <a:pt x="140" y="924"/>
                      <a:pt x="164" y="913"/>
                      <a:pt x="182" y="896"/>
                    </a:cubicBezTo>
                    <a:cubicBezTo>
                      <a:pt x="194" y="885"/>
                      <a:pt x="208" y="877"/>
                      <a:pt x="224" y="873"/>
                    </a:cubicBezTo>
                    <a:cubicBezTo>
                      <a:pt x="247" y="867"/>
                      <a:pt x="247" y="867"/>
                      <a:pt x="247" y="867"/>
                    </a:cubicBezTo>
                    <a:cubicBezTo>
                      <a:pt x="271" y="861"/>
                      <a:pt x="297" y="863"/>
                      <a:pt x="320" y="871"/>
                    </a:cubicBezTo>
                    <a:cubicBezTo>
                      <a:pt x="343" y="880"/>
                      <a:pt x="343" y="880"/>
                      <a:pt x="343" y="880"/>
                    </a:cubicBezTo>
                    <a:cubicBezTo>
                      <a:pt x="343" y="880"/>
                      <a:pt x="381" y="907"/>
                      <a:pt x="401" y="940"/>
                    </a:cubicBezTo>
                    <a:cubicBezTo>
                      <a:pt x="407" y="970"/>
                      <a:pt x="417" y="999"/>
                      <a:pt x="428" y="1026"/>
                    </a:cubicBezTo>
                    <a:cubicBezTo>
                      <a:pt x="427" y="1051"/>
                      <a:pt x="415" y="1076"/>
                      <a:pt x="415" y="1076"/>
                    </a:cubicBezTo>
                    <a:cubicBezTo>
                      <a:pt x="405" y="1088"/>
                      <a:pt x="405" y="1088"/>
                      <a:pt x="405" y="1088"/>
                    </a:cubicBezTo>
                    <a:cubicBezTo>
                      <a:pt x="396" y="1100"/>
                      <a:pt x="381" y="1109"/>
                      <a:pt x="366" y="1114"/>
                    </a:cubicBezTo>
                    <a:cubicBezTo>
                      <a:pt x="352" y="1118"/>
                      <a:pt x="352" y="1118"/>
                      <a:pt x="352" y="1118"/>
                    </a:cubicBezTo>
                    <a:cubicBezTo>
                      <a:pt x="342" y="1121"/>
                      <a:pt x="331" y="1121"/>
                      <a:pt x="321" y="1118"/>
                    </a:cubicBezTo>
                    <a:cubicBezTo>
                      <a:pt x="305" y="1115"/>
                      <a:pt x="288" y="1117"/>
                      <a:pt x="274" y="1125"/>
                    </a:cubicBezTo>
                    <a:cubicBezTo>
                      <a:pt x="239" y="1146"/>
                      <a:pt x="229" y="1194"/>
                      <a:pt x="258" y="1226"/>
                    </a:cubicBezTo>
                    <a:cubicBezTo>
                      <a:pt x="275" y="1245"/>
                      <a:pt x="303" y="1253"/>
                      <a:pt x="328" y="1244"/>
                    </a:cubicBezTo>
                    <a:cubicBezTo>
                      <a:pt x="349" y="1236"/>
                      <a:pt x="364" y="1220"/>
                      <a:pt x="369" y="1201"/>
                    </a:cubicBezTo>
                    <a:cubicBezTo>
                      <a:pt x="372" y="1191"/>
                      <a:pt x="377" y="1182"/>
                      <a:pt x="385" y="1175"/>
                    </a:cubicBezTo>
                    <a:cubicBezTo>
                      <a:pt x="396" y="1164"/>
                      <a:pt x="396" y="1164"/>
                      <a:pt x="396" y="1164"/>
                    </a:cubicBezTo>
                    <a:cubicBezTo>
                      <a:pt x="407" y="1153"/>
                      <a:pt x="422" y="1145"/>
                      <a:pt x="437" y="1142"/>
                    </a:cubicBezTo>
                    <a:cubicBezTo>
                      <a:pt x="453" y="1140"/>
                      <a:pt x="453" y="1140"/>
                      <a:pt x="453" y="1140"/>
                    </a:cubicBezTo>
                    <a:cubicBezTo>
                      <a:pt x="453" y="1140"/>
                      <a:pt x="480" y="1142"/>
                      <a:pt x="502" y="1153"/>
                    </a:cubicBezTo>
                    <a:cubicBezTo>
                      <a:pt x="519" y="1175"/>
                      <a:pt x="538" y="1196"/>
                      <a:pt x="559" y="1215"/>
                    </a:cubicBezTo>
                    <a:cubicBezTo>
                      <a:pt x="578" y="1250"/>
                      <a:pt x="582" y="1296"/>
                      <a:pt x="582" y="1296"/>
                    </a:cubicBezTo>
                    <a:cubicBezTo>
                      <a:pt x="578" y="1320"/>
                      <a:pt x="578" y="1320"/>
                      <a:pt x="578" y="1320"/>
                    </a:cubicBezTo>
                    <a:cubicBezTo>
                      <a:pt x="574" y="1344"/>
                      <a:pt x="562" y="1368"/>
                      <a:pt x="545" y="1385"/>
                    </a:cubicBezTo>
                    <a:cubicBezTo>
                      <a:pt x="528" y="1402"/>
                      <a:pt x="528" y="1402"/>
                      <a:pt x="528" y="1402"/>
                    </a:cubicBezTo>
                    <a:cubicBezTo>
                      <a:pt x="517" y="1414"/>
                      <a:pt x="503" y="1422"/>
                      <a:pt x="487" y="1426"/>
                    </a:cubicBezTo>
                    <a:cubicBezTo>
                      <a:pt x="458" y="1435"/>
                      <a:pt x="432" y="1457"/>
                      <a:pt x="420" y="1490"/>
                    </a:cubicBezTo>
                    <a:cubicBezTo>
                      <a:pt x="406" y="1529"/>
                      <a:pt x="418" y="1573"/>
                      <a:pt x="449" y="1600"/>
                    </a:cubicBezTo>
                    <a:cubicBezTo>
                      <a:pt x="499" y="1644"/>
                      <a:pt x="573" y="1630"/>
                      <a:pt x="605" y="1575"/>
                    </a:cubicBezTo>
                    <a:cubicBezTo>
                      <a:pt x="618" y="1552"/>
                      <a:pt x="621" y="1525"/>
                      <a:pt x="616" y="1501"/>
                    </a:cubicBezTo>
                    <a:cubicBezTo>
                      <a:pt x="612" y="1485"/>
                      <a:pt x="612" y="1469"/>
                      <a:pt x="617" y="1454"/>
                    </a:cubicBezTo>
                    <a:cubicBezTo>
                      <a:pt x="623" y="1431"/>
                      <a:pt x="623" y="1431"/>
                      <a:pt x="623" y="1431"/>
                    </a:cubicBezTo>
                    <a:cubicBezTo>
                      <a:pt x="630" y="1407"/>
                      <a:pt x="644" y="1385"/>
                      <a:pt x="663" y="1370"/>
                    </a:cubicBezTo>
                    <a:cubicBezTo>
                      <a:pt x="682" y="1355"/>
                      <a:pt x="682" y="1355"/>
                      <a:pt x="682" y="1355"/>
                    </a:cubicBezTo>
                    <a:cubicBezTo>
                      <a:pt x="682" y="1355"/>
                      <a:pt x="724" y="1335"/>
                      <a:pt x="763" y="1335"/>
                    </a:cubicBezTo>
                    <a:cubicBezTo>
                      <a:pt x="792" y="1344"/>
                      <a:pt x="822" y="1350"/>
                      <a:pt x="852" y="1354"/>
                    </a:cubicBezTo>
                    <a:cubicBezTo>
                      <a:pt x="872" y="1368"/>
                      <a:pt x="888" y="1390"/>
                      <a:pt x="888" y="1390"/>
                    </a:cubicBezTo>
                    <a:cubicBezTo>
                      <a:pt x="893" y="1404"/>
                      <a:pt x="893" y="1404"/>
                      <a:pt x="893" y="1404"/>
                    </a:cubicBezTo>
                    <a:cubicBezTo>
                      <a:pt x="899" y="1419"/>
                      <a:pt x="900" y="1436"/>
                      <a:pt x="896" y="1451"/>
                    </a:cubicBezTo>
                    <a:cubicBezTo>
                      <a:pt x="892" y="1466"/>
                      <a:pt x="892" y="1466"/>
                      <a:pt x="892" y="1466"/>
                    </a:cubicBezTo>
                    <a:cubicBezTo>
                      <a:pt x="889" y="1476"/>
                      <a:pt x="884" y="1485"/>
                      <a:pt x="877" y="1493"/>
                    </a:cubicBezTo>
                    <a:cubicBezTo>
                      <a:pt x="864" y="1507"/>
                      <a:pt x="856" y="1528"/>
                      <a:pt x="861" y="1550"/>
                    </a:cubicBezTo>
                    <a:cubicBezTo>
                      <a:pt x="865" y="1576"/>
                      <a:pt x="886" y="1597"/>
                      <a:pt x="912" y="1602"/>
                    </a:cubicBezTo>
                    <a:cubicBezTo>
                      <a:pt x="954" y="1610"/>
                      <a:pt x="991" y="1578"/>
                      <a:pt x="991" y="1538"/>
                    </a:cubicBezTo>
                    <a:cubicBezTo>
                      <a:pt x="991" y="1520"/>
                      <a:pt x="984" y="1504"/>
                      <a:pt x="973" y="1493"/>
                    </a:cubicBezTo>
                    <a:cubicBezTo>
                      <a:pt x="966" y="1485"/>
                      <a:pt x="961" y="1476"/>
                      <a:pt x="958" y="1466"/>
                    </a:cubicBezTo>
                    <a:cubicBezTo>
                      <a:pt x="954" y="1451"/>
                      <a:pt x="954" y="1451"/>
                      <a:pt x="954" y="1451"/>
                    </a:cubicBezTo>
                    <a:cubicBezTo>
                      <a:pt x="950" y="1436"/>
                      <a:pt x="951" y="1419"/>
                      <a:pt x="957" y="1404"/>
                    </a:cubicBezTo>
                    <a:cubicBezTo>
                      <a:pt x="962" y="1390"/>
                      <a:pt x="962" y="1390"/>
                      <a:pt x="962" y="1390"/>
                    </a:cubicBezTo>
                    <a:cubicBezTo>
                      <a:pt x="962" y="1390"/>
                      <a:pt x="978" y="1368"/>
                      <a:pt x="998" y="1354"/>
                    </a:cubicBezTo>
                    <a:cubicBezTo>
                      <a:pt x="1028" y="1350"/>
                      <a:pt x="1058" y="1344"/>
                      <a:pt x="1087" y="1335"/>
                    </a:cubicBezTo>
                    <a:cubicBezTo>
                      <a:pt x="1126" y="1335"/>
                      <a:pt x="1168" y="1355"/>
                      <a:pt x="1168" y="1355"/>
                    </a:cubicBezTo>
                    <a:cubicBezTo>
                      <a:pt x="1187" y="1370"/>
                      <a:pt x="1187" y="1370"/>
                      <a:pt x="1187" y="1370"/>
                    </a:cubicBezTo>
                    <a:cubicBezTo>
                      <a:pt x="1206" y="1385"/>
                      <a:pt x="1220" y="1407"/>
                      <a:pt x="1227" y="1431"/>
                    </a:cubicBezTo>
                    <a:cubicBezTo>
                      <a:pt x="1233" y="1454"/>
                      <a:pt x="1233" y="1454"/>
                      <a:pt x="1233" y="1454"/>
                    </a:cubicBezTo>
                    <a:cubicBezTo>
                      <a:pt x="1238" y="1469"/>
                      <a:pt x="1238" y="1485"/>
                      <a:pt x="1234" y="1501"/>
                    </a:cubicBezTo>
                    <a:cubicBezTo>
                      <a:pt x="1229" y="1525"/>
                      <a:pt x="1232" y="1552"/>
                      <a:pt x="1245" y="1575"/>
                    </a:cubicBezTo>
                    <a:cubicBezTo>
                      <a:pt x="1277" y="1630"/>
                      <a:pt x="1351" y="1644"/>
                      <a:pt x="1401" y="1600"/>
                    </a:cubicBezTo>
                    <a:cubicBezTo>
                      <a:pt x="1432" y="1573"/>
                      <a:pt x="1444" y="1529"/>
                      <a:pt x="1430" y="1490"/>
                    </a:cubicBezTo>
                    <a:cubicBezTo>
                      <a:pt x="1418" y="1457"/>
                      <a:pt x="1392" y="1435"/>
                      <a:pt x="1363" y="1426"/>
                    </a:cubicBezTo>
                    <a:cubicBezTo>
                      <a:pt x="1347" y="1422"/>
                      <a:pt x="1333" y="1414"/>
                      <a:pt x="1322" y="1402"/>
                    </a:cubicBezTo>
                    <a:cubicBezTo>
                      <a:pt x="1305" y="1385"/>
                      <a:pt x="1305" y="1385"/>
                      <a:pt x="1305" y="1385"/>
                    </a:cubicBezTo>
                    <a:cubicBezTo>
                      <a:pt x="1288" y="1368"/>
                      <a:pt x="1276" y="1344"/>
                      <a:pt x="1272" y="1320"/>
                    </a:cubicBezTo>
                    <a:cubicBezTo>
                      <a:pt x="1268" y="1296"/>
                      <a:pt x="1268" y="1296"/>
                      <a:pt x="1268" y="1296"/>
                    </a:cubicBezTo>
                    <a:cubicBezTo>
                      <a:pt x="1268" y="1296"/>
                      <a:pt x="1272" y="1250"/>
                      <a:pt x="1291" y="1215"/>
                    </a:cubicBezTo>
                    <a:cubicBezTo>
                      <a:pt x="1313" y="1195"/>
                      <a:pt x="1334" y="1172"/>
                      <a:pt x="1352" y="1148"/>
                    </a:cubicBezTo>
                    <a:cubicBezTo>
                      <a:pt x="1372" y="1140"/>
                      <a:pt x="1393" y="1139"/>
                      <a:pt x="1393" y="1139"/>
                    </a:cubicBezTo>
                    <a:cubicBezTo>
                      <a:pt x="1409" y="1141"/>
                      <a:pt x="1409" y="1141"/>
                      <a:pt x="1409" y="1141"/>
                    </a:cubicBezTo>
                    <a:cubicBezTo>
                      <a:pt x="1425" y="1144"/>
                      <a:pt x="1440" y="1152"/>
                      <a:pt x="1452" y="1163"/>
                    </a:cubicBezTo>
                    <a:cubicBezTo>
                      <a:pt x="1463" y="1174"/>
                      <a:pt x="1463" y="1174"/>
                      <a:pt x="1463" y="1174"/>
                    </a:cubicBezTo>
                    <a:cubicBezTo>
                      <a:pt x="1470" y="1181"/>
                      <a:pt x="1476" y="1190"/>
                      <a:pt x="1479" y="1200"/>
                    </a:cubicBezTo>
                    <a:cubicBezTo>
                      <a:pt x="1484" y="1220"/>
                      <a:pt x="1499" y="1237"/>
                      <a:pt x="1520" y="1244"/>
                    </a:cubicBezTo>
                    <a:cubicBezTo>
                      <a:pt x="1546" y="1253"/>
                      <a:pt x="1575" y="1246"/>
                      <a:pt x="1592" y="1226"/>
                    </a:cubicBezTo>
                    <a:cubicBezTo>
                      <a:pt x="1621" y="1193"/>
                      <a:pt x="1612" y="1144"/>
                      <a:pt x="1576" y="1124"/>
                    </a:cubicBezTo>
                    <a:cubicBezTo>
                      <a:pt x="1561" y="1115"/>
                      <a:pt x="1543" y="1113"/>
                      <a:pt x="1528" y="1116"/>
                    </a:cubicBezTo>
                    <a:cubicBezTo>
                      <a:pt x="1517" y="1119"/>
                      <a:pt x="1507" y="1119"/>
                      <a:pt x="1496" y="1116"/>
                    </a:cubicBezTo>
                    <a:cubicBezTo>
                      <a:pt x="1482" y="1112"/>
                      <a:pt x="1482" y="1112"/>
                      <a:pt x="1482" y="1112"/>
                    </a:cubicBezTo>
                    <a:cubicBezTo>
                      <a:pt x="1466" y="1107"/>
                      <a:pt x="1451" y="1098"/>
                      <a:pt x="1442" y="1085"/>
                    </a:cubicBezTo>
                    <a:cubicBezTo>
                      <a:pt x="1432" y="1073"/>
                      <a:pt x="1432" y="1073"/>
                      <a:pt x="1432" y="1073"/>
                    </a:cubicBezTo>
                    <a:cubicBezTo>
                      <a:pt x="1432" y="1073"/>
                      <a:pt x="1423" y="1054"/>
                      <a:pt x="1420" y="1032"/>
                    </a:cubicBezTo>
                    <a:cubicBezTo>
                      <a:pt x="1432" y="1003"/>
                      <a:pt x="1442" y="972"/>
                      <a:pt x="1449" y="940"/>
                    </a:cubicBezTo>
                    <a:cubicBezTo>
                      <a:pt x="1469" y="907"/>
                      <a:pt x="1507" y="880"/>
                      <a:pt x="1507" y="880"/>
                    </a:cubicBezTo>
                    <a:cubicBezTo>
                      <a:pt x="1530" y="871"/>
                      <a:pt x="1530" y="871"/>
                      <a:pt x="1530" y="871"/>
                    </a:cubicBezTo>
                    <a:cubicBezTo>
                      <a:pt x="1553" y="863"/>
                      <a:pt x="1579" y="861"/>
                      <a:pt x="1603" y="867"/>
                    </a:cubicBezTo>
                    <a:cubicBezTo>
                      <a:pt x="1626" y="873"/>
                      <a:pt x="1626" y="873"/>
                      <a:pt x="1626" y="873"/>
                    </a:cubicBezTo>
                    <a:cubicBezTo>
                      <a:pt x="1642" y="877"/>
                      <a:pt x="1656" y="885"/>
                      <a:pt x="1667" y="896"/>
                    </a:cubicBezTo>
                    <a:cubicBezTo>
                      <a:pt x="1690" y="917"/>
                      <a:pt x="1722" y="928"/>
                      <a:pt x="1757" y="922"/>
                    </a:cubicBezTo>
                    <a:cubicBezTo>
                      <a:pt x="1797" y="915"/>
                      <a:pt x="1829" y="883"/>
                      <a:pt x="1837" y="842"/>
                    </a:cubicBezTo>
                    <a:cubicBezTo>
                      <a:pt x="1850" y="777"/>
                      <a:pt x="1800" y="720"/>
                      <a:pt x="1737" y="720"/>
                    </a:cubicBezTo>
                    <a:close/>
                    <a:moveTo>
                      <a:pt x="925" y="1302"/>
                    </a:moveTo>
                    <a:cubicBezTo>
                      <a:pt x="660" y="1302"/>
                      <a:pt x="445" y="1087"/>
                      <a:pt x="445" y="822"/>
                    </a:cubicBezTo>
                    <a:cubicBezTo>
                      <a:pt x="445" y="557"/>
                      <a:pt x="660" y="342"/>
                      <a:pt x="925" y="342"/>
                    </a:cubicBezTo>
                    <a:cubicBezTo>
                      <a:pt x="1190" y="342"/>
                      <a:pt x="1405" y="557"/>
                      <a:pt x="1405" y="822"/>
                    </a:cubicBezTo>
                    <a:cubicBezTo>
                      <a:pt x="1405" y="1087"/>
                      <a:pt x="1190" y="1302"/>
                      <a:pt x="925" y="1302"/>
                    </a:cubicBezTo>
                    <a:close/>
                  </a:path>
                </a:pathLst>
              </a:custGeom>
              <a:solidFill>
                <a:srgbClr val="792942"/>
              </a:solidFill>
              <a:ln>
                <a:noFill/>
              </a:ln>
            </p:spPr>
            <p:txBody>
              <a:bodyPr vert="horz" wrap="square" lIns="68580" tIns="34290" rIns="68580" bIns="34290" numCol="1" anchor="t" anchorCtr="0" compatLnSpc="1">
                <a:prstTxWarp prst="textNoShape">
                  <a:avLst/>
                </a:prstTxWarp>
              </a:bodyPr>
              <a:lstStyle/>
              <a:p>
                <a:pPr algn="ctr"/>
                <a:endParaRPr lang="de-DE" sz="675" dirty="0">
                  <a:solidFill>
                    <a:srgbClr val="37373A"/>
                  </a:solidFill>
                  <a:latin typeface="+mj-lt"/>
                </a:endParaRPr>
              </a:p>
            </p:txBody>
          </p:sp>
          <p:sp>
            <p:nvSpPr>
              <p:cNvPr id="103" name="Freeform 8">
                <a:extLst>
                  <a:ext uri="{FF2B5EF4-FFF2-40B4-BE49-F238E27FC236}">
                    <a16:creationId xmlns:a16="http://schemas.microsoft.com/office/drawing/2014/main" id="{23E9D7E7-9684-4491-A389-3B6E99A44B37}"/>
                  </a:ext>
                </a:extLst>
              </p:cNvPr>
              <p:cNvSpPr>
                <a:spLocks noEditPoints="1"/>
              </p:cNvSpPr>
              <p:nvPr/>
            </p:nvSpPr>
            <p:spPr bwMode="auto">
              <a:xfrm>
                <a:off x="2496345" y="2592388"/>
                <a:ext cx="622300" cy="623888"/>
              </a:xfrm>
              <a:custGeom>
                <a:avLst/>
                <a:gdLst>
                  <a:gd name="T0" fmla="*/ 744 w 872"/>
                  <a:gd name="T1" fmla="*/ 128 h 872"/>
                  <a:gd name="T2" fmla="*/ 436 w 872"/>
                  <a:gd name="T3" fmla="*/ 0 h 872"/>
                  <a:gd name="T4" fmla="*/ 128 w 872"/>
                  <a:gd name="T5" fmla="*/ 128 h 872"/>
                  <a:gd name="T6" fmla="*/ 0 w 872"/>
                  <a:gd name="T7" fmla="*/ 436 h 872"/>
                  <a:gd name="T8" fmla="*/ 128 w 872"/>
                  <a:gd name="T9" fmla="*/ 744 h 872"/>
                  <a:gd name="T10" fmla="*/ 436 w 872"/>
                  <a:gd name="T11" fmla="*/ 872 h 872"/>
                  <a:gd name="T12" fmla="*/ 744 w 872"/>
                  <a:gd name="T13" fmla="*/ 744 h 872"/>
                  <a:gd name="T14" fmla="*/ 872 w 872"/>
                  <a:gd name="T15" fmla="*/ 436 h 872"/>
                  <a:gd name="T16" fmla="*/ 744 w 872"/>
                  <a:gd name="T17" fmla="*/ 128 h 872"/>
                  <a:gd name="T18" fmla="*/ 472 w 872"/>
                  <a:gd name="T19" fmla="*/ 112 h 872"/>
                  <a:gd name="T20" fmla="*/ 576 w 872"/>
                  <a:gd name="T21" fmla="*/ 216 h 872"/>
                  <a:gd name="T22" fmla="*/ 472 w 872"/>
                  <a:gd name="T23" fmla="*/ 320 h 872"/>
                  <a:gd name="T24" fmla="*/ 368 w 872"/>
                  <a:gd name="T25" fmla="*/ 216 h 872"/>
                  <a:gd name="T26" fmla="*/ 472 w 872"/>
                  <a:gd name="T27" fmla="*/ 112 h 872"/>
                  <a:gd name="T28" fmla="*/ 195 w 872"/>
                  <a:gd name="T29" fmla="*/ 216 h 872"/>
                  <a:gd name="T30" fmla="*/ 276 w 872"/>
                  <a:gd name="T31" fmla="*/ 297 h 872"/>
                  <a:gd name="T32" fmla="*/ 195 w 872"/>
                  <a:gd name="T33" fmla="*/ 377 h 872"/>
                  <a:gd name="T34" fmla="*/ 114 w 872"/>
                  <a:gd name="T35" fmla="*/ 297 h 872"/>
                  <a:gd name="T36" fmla="*/ 195 w 872"/>
                  <a:gd name="T37" fmla="*/ 216 h 872"/>
                  <a:gd name="T38" fmla="*/ 215 w 872"/>
                  <a:gd name="T39" fmla="*/ 679 h 872"/>
                  <a:gd name="T40" fmla="*/ 119 w 872"/>
                  <a:gd name="T41" fmla="*/ 583 h 872"/>
                  <a:gd name="T42" fmla="*/ 215 w 872"/>
                  <a:gd name="T43" fmla="*/ 487 h 872"/>
                  <a:gd name="T44" fmla="*/ 311 w 872"/>
                  <a:gd name="T45" fmla="*/ 583 h 872"/>
                  <a:gd name="T46" fmla="*/ 215 w 872"/>
                  <a:gd name="T47" fmla="*/ 679 h 872"/>
                  <a:gd name="T48" fmla="*/ 403 w 872"/>
                  <a:gd name="T49" fmla="*/ 539 h 872"/>
                  <a:gd name="T50" fmla="*/ 322 w 872"/>
                  <a:gd name="T51" fmla="*/ 458 h 872"/>
                  <a:gd name="T52" fmla="*/ 403 w 872"/>
                  <a:gd name="T53" fmla="*/ 377 h 872"/>
                  <a:gd name="T54" fmla="*/ 484 w 872"/>
                  <a:gd name="T55" fmla="*/ 458 h 872"/>
                  <a:gd name="T56" fmla="*/ 403 w 872"/>
                  <a:gd name="T57" fmla="*/ 539 h 872"/>
                  <a:gd name="T58" fmla="*/ 545 w 872"/>
                  <a:gd name="T59" fmla="*/ 760 h 872"/>
                  <a:gd name="T60" fmla="*/ 464 w 872"/>
                  <a:gd name="T61" fmla="*/ 679 h 872"/>
                  <a:gd name="T62" fmla="*/ 545 w 872"/>
                  <a:gd name="T63" fmla="*/ 599 h 872"/>
                  <a:gd name="T64" fmla="*/ 625 w 872"/>
                  <a:gd name="T65" fmla="*/ 679 h 872"/>
                  <a:gd name="T66" fmla="*/ 545 w 872"/>
                  <a:gd name="T67" fmla="*/ 760 h 872"/>
                  <a:gd name="T68" fmla="*/ 662 w 872"/>
                  <a:gd name="T69" fmla="*/ 540 h 872"/>
                  <a:gd name="T70" fmla="*/ 566 w 872"/>
                  <a:gd name="T71" fmla="*/ 444 h 872"/>
                  <a:gd name="T72" fmla="*/ 662 w 872"/>
                  <a:gd name="T73" fmla="*/ 348 h 872"/>
                  <a:gd name="T74" fmla="*/ 758 w 872"/>
                  <a:gd name="T75" fmla="*/ 444 h 872"/>
                  <a:gd name="T76" fmla="*/ 662 w 872"/>
                  <a:gd name="T77" fmla="*/ 54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2" h="872">
                    <a:moveTo>
                      <a:pt x="744" y="128"/>
                    </a:moveTo>
                    <a:cubicBezTo>
                      <a:pt x="662" y="45"/>
                      <a:pt x="553" y="0"/>
                      <a:pt x="436" y="0"/>
                    </a:cubicBezTo>
                    <a:cubicBezTo>
                      <a:pt x="319" y="0"/>
                      <a:pt x="210" y="45"/>
                      <a:pt x="128" y="128"/>
                    </a:cubicBezTo>
                    <a:cubicBezTo>
                      <a:pt x="45" y="210"/>
                      <a:pt x="0" y="319"/>
                      <a:pt x="0" y="436"/>
                    </a:cubicBezTo>
                    <a:cubicBezTo>
                      <a:pt x="0" y="553"/>
                      <a:pt x="45" y="662"/>
                      <a:pt x="128" y="744"/>
                    </a:cubicBezTo>
                    <a:cubicBezTo>
                      <a:pt x="210" y="827"/>
                      <a:pt x="319" y="872"/>
                      <a:pt x="436" y="872"/>
                    </a:cubicBezTo>
                    <a:cubicBezTo>
                      <a:pt x="553" y="872"/>
                      <a:pt x="662" y="827"/>
                      <a:pt x="744" y="744"/>
                    </a:cubicBezTo>
                    <a:cubicBezTo>
                      <a:pt x="827" y="662"/>
                      <a:pt x="872" y="553"/>
                      <a:pt x="872" y="436"/>
                    </a:cubicBezTo>
                    <a:cubicBezTo>
                      <a:pt x="872" y="319"/>
                      <a:pt x="827" y="210"/>
                      <a:pt x="744" y="128"/>
                    </a:cubicBezTo>
                    <a:close/>
                    <a:moveTo>
                      <a:pt x="472" y="112"/>
                    </a:moveTo>
                    <a:cubicBezTo>
                      <a:pt x="529" y="112"/>
                      <a:pt x="576" y="158"/>
                      <a:pt x="576" y="216"/>
                    </a:cubicBezTo>
                    <a:cubicBezTo>
                      <a:pt x="576" y="273"/>
                      <a:pt x="529" y="320"/>
                      <a:pt x="472" y="320"/>
                    </a:cubicBezTo>
                    <a:cubicBezTo>
                      <a:pt x="414" y="320"/>
                      <a:pt x="368" y="273"/>
                      <a:pt x="368" y="216"/>
                    </a:cubicBezTo>
                    <a:cubicBezTo>
                      <a:pt x="368" y="158"/>
                      <a:pt x="414" y="112"/>
                      <a:pt x="472" y="112"/>
                    </a:cubicBezTo>
                    <a:close/>
                    <a:moveTo>
                      <a:pt x="195" y="216"/>
                    </a:moveTo>
                    <a:cubicBezTo>
                      <a:pt x="240" y="216"/>
                      <a:pt x="276" y="252"/>
                      <a:pt x="276" y="297"/>
                    </a:cubicBezTo>
                    <a:cubicBezTo>
                      <a:pt x="276" y="341"/>
                      <a:pt x="240" y="377"/>
                      <a:pt x="195" y="377"/>
                    </a:cubicBezTo>
                    <a:cubicBezTo>
                      <a:pt x="151" y="377"/>
                      <a:pt x="114" y="341"/>
                      <a:pt x="114" y="297"/>
                    </a:cubicBezTo>
                    <a:cubicBezTo>
                      <a:pt x="114" y="252"/>
                      <a:pt x="151" y="216"/>
                      <a:pt x="195" y="216"/>
                    </a:cubicBezTo>
                    <a:close/>
                    <a:moveTo>
                      <a:pt x="215" y="679"/>
                    </a:moveTo>
                    <a:cubicBezTo>
                      <a:pt x="162" y="679"/>
                      <a:pt x="119" y="636"/>
                      <a:pt x="119" y="583"/>
                    </a:cubicBezTo>
                    <a:cubicBezTo>
                      <a:pt x="119" y="530"/>
                      <a:pt x="162" y="487"/>
                      <a:pt x="215" y="487"/>
                    </a:cubicBezTo>
                    <a:cubicBezTo>
                      <a:pt x="268" y="487"/>
                      <a:pt x="311" y="530"/>
                      <a:pt x="311" y="583"/>
                    </a:cubicBezTo>
                    <a:cubicBezTo>
                      <a:pt x="311" y="636"/>
                      <a:pt x="268" y="679"/>
                      <a:pt x="215" y="679"/>
                    </a:cubicBezTo>
                    <a:close/>
                    <a:moveTo>
                      <a:pt x="403" y="539"/>
                    </a:moveTo>
                    <a:cubicBezTo>
                      <a:pt x="359" y="539"/>
                      <a:pt x="322" y="503"/>
                      <a:pt x="322" y="458"/>
                    </a:cubicBezTo>
                    <a:cubicBezTo>
                      <a:pt x="322" y="414"/>
                      <a:pt x="359" y="377"/>
                      <a:pt x="403" y="377"/>
                    </a:cubicBezTo>
                    <a:cubicBezTo>
                      <a:pt x="448" y="377"/>
                      <a:pt x="484" y="414"/>
                      <a:pt x="484" y="458"/>
                    </a:cubicBezTo>
                    <a:cubicBezTo>
                      <a:pt x="484" y="503"/>
                      <a:pt x="448" y="539"/>
                      <a:pt x="403" y="539"/>
                    </a:cubicBezTo>
                    <a:close/>
                    <a:moveTo>
                      <a:pt x="545" y="760"/>
                    </a:moveTo>
                    <a:cubicBezTo>
                      <a:pt x="500" y="760"/>
                      <a:pt x="464" y="724"/>
                      <a:pt x="464" y="679"/>
                    </a:cubicBezTo>
                    <a:cubicBezTo>
                      <a:pt x="464" y="635"/>
                      <a:pt x="500" y="599"/>
                      <a:pt x="545" y="599"/>
                    </a:cubicBezTo>
                    <a:cubicBezTo>
                      <a:pt x="589" y="599"/>
                      <a:pt x="625" y="635"/>
                      <a:pt x="625" y="679"/>
                    </a:cubicBezTo>
                    <a:cubicBezTo>
                      <a:pt x="625" y="724"/>
                      <a:pt x="589" y="760"/>
                      <a:pt x="545" y="760"/>
                    </a:cubicBezTo>
                    <a:close/>
                    <a:moveTo>
                      <a:pt x="662" y="540"/>
                    </a:moveTo>
                    <a:cubicBezTo>
                      <a:pt x="609" y="540"/>
                      <a:pt x="566" y="497"/>
                      <a:pt x="566" y="444"/>
                    </a:cubicBezTo>
                    <a:cubicBezTo>
                      <a:pt x="566" y="391"/>
                      <a:pt x="609" y="348"/>
                      <a:pt x="662" y="348"/>
                    </a:cubicBezTo>
                    <a:cubicBezTo>
                      <a:pt x="715" y="348"/>
                      <a:pt x="758" y="391"/>
                      <a:pt x="758" y="444"/>
                    </a:cubicBezTo>
                    <a:cubicBezTo>
                      <a:pt x="758" y="497"/>
                      <a:pt x="715" y="540"/>
                      <a:pt x="662" y="540"/>
                    </a:cubicBezTo>
                    <a:close/>
                  </a:path>
                </a:pathLst>
              </a:custGeom>
              <a:solidFill>
                <a:srgbClr val="B43E62"/>
              </a:solidFill>
              <a:ln>
                <a:noFill/>
              </a:ln>
            </p:spPr>
            <p:txBody>
              <a:bodyPr vert="horz" wrap="square" lIns="68580" tIns="34290" rIns="68580" bIns="34290" numCol="1" anchor="t" anchorCtr="0" compatLnSpc="1">
                <a:prstTxWarp prst="textNoShape">
                  <a:avLst/>
                </a:prstTxWarp>
              </a:bodyPr>
              <a:lstStyle/>
              <a:p>
                <a:pPr algn="ctr"/>
                <a:endParaRPr lang="de-DE" sz="675" dirty="0">
                  <a:solidFill>
                    <a:srgbClr val="37373A"/>
                  </a:solidFill>
                  <a:latin typeface="+mj-lt"/>
                </a:endParaRPr>
              </a:p>
            </p:txBody>
          </p:sp>
        </p:grpSp>
      </p:grpSp>
      <p:sp>
        <p:nvSpPr>
          <p:cNvPr id="66" name="Rectangle 25">
            <a:extLst>
              <a:ext uri="{FF2B5EF4-FFF2-40B4-BE49-F238E27FC236}">
                <a16:creationId xmlns:a16="http://schemas.microsoft.com/office/drawing/2014/main" id="{569D6F1F-02F8-4D44-B099-41FA98645E71}"/>
              </a:ext>
            </a:extLst>
          </p:cNvPr>
          <p:cNvSpPr>
            <a:spLocks noChangeArrowheads="1"/>
          </p:cNvSpPr>
          <p:nvPr/>
        </p:nvSpPr>
        <p:spPr bwMode="auto">
          <a:xfrm>
            <a:off x="3610893" y="2388648"/>
            <a:ext cx="1620000" cy="438069"/>
          </a:xfrm>
          <a:prstGeom prst="rect">
            <a:avLst/>
          </a:prstGeom>
          <a:solidFill>
            <a:schemeClr val="bg1"/>
          </a:solidFill>
          <a:ln w="9525" cap="rnd" cmpd="sng" algn="ctr">
            <a:noFill/>
            <a:prstDash val="solid"/>
            <a:round/>
            <a:headEnd type="none" w="med" len="med"/>
            <a:tailEnd type="none" w="med" len="med"/>
          </a:ln>
        </p:spPr>
        <p:txBody>
          <a:bodyPr wrap="square" lIns="0" tIns="0" rIns="0" bIns="0" anchor="ctr">
            <a:spAutoFit/>
          </a:bodyPr>
          <a:lstStyle/>
          <a:p>
            <a:pPr algn="ctr">
              <a:lnSpc>
                <a:spcPct val="90000"/>
              </a:lnSpc>
              <a:spcAft>
                <a:spcPts val="450"/>
              </a:spcAft>
            </a:pPr>
            <a:r>
              <a:rPr lang="de-DE" sz="900" b="1" dirty="0">
                <a:solidFill>
                  <a:srgbClr val="3C8C93"/>
                </a:solidFill>
                <a:latin typeface="+mj-lt"/>
              </a:rPr>
              <a:t>Negativer Individualtest</a:t>
            </a:r>
          </a:p>
          <a:p>
            <a:pPr algn="ctr">
              <a:lnSpc>
                <a:spcPct val="90000"/>
              </a:lnSpc>
              <a:spcAft>
                <a:spcPts val="450"/>
              </a:spcAft>
            </a:pPr>
            <a:r>
              <a:rPr lang="de-DE" sz="900" spc="-15" dirty="0">
                <a:solidFill>
                  <a:srgbClr val="37373A"/>
                </a:solidFill>
                <a:latin typeface="+mj-lt"/>
              </a:rPr>
              <a:t>Das Kind darf die Einrichtung am nächsten Tag besuchen.</a:t>
            </a:r>
          </a:p>
        </p:txBody>
      </p:sp>
      <p:grpSp>
        <p:nvGrpSpPr>
          <p:cNvPr id="123" name="Group 122">
            <a:extLst>
              <a:ext uri="{FF2B5EF4-FFF2-40B4-BE49-F238E27FC236}">
                <a16:creationId xmlns:a16="http://schemas.microsoft.com/office/drawing/2014/main" id="{C4A7852E-32E2-448E-9013-5A48D466BEE3}"/>
              </a:ext>
            </a:extLst>
          </p:cNvPr>
          <p:cNvGrpSpPr/>
          <p:nvPr/>
        </p:nvGrpSpPr>
        <p:grpSpPr>
          <a:xfrm>
            <a:off x="4150893" y="1746131"/>
            <a:ext cx="540000" cy="540000"/>
            <a:chOff x="4150893" y="1613161"/>
            <a:chExt cx="540000" cy="540000"/>
          </a:xfrm>
        </p:grpSpPr>
        <p:grpSp>
          <p:nvGrpSpPr>
            <p:cNvPr id="124" name="Group 123">
              <a:extLst>
                <a:ext uri="{FF2B5EF4-FFF2-40B4-BE49-F238E27FC236}">
                  <a16:creationId xmlns:a16="http://schemas.microsoft.com/office/drawing/2014/main" id="{9CA4611C-72FD-4B86-A794-706C0EAE28D6}"/>
                </a:ext>
              </a:extLst>
            </p:cNvPr>
            <p:cNvGrpSpPr>
              <a:grpSpLocks noChangeAspect="1"/>
            </p:cNvGrpSpPr>
            <p:nvPr/>
          </p:nvGrpSpPr>
          <p:grpSpPr>
            <a:xfrm>
              <a:off x="4277420" y="1739689"/>
              <a:ext cx="286945" cy="286945"/>
              <a:chOff x="1983582" y="2081213"/>
              <a:chExt cx="1647825" cy="1647825"/>
            </a:xfrm>
          </p:grpSpPr>
          <p:sp>
            <p:nvSpPr>
              <p:cNvPr id="130" name="AutoShape 5">
                <a:extLst>
                  <a:ext uri="{FF2B5EF4-FFF2-40B4-BE49-F238E27FC236}">
                    <a16:creationId xmlns:a16="http://schemas.microsoft.com/office/drawing/2014/main" id="{F4EDAC01-AFAC-41E4-9BD1-4D0B9BEE5FA6}"/>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grpSp>
            <p:nvGrpSpPr>
              <p:cNvPr id="131" name="Group 130">
                <a:extLst>
                  <a:ext uri="{FF2B5EF4-FFF2-40B4-BE49-F238E27FC236}">
                    <a16:creationId xmlns:a16="http://schemas.microsoft.com/office/drawing/2014/main" id="{F4FAF0F9-C4CC-4080-B048-9EDFE446F48E}"/>
                  </a:ext>
                </a:extLst>
              </p:cNvPr>
              <p:cNvGrpSpPr/>
              <p:nvPr/>
            </p:nvGrpSpPr>
            <p:grpSpPr>
              <a:xfrm>
                <a:off x="2145507" y="2316163"/>
                <a:ext cx="1323975" cy="1176338"/>
                <a:chOff x="2145507" y="2316163"/>
                <a:chExt cx="1323975" cy="1176338"/>
              </a:xfrm>
            </p:grpSpPr>
            <p:sp>
              <p:nvSpPr>
                <p:cNvPr id="132" name="Freeform 7">
                  <a:extLst>
                    <a:ext uri="{FF2B5EF4-FFF2-40B4-BE49-F238E27FC236}">
                      <a16:creationId xmlns:a16="http://schemas.microsoft.com/office/drawing/2014/main" id="{20351DE2-1178-4FDE-983F-94F7C3B5CE2E}"/>
                    </a:ext>
                  </a:extLst>
                </p:cNvPr>
                <p:cNvSpPr>
                  <a:spLocks noEditPoints="1"/>
                </p:cNvSpPr>
                <p:nvPr/>
              </p:nvSpPr>
              <p:spPr bwMode="auto">
                <a:xfrm>
                  <a:off x="2145507" y="2316163"/>
                  <a:ext cx="1323975" cy="1176338"/>
                </a:xfrm>
                <a:custGeom>
                  <a:avLst/>
                  <a:gdLst>
                    <a:gd name="T0" fmla="*/ 1626 w 1850"/>
                    <a:gd name="T1" fmla="*/ 771 h 1644"/>
                    <a:gd name="T2" fmla="*/ 1507 w 1850"/>
                    <a:gd name="T3" fmla="*/ 764 h 1644"/>
                    <a:gd name="T4" fmla="*/ 1431 w 1850"/>
                    <a:gd name="T5" fmla="*/ 571 h 1644"/>
                    <a:gd name="T6" fmla="*/ 1496 w 1850"/>
                    <a:gd name="T7" fmla="*/ 528 h 1644"/>
                    <a:gd name="T8" fmla="*/ 1592 w 1850"/>
                    <a:gd name="T9" fmla="*/ 418 h 1644"/>
                    <a:gd name="T10" fmla="*/ 1462 w 1850"/>
                    <a:gd name="T11" fmla="*/ 470 h 1644"/>
                    <a:gd name="T12" fmla="*/ 1393 w 1850"/>
                    <a:gd name="T13" fmla="*/ 506 h 1644"/>
                    <a:gd name="T14" fmla="*/ 1268 w 1850"/>
                    <a:gd name="T15" fmla="*/ 348 h 1644"/>
                    <a:gd name="T16" fmla="*/ 1322 w 1850"/>
                    <a:gd name="T17" fmla="*/ 242 h 1644"/>
                    <a:gd name="T18" fmla="*/ 1401 w 1850"/>
                    <a:gd name="T19" fmla="*/ 44 h 1644"/>
                    <a:gd name="T20" fmla="*/ 1233 w 1850"/>
                    <a:gd name="T21" fmla="*/ 190 h 1644"/>
                    <a:gd name="T22" fmla="*/ 1168 w 1850"/>
                    <a:gd name="T23" fmla="*/ 289 h 1644"/>
                    <a:gd name="T24" fmla="*/ 962 w 1850"/>
                    <a:gd name="T25" fmla="*/ 254 h 1644"/>
                    <a:gd name="T26" fmla="*/ 958 w 1850"/>
                    <a:gd name="T27" fmla="*/ 178 h 1644"/>
                    <a:gd name="T28" fmla="*/ 938 w 1850"/>
                    <a:gd name="T29" fmla="*/ 42 h 1644"/>
                    <a:gd name="T30" fmla="*/ 892 w 1850"/>
                    <a:gd name="T31" fmla="*/ 178 h 1644"/>
                    <a:gd name="T32" fmla="*/ 888 w 1850"/>
                    <a:gd name="T33" fmla="*/ 254 h 1644"/>
                    <a:gd name="T34" fmla="*/ 682 w 1850"/>
                    <a:gd name="T35" fmla="*/ 289 h 1644"/>
                    <a:gd name="T36" fmla="*/ 617 w 1850"/>
                    <a:gd name="T37" fmla="*/ 190 h 1644"/>
                    <a:gd name="T38" fmla="*/ 449 w 1850"/>
                    <a:gd name="T39" fmla="*/ 44 h 1644"/>
                    <a:gd name="T40" fmla="*/ 528 w 1850"/>
                    <a:gd name="T41" fmla="*/ 242 h 1644"/>
                    <a:gd name="T42" fmla="*/ 582 w 1850"/>
                    <a:gd name="T43" fmla="*/ 348 h 1644"/>
                    <a:gd name="T44" fmla="*/ 456 w 1850"/>
                    <a:gd name="T45" fmla="*/ 505 h 1644"/>
                    <a:gd name="T46" fmla="*/ 387 w 1850"/>
                    <a:gd name="T47" fmla="*/ 470 h 1644"/>
                    <a:gd name="T48" fmla="*/ 258 w 1850"/>
                    <a:gd name="T49" fmla="*/ 418 h 1644"/>
                    <a:gd name="T50" fmla="*/ 353 w 1850"/>
                    <a:gd name="T51" fmla="*/ 528 h 1644"/>
                    <a:gd name="T52" fmla="*/ 418 w 1850"/>
                    <a:gd name="T53" fmla="*/ 570 h 1644"/>
                    <a:gd name="T54" fmla="*/ 343 w 1850"/>
                    <a:gd name="T55" fmla="*/ 764 h 1644"/>
                    <a:gd name="T56" fmla="*/ 224 w 1850"/>
                    <a:gd name="T57" fmla="*/ 771 h 1644"/>
                    <a:gd name="T58" fmla="*/ 13 w 1850"/>
                    <a:gd name="T59" fmla="*/ 802 h 1644"/>
                    <a:gd name="T60" fmla="*/ 224 w 1850"/>
                    <a:gd name="T61" fmla="*/ 873 h 1644"/>
                    <a:gd name="T62" fmla="*/ 343 w 1850"/>
                    <a:gd name="T63" fmla="*/ 880 h 1644"/>
                    <a:gd name="T64" fmla="*/ 415 w 1850"/>
                    <a:gd name="T65" fmla="*/ 1076 h 1644"/>
                    <a:gd name="T66" fmla="*/ 352 w 1850"/>
                    <a:gd name="T67" fmla="*/ 1118 h 1644"/>
                    <a:gd name="T68" fmla="*/ 258 w 1850"/>
                    <a:gd name="T69" fmla="*/ 1226 h 1644"/>
                    <a:gd name="T70" fmla="*/ 385 w 1850"/>
                    <a:gd name="T71" fmla="*/ 1175 h 1644"/>
                    <a:gd name="T72" fmla="*/ 453 w 1850"/>
                    <a:gd name="T73" fmla="*/ 1140 h 1644"/>
                    <a:gd name="T74" fmla="*/ 582 w 1850"/>
                    <a:gd name="T75" fmla="*/ 1296 h 1644"/>
                    <a:gd name="T76" fmla="*/ 528 w 1850"/>
                    <a:gd name="T77" fmla="*/ 1402 h 1644"/>
                    <a:gd name="T78" fmla="*/ 449 w 1850"/>
                    <a:gd name="T79" fmla="*/ 1600 h 1644"/>
                    <a:gd name="T80" fmla="*/ 617 w 1850"/>
                    <a:gd name="T81" fmla="*/ 1454 h 1644"/>
                    <a:gd name="T82" fmla="*/ 682 w 1850"/>
                    <a:gd name="T83" fmla="*/ 1355 h 1644"/>
                    <a:gd name="T84" fmla="*/ 888 w 1850"/>
                    <a:gd name="T85" fmla="*/ 1390 h 1644"/>
                    <a:gd name="T86" fmla="*/ 892 w 1850"/>
                    <a:gd name="T87" fmla="*/ 1466 h 1644"/>
                    <a:gd name="T88" fmla="*/ 912 w 1850"/>
                    <a:gd name="T89" fmla="*/ 1602 h 1644"/>
                    <a:gd name="T90" fmla="*/ 958 w 1850"/>
                    <a:gd name="T91" fmla="*/ 1466 h 1644"/>
                    <a:gd name="T92" fmla="*/ 962 w 1850"/>
                    <a:gd name="T93" fmla="*/ 1390 h 1644"/>
                    <a:gd name="T94" fmla="*/ 1168 w 1850"/>
                    <a:gd name="T95" fmla="*/ 1355 h 1644"/>
                    <a:gd name="T96" fmla="*/ 1233 w 1850"/>
                    <a:gd name="T97" fmla="*/ 1454 h 1644"/>
                    <a:gd name="T98" fmla="*/ 1401 w 1850"/>
                    <a:gd name="T99" fmla="*/ 1600 h 1644"/>
                    <a:gd name="T100" fmla="*/ 1322 w 1850"/>
                    <a:gd name="T101" fmla="*/ 1402 h 1644"/>
                    <a:gd name="T102" fmla="*/ 1268 w 1850"/>
                    <a:gd name="T103" fmla="*/ 1296 h 1644"/>
                    <a:gd name="T104" fmla="*/ 1393 w 1850"/>
                    <a:gd name="T105" fmla="*/ 1139 h 1644"/>
                    <a:gd name="T106" fmla="*/ 1463 w 1850"/>
                    <a:gd name="T107" fmla="*/ 1174 h 1644"/>
                    <a:gd name="T108" fmla="*/ 1592 w 1850"/>
                    <a:gd name="T109" fmla="*/ 1226 h 1644"/>
                    <a:gd name="T110" fmla="*/ 1496 w 1850"/>
                    <a:gd name="T111" fmla="*/ 1116 h 1644"/>
                    <a:gd name="T112" fmla="*/ 1432 w 1850"/>
                    <a:gd name="T113" fmla="*/ 1073 h 1644"/>
                    <a:gd name="T114" fmla="*/ 1507 w 1850"/>
                    <a:gd name="T115" fmla="*/ 880 h 1644"/>
                    <a:gd name="T116" fmla="*/ 1626 w 1850"/>
                    <a:gd name="T117" fmla="*/ 873 h 1644"/>
                    <a:gd name="T118" fmla="*/ 1837 w 1850"/>
                    <a:gd name="T119" fmla="*/ 842 h 1644"/>
                    <a:gd name="T120" fmla="*/ 445 w 1850"/>
                    <a:gd name="T121" fmla="*/ 822 h 1644"/>
                    <a:gd name="T122" fmla="*/ 925 w 1850"/>
                    <a:gd name="T123" fmla="*/ 1302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50" h="1644">
                      <a:moveTo>
                        <a:pt x="1737" y="720"/>
                      </a:moveTo>
                      <a:cubicBezTo>
                        <a:pt x="1710" y="720"/>
                        <a:pt x="1686" y="731"/>
                        <a:pt x="1668" y="748"/>
                      </a:cubicBezTo>
                      <a:cubicBezTo>
                        <a:pt x="1656" y="759"/>
                        <a:pt x="1642" y="767"/>
                        <a:pt x="1626" y="771"/>
                      </a:cubicBezTo>
                      <a:cubicBezTo>
                        <a:pt x="1603" y="777"/>
                        <a:pt x="1603" y="777"/>
                        <a:pt x="1603" y="777"/>
                      </a:cubicBezTo>
                      <a:cubicBezTo>
                        <a:pt x="1579" y="783"/>
                        <a:pt x="1553" y="781"/>
                        <a:pt x="1530" y="773"/>
                      </a:cubicBezTo>
                      <a:cubicBezTo>
                        <a:pt x="1507" y="764"/>
                        <a:pt x="1507" y="764"/>
                        <a:pt x="1507" y="764"/>
                      </a:cubicBezTo>
                      <a:cubicBezTo>
                        <a:pt x="1507" y="764"/>
                        <a:pt x="1469" y="737"/>
                        <a:pt x="1449" y="704"/>
                      </a:cubicBezTo>
                      <a:cubicBezTo>
                        <a:pt x="1442" y="672"/>
                        <a:pt x="1432" y="641"/>
                        <a:pt x="1419" y="611"/>
                      </a:cubicBezTo>
                      <a:cubicBezTo>
                        <a:pt x="1423" y="590"/>
                        <a:pt x="1431" y="571"/>
                        <a:pt x="1431" y="571"/>
                      </a:cubicBezTo>
                      <a:cubicBezTo>
                        <a:pt x="1441" y="559"/>
                        <a:pt x="1441" y="559"/>
                        <a:pt x="1441" y="559"/>
                      </a:cubicBezTo>
                      <a:cubicBezTo>
                        <a:pt x="1451" y="547"/>
                        <a:pt x="1466" y="537"/>
                        <a:pt x="1481" y="533"/>
                      </a:cubicBezTo>
                      <a:cubicBezTo>
                        <a:pt x="1496" y="528"/>
                        <a:pt x="1496" y="528"/>
                        <a:pt x="1496" y="528"/>
                      </a:cubicBezTo>
                      <a:cubicBezTo>
                        <a:pt x="1506" y="526"/>
                        <a:pt x="1517" y="526"/>
                        <a:pt x="1527" y="528"/>
                      </a:cubicBezTo>
                      <a:cubicBezTo>
                        <a:pt x="1543" y="532"/>
                        <a:pt x="1561" y="529"/>
                        <a:pt x="1576" y="521"/>
                      </a:cubicBezTo>
                      <a:cubicBezTo>
                        <a:pt x="1612" y="500"/>
                        <a:pt x="1621" y="451"/>
                        <a:pt x="1592" y="418"/>
                      </a:cubicBezTo>
                      <a:cubicBezTo>
                        <a:pt x="1575" y="398"/>
                        <a:pt x="1546" y="390"/>
                        <a:pt x="1520" y="399"/>
                      </a:cubicBezTo>
                      <a:cubicBezTo>
                        <a:pt x="1499" y="407"/>
                        <a:pt x="1484" y="424"/>
                        <a:pt x="1478" y="444"/>
                      </a:cubicBezTo>
                      <a:cubicBezTo>
                        <a:pt x="1475" y="454"/>
                        <a:pt x="1470" y="463"/>
                        <a:pt x="1462" y="470"/>
                      </a:cubicBezTo>
                      <a:cubicBezTo>
                        <a:pt x="1451" y="481"/>
                        <a:pt x="1451" y="481"/>
                        <a:pt x="1451" y="481"/>
                      </a:cubicBezTo>
                      <a:cubicBezTo>
                        <a:pt x="1440" y="493"/>
                        <a:pt x="1424" y="501"/>
                        <a:pt x="1409" y="503"/>
                      </a:cubicBezTo>
                      <a:cubicBezTo>
                        <a:pt x="1393" y="506"/>
                        <a:pt x="1393" y="506"/>
                        <a:pt x="1393" y="506"/>
                      </a:cubicBezTo>
                      <a:cubicBezTo>
                        <a:pt x="1393" y="506"/>
                        <a:pt x="1372" y="504"/>
                        <a:pt x="1352" y="496"/>
                      </a:cubicBezTo>
                      <a:cubicBezTo>
                        <a:pt x="1334" y="472"/>
                        <a:pt x="1313" y="449"/>
                        <a:pt x="1291" y="429"/>
                      </a:cubicBezTo>
                      <a:cubicBezTo>
                        <a:pt x="1272" y="394"/>
                        <a:pt x="1268" y="348"/>
                        <a:pt x="1268" y="348"/>
                      </a:cubicBezTo>
                      <a:cubicBezTo>
                        <a:pt x="1272" y="324"/>
                        <a:pt x="1272" y="324"/>
                        <a:pt x="1272" y="324"/>
                      </a:cubicBezTo>
                      <a:cubicBezTo>
                        <a:pt x="1276" y="300"/>
                        <a:pt x="1288" y="276"/>
                        <a:pt x="1305" y="259"/>
                      </a:cubicBezTo>
                      <a:cubicBezTo>
                        <a:pt x="1322" y="242"/>
                        <a:pt x="1322" y="242"/>
                        <a:pt x="1322" y="242"/>
                      </a:cubicBezTo>
                      <a:cubicBezTo>
                        <a:pt x="1333" y="230"/>
                        <a:pt x="1347" y="222"/>
                        <a:pt x="1363" y="218"/>
                      </a:cubicBezTo>
                      <a:cubicBezTo>
                        <a:pt x="1392" y="209"/>
                        <a:pt x="1418" y="187"/>
                        <a:pt x="1430" y="154"/>
                      </a:cubicBezTo>
                      <a:cubicBezTo>
                        <a:pt x="1444" y="115"/>
                        <a:pt x="1432" y="71"/>
                        <a:pt x="1401" y="44"/>
                      </a:cubicBezTo>
                      <a:cubicBezTo>
                        <a:pt x="1351" y="0"/>
                        <a:pt x="1277" y="14"/>
                        <a:pt x="1245" y="69"/>
                      </a:cubicBezTo>
                      <a:cubicBezTo>
                        <a:pt x="1232" y="92"/>
                        <a:pt x="1229" y="119"/>
                        <a:pt x="1234" y="143"/>
                      </a:cubicBezTo>
                      <a:cubicBezTo>
                        <a:pt x="1238" y="159"/>
                        <a:pt x="1238" y="175"/>
                        <a:pt x="1233" y="190"/>
                      </a:cubicBezTo>
                      <a:cubicBezTo>
                        <a:pt x="1227" y="213"/>
                        <a:pt x="1227" y="213"/>
                        <a:pt x="1227" y="213"/>
                      </a:cubicBezTo>
                      <a:cubicBezTo>
                        <a:pt x="1220" y="237"/>
                        <a:pt x="1206" y="259"/>
                        <a:pt x="1187" y="274"/>
                      </a:cubicBezTo>
                      <a:cubicBezTo>
                        <a:pt x="1168" y="289"/>
                        <a:pt x="1168" y="289"/>
                        <a:pt x="1168" y="289"/>
                      </a:cubicBezTo>
                      <a:cubicBezTo>
                        <a:pt x="1168" y="289"/>
                        <a:pt x="1126" y="309"/>
                        <a:pt x="1087" y="309"/>
                      </a:cubicBezTo>
                      <a:cubicBezTo>
                        <a:pt x="1058" y="300"/>
                        <a:pt x="1029" y="294"/>
                        <a:pt x="998" y="290"/>
                      </a:cubicBezTo>
                      <a:cubicBezTo>
                        <a:pt x="978" y="276"/>
                        <a:pt x="962" y="254"/>
                        <a:pt x="962" y="254"/>
                      </a:cubicBezTo>
                      <a:cubicBezTo>
                        <a:pt x="957" y="239"/>
                        <a:pt x="957" y="239"/>
                        <a:pt x="957" y="239"/>
                      </a:cubicBezTo>
                      <a:cubicBezTo>
                        <a:pt x="951" y="225"/>
                        <a:pt x="950" y="208"/>
                        <a:pt x="954" y="193"/>
                      </a:cubicBezTo>
                      <a:cubicBezTo>
                        <a:pt x="958" y="178"/>
                        <a:pt x="958" y="178"/>
                        <a:pt x="958" y="178"/>
                      </a:cubicBezTo>
                      <a:cubicBezTo>
                        <a:pt x="960" y="168"/>
                        <a:pt x="966" y="159"/>
                        <a:pt x="973" y="151"/>
                      </a:cubicBezTo>
                      <a:cubicBezTo>
                        <a:pt x="986" y="137"/>
                        <a:pt x="993" y="116"/>
                        <a:pt x="989" y="94"/>
                      </a:cubicBezTo>
                      <a:cubicBezTo>
                        <a:pt x="985" y="68"/>
                        <a:pt x="964" y="47"/>
                        <a:pt x="938" y="42"/>
                      </a:cubicBezTo>
                      <a:cubicBezTo>
                        <a:pt x="896" y="34"/>
                        <a:pt x="860" y="66"/>
                        <a:pt x="860" y="106"/>
                      </a:cubicBezTo>
                      <a:cubicBezTo>
                        <a:pt x="860" y="124"/>
                        <a:pt x="866" y="139"/>
                        <a:pt x="877" y="151"/>
                      </a:cubicBezTo>
                      <a:cubicBezTo>
                        <a:pt x="884" y="159"/>
                        <a:pt x="890" y="168"/>
                        <a:pt x="892" y="178"/>
                      </a:cubicBezTo>
                      <a:cubicBezTo>
                        <a:pt x="896" y="193"/>
                        <a:pt x="896" y="193"/>
                        <a:pt x="896" y="193"/>
                      </a:cubicBezTo>
                      <a:cubicBezTo>
                        <a:pt x="900" y="208"/>
                        <a:pt x="899" y="225"/>
                        <a:pt x="893" y="239"/>
                      </a:cubicBezTo>
                      <a:cubicBezTo>
                        <a:pt x="888" y="254"/>
                        <a:pt x="888" y="254"/>
                        <a:pt x="888" y="254"/>
                      </a:cubicBezTo>
                      <a:cubicBezTo>
                        <a:pt x="888" y="254"/>
                        <a:pt x="872" y="276"/>
                        <a:pt x="852" y="290"/>
                      </a:cubicBezTo>
                      <a:cubicBezTo>
                        <a:pt x="821" y="294"/>
                        <a:pt x="792" y="300"/>
                        <a:pt x="763" y="309"/>
                      </a:cubicBezTo>
                      <a:cubicBezTo>
                        <a:pt x="724" y="309"/>
                        <a:pt x="682" y="289"/>
                        <a:pt x="682" y="289"/>
                      </a:cubicBezTo>
                      <a:cubicBezTo>
                        <a:pt x="663" y="274"/>
                        <a:pt x="663" y="274"/>
                        <a:pt x="663" y="274"/>
                      </a:cubicBezTo>
                      <a:cubicBezTo>
                        <a:pt x="644" y="259"/>
                        <a:pt x="630" y="237"/>
                        <a:pt x="623" y="213"/>
                      </a:cubicBezTo>
                      <a:cubicBezTo>
                        <a:pt x="617" y="190"/>
                        <a:pt x="617" y="190"/>
                        <a:pt x="617" y="190"/>
                      </a:cubicBezTo>
                      <a:cubicBezTo>
                        <a:pt x="612" y="175"/>
                        <a:pt x="612" y="159"/>
                        <a:pt x="616" y="143"/>
                      </a:cubicBezTo>
                      <a:cubicBezTo>
                        <a:pt x="621" y="119"/>
                        <a:pt x="618" y="92"/>
                        <a:pt x="605" y="69"/>
                      </a:cubicBezTo>
                      <a:cubicBezTo>
                        <a:pt x="573" y="14"/>
                        <a:pt x="499" y="0"/>
                        <a:pt x="449" y="44"/>
                      </a:cubicBezTo>
                      <a:cubicBezTo>
                        <a:pt x="418" y="71"/>
                        <a:pt x="406" y="115"/>
                        <a:pt x="420" y="154"/>
                      </a:cubicBezTo>
                      <a:cubicBezTo>
                        <a:pt x="432" y="187"/>
                        <a:pt x="458" y="209"/>
                        <a:pt x="487" y="218"/>
                      </a:cubicBezTo>
                      <a:cubicBezTo>
                        <a:pt x="503" y="222"/>
                        <a:pt x="517" y="230"/>
                        <a:pt x="528" y="242"/>
                      </a:cubicBezTo>
                      <a:cubicBezTo>
                        <a:pt x="545" y="259"/>
                        <a:pt x="545" y="259"/>
                        <a:pt x="545" y="259"/>
                      </a:cubicBezTo>
                      <a:cubicBezTo>
                        <a:pt x="562" y="276"/>
                        <a:pt x="574" y="300"/>
                        <a:pt x="578" y="324"/>
                      </a:cubicBezTo>
                      <a:cubicBezTo>
                        <a:pt x="582" y="348"/>
                        <a:pt x="582" y="348"/>
                        <a:pt x="582" y="348"/>
                      </a:cubicBezTo>
                      <a:cubicBezTo>
                        <a:pt x="582" y="348"/>
                        <a:pt x="578" y="394"/>
                        <a:pt x="559" y="429"/>
                      </a:cubicBezTo>
                      <a:cubicBezTo>
                        <a:pt x="537" y="449"/>
                        <a:pt x="517" y="471"/>
                        <a:pt x="499" y="495"/>
                      </a:cubicBezTo>
                      <a:cubicBezTo>
                        <a:pt x="478" y="503"/>
                        <a:pt x="456" y="505"/>
                        <a:pt x="456" y="505"/>
                      </a:cubicBezTo>
                      <a:cubicBezTo>
                        <a:pt x="440" y="503"/>
                        <a:pt x="440" y="503"/>
                        <a:pt x="440" y="503"/>
                      </a:cubicBezTo>
                      <a:cubicBezTo>
                        <a:pt x="425" y="500"/>
                        <a:pt x="409" y="492"/>
                        <a:pt x="398" y="481"/>
                      </a:cubicBezTo>
                      <a:cubicBezTo>
                        <a:pt x="387" y="470"/>
                        <a:pt x="387" y="470"/>
                        <a:pt x="387" y="470"/>
                      </a:cubicBezTo>
                      <a:cubicBezTo>
                        <a:pt x="379" y="463"/>
                        <a:pt x="374" y="454"/>
                        <a:pt x="371" y="444"/>
                      </a:cubicBezTo>
                      <a:cubicBezTo>
                        <a:pt x="365" y="424"/>
                        <a:pt x="351" y="407"/>
                        <a:pt x="329" y="400"/>
                      </a:cubicBezTo>
                      <a:cubicBezTo>
                        <a:pt x="304" y="391"/>
                        <a:pt x="275" y="398"/>
                        <a:pt x="258" y="418"/>
                      </a:cubicBezTo>
                      <a:cubicBezTo>
                        <a:pt x="229" y="451"/>
                        <a:pt x="238" y="499"/>
                        <a:pt x="274" y="520"/>
                      </a:cubicBezTo>
                      <a:cubicBezTo>
                        <a:pt x="289" y="529"/>
                        <a:pt x="306" y="531"/>
                        <a:pt x="322" y="527"/>
                      </a:cubicBezTo>
                      <a:cubicBezTo>
                        <a:pt x="332" y="525"/>
                        <a:pt x="343" y="525"/>
                        <a:pt x="353" y="528"/>
                      </a:cubicBezTo>
                      <a:cubicBezTo>
                        <a:pt x="368" y="532"/>
                        <a:pt x="368" y="532"/>
                        <a:pt x="368" y="532"/>
                      </a:cubicBezTo>
                      <a:cubicBezTo>
                        <a:pt x="383" y="536"/>
                        <a:pt x="398" y="546"/>
                        <a:pt x="408" y="558"/>
                      </a:cubicBezTo>
                      <a:cubicBezTo>
                        <a:pt x="418" y="570"/>
                        <a:pt x="418" y="570"/>
                        <a:pt x="418" y="570"/>
                      </a:cubicBezTo>
                      <a:cubicBezTo>
                        <a:pt x="418" y="570"/>
                        <a:pt x="427" y="591"/>
                        <a:pt x="430" y="613"/>
                      </a:cubicBezTo>
                      <a:cubicBezTo>
                        <a:pt x="418" y="642"/>
                        <a:pt x="408" y="672"/>
                        <a:pt x="401" y="704"/>
                      </a:cubicBezTo>
                      <a:cubicBezTo>
                        <a:pt x="381" y="737"/>
                        <a:pt x="343" y="764"/>
                        <a:pt x="343" y="764"/>
                      </a:cubicBezTo>
                      <a:cubicBezTo>
                        <a:pt x="320" y="773"/>
                        <a:pt x="320" y="773"/>
                        <a:pt x="320" y="773"/>
                      </a:cubicBezTo>
                      <a:cubicBezTo>
                        <a:pt x="297" y="781"/>
                        <a:pt x="271" y="783"/>
                        <a:pt x="247" y="777"/>
                      </a:cubicBezTo>
                      <a:cubicBezTo>
                        <a:pt x="224" y="771"/>
                        <a:pt x="224" y="771"/>
                        <a:pt x="224" y="771"/>
                      </a:cubicBezTo>
                      <a:cubicBezTo>
                        <a:pt x="208" y="767"/>
                        <a:pt x="194" y="759"/>
                        <a:pt x="183" y="748"/>
                      </a:cubicBezTo>
                      <a:cubicBezTo>
                        <a:pt x="160" y="727"/>
                        <a:pt x="128" y="716"/>
                        <a:pt x="93" y="722"/>
                      </a:cubicBezTo>
                      <a:cubicBezTo>
                        <a:pt x="53" y="729"/>
                        <a:pt x="21" y="761"/>
                        <a:pt x="13" y="802"/>
                      </a:cubicBezTo>
                      <a:cubicBezTo>
                        <a:pt x="0" y="867"/>
                        <a:pt x="50" y="924"/>
                        <a:pt x="113" y="924"/>
                      </a:cubicBezTo>
                      <a:cubicBezTo>
                        <a:pt x="140" y="924"/>
                        <a:pt x="164" y="913"/>
                        <a:pt x="182" y="896"/>
                      </a:cubicBezTo>
                      <a:cubicBezTo>
                        <a:pt x="194" y="885"/>
                        <a:pt x="208" y="877"/>
                        <a:pt x="224" y="873"/>
                      </a:cubicBezTo>
                      <a:cubicBezTo>
                        <a:pt x="247" y="867"/>
                        <a:pt x="247" y="867"/>
                        <a:pt x="247" y="867"/>
                      </a:cubicBezTo>
                      <a:cubicBezTo>
                        <a:pt x="271" y="861"/>
                        <a:pt x="297" y="863"/>
                        <a:pt x="320" y="871"/>
                      </a:cubicBezTo>
                      <a:cubicBezTo>
                        <a:pt x="343" y="880"/>
                        <a:pt x="343" y="880"/>
                        <a:pt x="343" y="880"/>
                      </a:cubicBezTo>
                      <a:cubicBezTo>
                        <a:pt x="343" y="880"/>
                        <a:pt x="381" y="907"/>
                        <a:pt x="401" y="940"/>
                      </a:cubicBezTo>
                      <a:cubicBezTo>
                        <a:pt x="407" y="970"/>
                        <a:pt x="417" y="999"/>
                        <a:pt x="428" y="1026"/>
                      </a:cubicBezTo>
                      <a:cubicBezTo>
                        <a:pt x="427" y="1051"/>
                        <a:pt x="415" y="1076"/>
                        <a:pt x="415" y="1076"/>
                      </a:cubicBezTo>
                      <a:cubicBezTo>
                        <a:pt x="405" y="1088"/>
                        <a:pt x="405" y="1088"/>
                        <a:pt x="405" y="1088"/>
                      </a:cubicBezTo>
                      <a:cubicBezTo>
                        <a:pt x="396" y="1100"/>
                        <a:pt x="381" y="1109"/>
                        <a:pt x="366" y="1114"/>
                      </a:cubicBezTo>
                      <a:cubicBezTo>
                        <a:pt x="352" y="1118"/>
                        <a:pt x="352" y="1118"/>
                        <a:pt x="352" y="1118"/>
                      </a:cubicBezTo>
                      <a:cubicBezTo>
                        <a:pt x="342" y="1121"/>
                        <a:pt x="331" y="1121"/>
                        <a:pt x="321" y="1118"/>
                      </a:cubicBezTo>
                      <a:cubicBezTo>
                        <a:pt x="305" y="1115"/>
                        <a:pt x="288" y="1117"/>
                        <a:pt x="274" y="1125"/>
                      </a:cubicBezTo>
                      <a:cubicBezTo>
                        <a:pt x="239" y="1146"/>
                        <a:pt x="229" y="1194"/>
                        <a:pt x="258" y="1226"/>
                      </a:cubicBezTo>
                      <a:cubicBezTo>
                        <a:pt x="275" y="1245"/>
                        <a:pt x="303" y="1253"/>
                        <a:pt x="328" y="1244"/>
                      </a:cubicBezTo>
                      <a:cubicBezTo>
                        <a:pt x="349" y="1236"/>
                        <a:pt x="364" y="1220"/>
                        <a:pt x="369" y="1201"/>
                      </a:cubicBezTo>
                      <a:cubicBezTo>
                        <a:pt x="372" y="1191"/>
                        <a:pt x="377" y="1182"/>
                        <a:pt x="385" y="1175"/>
                      </a:cubicBezTo>
                      <a:cubicBezTo>
                        <a:pt x="396" y="1164"/>
                        <a:pt x="396" y="1164"/>
                        <a:pt x="396" y="1164"/>
                      </a:cubicBezTo>
                      <a:cubicBezTo>
                        <a:pt x="407" y="1153"/>
                        <a:pt x="422" y="1145"/>
                        <a:pt x="437" y="1142"/>
                      </a:cubicBezTo>
                      <a:cubicBezTo>
                        <a:pt x="453" y="1140"/>
                        <a:pt x="453" y="1140"/>
                        <a:pt x="453" y="1140"/>
                      </a:cubicBezTo>
                      <a:cubicBezTo>
                        <a:pt x="453" y="1140"/>
                        <a:pt x="480" y="1142"/>
                        <a:pt x="502" y="1153"/>
                      </a:cubicBezTo>
                      <a:cubicBezTo>
                        <a:pt x="519" y="1175"/>
                        <a:pt x="538" y="1196"/>
                        <a:pt x="559" y="1215"/>
                      </a:cubicBezTo>
                      <a:cubicBezTo>
                        <a:pt x="578" y="1250"/>
                        <a:pt x="582" y="1296"/>
                        <a:pt x="582" y="1296"/>
                      </a:cubicBezTo>
                      <a:cubicBezTo>
                        <a:pt x="578" y="1320"/>
                        <a:pt x="578" y="1320"/>
                        <a:pt x="578" y="1320"/>
                      </a:cubicBezTo>
                      <a:cubicBezTo>
                        <a:pt x="574" y="1344"/>
                        <a:pt x="562" y="1368"/>
                        <a:pt x="545" y="1385"/>
                      </a:cubicBezTo>
                      <a:cubicBezTo>
                        <a:pt x="528" y="1402"/>
                        <a:pt x="528" y="1402"/>
                        <a:pt x="528" y="1402"/>
                      </a:cubicBezTo>
                      <a:cubicBezTo>
                        <a:pt x="517" y="1414"/>
                        <a:pt x="503" y="1422"/>
                        <a:pt x="487" y="1426"/>
                      </a:cubicBezTo>
                      <a:cubicBezTo>
                        <a:pt x="458" y="1435"/>
                        <a:pt x="432" y="1457"/>
                        <a:pt x="420" y="1490"/>
                      </a:cubicBezTo>
                      <a:cubicBezTo>
                        <a:pt x="406" y="1529"/>
                        <a:pt x="418" y="1573"/>
                        <a:pt x="449" y="1600"/>
                      </a:cubicBezTo>
                      <a:cubicBezTo>
                        <a:pt x="499" y="1644"/>
                        <a:pt x="573" y="1630"/>
                        <a:pt x="605" y="1575"/>
                      </a:cubicBezTo>
                      <a:cubicBezTo>
                        <a:pt x="618" y="1552"/>
                        <a:pt x="621" y="1525"/>
                        <a:pt x="616" y="1501"/>
                      </a:cubicBezTo>
                      <a:cubicBezTo>
                        <a:pt x="612" y="1485"/>
                        <a:pt x="612" y="1469"/>
                        <a:pt x="617" y="1454"/>
                      </a:cubicBezTo>
                      <a:cubicBezTo>
                        <a:pt x="623" y="1431"/>
                        <a:pt x="623" y="1431"/>
                        <a:pt x="623" y="1431"/>
                      </a:cubicBezTo>
                      <a:cubicBezTo>
                        <a:pt x="630" y="1407"/>
                        <a:pt x="644" y="1385"/>
                        <a:pt x="663" y="1370"/>
                      </a:cubicBezTo>
                      <a:cubicBezTo>
                        <a:pt x="682" y="1355"/>
                        <a:pt x="682" y="1355"/>
                        <a:pt x="682" y="1355"/>
                      </a:cubicBezTo>
                      <a:cubicBezTo>
                        <a:pt x="682" y="1355"/>
                        <a:pt x="724" y="1335"/>
                        <a:pt x="763" y="1335"/>
                      </a:cubicBezTo>
                      <a:cubicBezTo>
                        <a:pt x="792" y="1344"/>
                        <a:pt x="822" y="1350"/>
                        <a:pt x="852" y="1354"/>
                      </a:cubicBezTo>
                      <a:cubicBezTo>
                        <a:pt x="872" y="1368"/>
                        <a:pt x="888" y="1390"/>
                        <a:pt x="888" y="1390"/>
                      </a:cubicBezTo>
                      <a:cubicBezTo>
                        <a:pt x="893" y="1404"/>
                        <a:pt x="893" y="1404"/>
                        <a:pt x="893" y="1404"/>
                      </a:cubicBezTo>
                      <a:cubicBezTo>
                        <a:pt x="899" y="1419"/>
                        <a:pt x="900" y="1436"/>
                        <a:pt x="896" y="1451"/>
                      </a:cubicBezTo>
                      <a:cubicBezTo>
                        <a:pt x="892" y="1466"/>
                        <a:pt x="892" y="1466"/>
                        <a:pt x="892" y="1466"/>
                      </a:cubicBezTo>
                      <a:cubicBezTo>
                        <a:pt x="889" y="1476"/>
                        <a:pt x="884" y="1485"/>
                        <a:pt x="877" y="1493"/>
                      </a:cubicBezTo>
                      <a:cubicBezTo>
                        <a:pt x="864" y="1507"/>
                        <a:pt x="856" y="1528"/>
                        <a:pt x="861" y="1550"/>
                      </a:cubicBezTo>
                      <a:cubicBezTo>
                        <a:pt x="865" y="1576"/>
                        <a:pt x="886" y="1597"/>
                        <a:pt x="912" y="1602"/>
                      </a:cubicBezTo>
                      <a:cubicBezTo>
                        <a:pt x="954" y="1610"/>
                        <a:pt x="991" y="1578"/>
                        <a:pt x="991" y="1538"/>
                      </a:cubicBezTo>
                      <a:cubicBezTo>
                        <a:pt x="991" y="1520"/>
                        <a:pt x="984" y="1504"/>
                        <a:pt x="973" y="1493"/>
                      </a:cubicBezTo>
                      <a:cubicBezTo>
                        <a:pt x="966" y="1485"/>
                        <a:pt x="961" y="1476"/>
                        <a:pt x="958" y="1466"/>
                      </a:cubicBezTo>
                      <a:cubicBezTo>
                        <a:pt x="954" y="1451"/>
                        <a:pt x="954" y="1451"/>
                        <a:pt x="954" y="1451"/>
                      </a:cubicBezTo>
                      <a:cubicBezTo>
                        <a:pt x="950" y="1436"/>
                        <a:pt x="951" y="1419"/>
                        <a:pt x="957" y="1404"/>
                      </a:cubicBezTo>
                      <a:cubicBezTo>
                        <a:pt x="962" y="1390"/>
                        <a:pt x="962" y="1390"/>
                        <a:pt x="962" y="1390"/>
                      </a:cubicBezTo>
                      <a:cubicBezTo>
                        <a:pt x="962" y="1390"/>
                        <a:pt x="978" y="1368"/>
                        <a:pt x="998" y="1354"/>
                      </a:cubicBezTo>
                      <a:cubicBezTo>
                        <a:pt x="1028" y="1350"/>
                        <a:pt x="1058" y="1344"/>
                        <a:pt x="1087" y="1335"/>
                      </a:cubicBezTo>
                      <a:cubicBezTo>
                        <a:pt x="1126" y="1335"/>
                        <a:pt x="1168" y="1355"/>
                        <a:pt x="1168" y="1355"/>
                      </a:cubicBezTo>
                      <a:cubicBezTo>
                        <a:pt x="1187" y="1370"/>
                        <a:pt x="1187" y="1370"/>
                        <a:pt x="1187" y="1370"/>
                      </a:cubicBezTo>
                      <a:cubicBezTo>
                        <a:pt x="1206" y="1385"/>
                        <a:pt x="1220" y="1407"/>
                        <a:pt x="1227" y="1431"/>
                      </a:cubicBezTo>
                      <a:cubicBezTo>
                        <a:pt x="1233" y="1454"/>
                        <a:pt x="1233" y="1454"/>
                        <a:pt x="1233" y="1454"/>
                      </a:cubicBezTo>
                      <a:cubicBezTo>
                        <a:pt x="1238" y="1469"/>
                        <a:pt x="1238" y="1485"/>
                        <a:pt x="1234" y="1501"/>
                      </a:cubicBezTo>
                      <a:cubicBezTo>
                        <a:pt x="1229" y="1525"/>
                        <a:pt x="1232" y="1552"/>
                        <a:pt x="1245" y="1575"/>
                      </a:cubicBezTo>
                      <a:cubicBezTo>
                        <a:pt x="1277" y="1630"/>
                        <a:pt x="1351" y="1644"/>
                        <a:pt x="1401" y="1600"/>
                      </a:cubicBezTo>
                      <a:cubicBezTo>
                        <a:pt x="1432" y="1573"/>
                        <a:pt x="1444" y="1529"/>
                        <a:pt x="1430" y="1490"/>
                      </a:cubicBezTo>
                      <a:cubicBezTo>
                        <a:pt x="1418" y="1457"/>
                        <a:pt x="1392" y="1435"/>
                        <a:pt x="1363" y="1426"/>
                      </a:cubicBezTo>
                      <a:cubicBezTo>
                        <a:pt x="1347" y="1422"/>
                        <a:pt x="1333" y="1414"/>
                        <a:pt x="1322" y="1402"/>
                      </a:cubicBezTo>
                      <a:cubicBezTo>
                        <a:pt x="1305" y="1385"/>
                        <a:pt x="1305" y="1385"/>
                        <a:pt x="1305" y="1385"/>
                      </a:cubicBezTo>
                      <a:cubicBezTo>
                        <a:pt x="1288" y="1368"/>
                        <a:pt x="1276" y="1344"/>
                        <a:pt x="1272" y="1320"/>
                      </a:cubicBezTo>
                      <a:cubicBezTo>
                        <a:pt x="1268" y="1296"/>
                        <a:pt x="1268" y="1296"/>
                        <a:pt x="1268" y="1296"/>
                      </a:cubicBezTo>
                      <a:cubicBezTo>
                        <a:pt x="1268" y="1296"/>
                        <a:pt x="1272" y="1250"/>
                        <a:pt x="1291" y="1215"/>
                      </a:cubicBezTo>
                      <a:cubicBezTo>
                        <a:pt x="1313" y="1195"/>
                        <a:pt x="1334" y="1172"/>
                        <a:pt x="1352" y="1148"/>
                      </a:cubicBezTo>
                      <a:cubicBezTo>
                        <a:pt x="1372" y="1140"/>
                        <a:pt x="1393" y="1139"/>
                        <a:pt x="1393" y="1139"/>
                      </a:cubicBezTo>
                      <a:cubicBezTo>
                        <a:pt x="1409" y="1141"/>
                        <a:pt x="1409" y="1141"/>
                        <a:pt x="1409" y="1141"/>
                      </a:cubicBezTo>
                      <a:cubicBezTo>
                        <a:pt x="1425" y="1144"/>
                        <a:pt x="1440" y="1152"/>
                        <a:pt x="1452" y="1163"/>
                      </a:cubicBezTo>
                      <a:cubicBezTo>
                        <a:pt x="1463" y="1174"/>
                        <a:pt x="1463" y="1174"/>
                        <a:pt x="1463" y="1174"/>
                      </a:cubicBezTo>
                      <a:cubicBezTo>
                        <a:pt x="1470" y="1181"/>
                        <a:pt x="1476" y="1190"/>
                        <a:pt x="1479" y="1200"/>
                      </a:cubicBezTo>
                      <a:cubicBezTo>
                        <a:pt x="1484" y="1220"/>
                        <a:pt x="1499" y="1237"/>
                        <a:pt x="1520" y="1244"/>
                      </a:cubicBezTo>
                      <a:cubicBezTo>
                        <a:pt x="1546" y="1253"/>
                        <a:pt x="1575" y="1246"/>
                        <a:pt x="1592" y="1226"/>
                      </a:cubicBezTo>
                      <a:cubicBezTo>
                        <a:pt x="1621" y="1193"/>
                        <a:pt x="1612" y="1144"/>
                        <a:pt x="1576" y="1124"/>
                      </a:cubicBezTo>
                      <a:cubicBezTo>
                        <a:pt x="1561" y="1115"/>
                        <a:pt x="1543" y="1113"/>
                        <a:pt x="1528" y="1116"/>
                      </a:cubicBezTo>
                      <a:cubicBezTo>
                        <a:pt x="1517" y="1119"/>
                        <a:pt x="1507" y="1119"/>
                        <a:pt x="1496" y="1116"/>
                      </a:cubicBezTo>
                      <a:cubicBezTo>
                        <a:pt x="1482" y="1112"/>
                        <a:pt x="1482" y="1112"/>
                        <a:pt x="1482" y="1112"/>
                      </a:cubicBezTo>
                      <a:cubicBezTo>
                        <a:pt x="1466" y="1107"/>
                        <a:pt x="1451" y="1098"/>
                        <a:pt x="1442" y="1085"/>
                      </a:cubicBezTo>
                      <a:cubicBezTo>
                        <a:pt x="1432" y="1073"/>
                        <a:pt x="1432" y="1073"/>
                        <a:pt x="1432" y="1073"/>
                      </a:cubicBezTo>
                      <a:cubicBezTo>
                        <a:pt x="1432" y="1073"/>
                        <a:pt x="1423" y="1054"/>
                        <a:pt x="1420" y="1032"/>
                      </a:cubicBezTo>
                      <a:cubicBezTo>
                        <a:pt x="1432" y="1003"/>
                        <a:pt x="1442" y="972"/>
                        <a:pt x="1449" y="940"/>
                      </a:cubicBezTo>
                      <a:cubicBezTo>
                        <a:pt x="1469" y="907"/>
                        <a:pt x="1507" y="880"/>
                        <a:pt x="1507" y="880"/>
                      </a:cubicBezTo>
                      <a:cubicBezTo>
                        <a:pt x="1530" y="871"/>
                        <a:pt x="1530" y="871"/>
                        <a:pt x="1530" y="871"/>
                      </a:cubicBezTo>
                      <a:cubicBezTo>
                        <a:pt x="1553" y="863"/>
                        <a:pt x="1579" y="861"/>
                        <a:pt x="1603" y="867"/>
                      </a:cubicBezTo>
                      <a:cubicBezTo>
                        <a:pt x="1626" y="873"/>
                        <a:pt x="1626" y="873"/>
                        <a:pt x="1626" y="873"/>
                      </a:cubicBezTo>
                      <a:cubicBezTo>
                        <a:pt x="1642" y="877"/>
                        <a:pt x="1656" y="885"/>
                        <a:pt x="1667" y="896"/>
                      </a:cubicBezTo>
                      <a:cubicBezTo>
                        <a:pt x="1690" y="917"/>
                        <a:pt x="1722" y="928"/>
                        <a:pt x="1757" y="922"/>
                      </a:cubicBezTo>
                      <a:cubicBezTo>
                        <a:pt x="1797" y="915"/>
                        <a:pt x="1829" y="883"/>
                        <a:pt x="1837" y="842"/>
                      </a:cubicBezTo>
                      <a:cubicBezTo>
                        <a:pt x="1850" y="777"/>
                        <a:pt x="1800" y="720"/>
                        <a:pt x="1737" y="720"/>
                      </a:cubicBezTo>
                      <a:close/>
                      <a:moveTo>
                        <a:pt x="925" y="1302"/>
                      </a:moveTo>
                      <a:cubicBezTo>
                        <a:pt x="660" y="1302"/>
                        <a:pt x="445" y="1087"/>
                        <a:pt x="445" y="822"/>
                      </a:cubicBezTo>
                      <a:cubicBezTo>
                        <a:pt x="445" y="557"/>
                        <a:pt x="660" y="342"/>
                        <a:pt x="925" y="342"/>
                      </a:cubicBezTo>
                      <a:cubicBezTo>
                        <a:pt x="1190" y="342"/>
                        <a:pt x="1405" y="557"/>
                        <a:pt x="1405" y="822"/>
                      </a:cubicBezTo>
                      <a:cubicBezTo>
                        <a:pt x="1405" y="1087"/>
                        <a:pt x="1190" y="1302"/>
                        <a:pt x="925" y="1302"/>
                      </a:cubicBezTo>
                      <a:close/>
                    </a:path>
                  </a:pathLst>
                </a:custGeom>
                <a:solidFill>
                  <a:srgbClr val="003B59"/>
                </a:solidFill>
                <a:ln>
                  <a:noFill/>
                </a:ln>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sp>
              <p:nvSpPr>
                <p:cNvPr id="133" name="Freeform 8">
                  <a:extLst>
                    <a:ext uri="{FF2B5EF4-FFF2-40B4-BE49-F238E27FC236}">
                      <a16:creationId xmlns:a16="http://schemas.microsoft.com/office/drawing/2014/main" id="{34255CD3-FEDB-4720-A261-588E52D5C862}"/>
                    </a:ext>
                  </a:extLst>
                </p:cNvPr>
                <p:cNvSpPr>
                  <a:spLocks noEditPoints="1"/>
                </p:cNvSpPr>
                <p:nvPr/>
              </p:nvSpPr>
              <p:spPr bwMode="auto">
                <a:xfrm>
                  <a:off x="2496345" y="2592388"/>
                  <a:ext cx="622300" cy="623888"/>
                </a:xfrm>
                <a:custGeom>
                  <a:avLst/>
                  <a:gdLst>
                    <a:gd name="T0" fmla="*/ 744 w 872"/>
                    <a:gd name="T1" fmla="*/ 128 h 872"/>
                    <a:gd name="T2" fmla="*/ 436 w 872"/>
                    <a:gd name="T3" fmla="*/ 0 h 872"/>
                    <a:gd name="T4" fmla="*/ 128 w 872"/>
                    <a:gd name="T5" fmla="*/ 128 h 872"/>
                    <a:gd name="T6" fmla="*/ 0 w 872"/>
                    <a:gd name="T7" fmla="*/ 436 h 872"/>
                    <a:gd name="T8" fmla="*/ 128 w 872"/>
                    <a:gd name="T9" fmla="*/ 744 h 872"/>
                    <a:gd name="T10" fmla="*/ 436 w 872"/>
                    <a:gd name="T11" fmla="*/ 872 h 872"/>
                    <a:gd name="T12" fmla="*/ 744 w 872"/>
                    <a:gd name="T13" fmla="*/ 744 h 872"/>
                    <a:gd name="T14" fmla="*/ 872 w 872"/>
                    <a:gd name="T15" fmla="*/ 436 h 872"/>
                    <a:gd name="T16" fmla="*/ 744 w 872"/>
                    <a:gd name="T17" fmla="*/ 128 h 872"/>
                    <a:gd name="T18" fmla="*/ 472 w 872"/>
                    <a:gd name="T19" fmla="*/ 112 h 872"/>
                    <a:gd name="T20" fmla="*/ 576 w 872"/>
                    <a:gd name="T21" fmla="*/ 216 h 872"/>
                    <a:gd name="T22" fmla="*/ 472 w 872"/>
                    <a:gd name="T23" fmla="*/ 320 h 872"/>
                    <a:gd name="T24" fmla="*/ 368 w 872"/>
                    <a:gd name="T25" fmla="*/ 216 h 872"/>
                    <a:gd name="T26" fmla="*/ 472 w 872"/>
                    <a:gd name="T27" fmla="*/ 112 h 872"/>
                    <a:gd name="T28" fmla="*/ 195 w 872"/>
                    <a:gd name="T29" fmla="*/ 216 h 872"/>
                    <a:gd name="T30" fmla="*/ 276 w 872"/>
                    <a:gd name="T31" fmla="*/ 297 h 872"/>
                    <a:gd name="T32" fmla="*/ 195 w 872"/>
                    <a:gd name="T33" fmla="*/ 377 h 872"/>
                    <a:gd name="T34" fmla="*/ 114 w 872"/>
                    <a:gd name="T35" fmla="*/ 297 h 872"/>
                    <a:gd name="T36" fmla="*/ 195 w 872"/>
                    <a:gd name="T37" fmla="*/ 216 h 872"/>
                    <a:gd name="T38" fmla="*/ 215 w 872"/>
                    <a:gd name="T39" fmla="*/ 679 h 872"/>
                    <a:gd name="T40" fmla="*/ 119 w 872"/>
                    <a:gd name="T41" fmla="*/ 583 h 872"/>
                    <a:gd name="T42" fmla="*/ 215 w 872"/>
                    <a:gd name="T43" fmla="*/ 487 h 872"/>
                    <a:gd name="T44" fmla="*/ 311 w 872"/>
                    <a:gd name="T45" fmla="*/ 583 h 872"/>
                    <a:gd name="T46" fmla="*/ 215 w 872"/>
                    <a:gd name="T47" fmla="*/ 679 h 872"/>
                    <a:gd name="T48" fmla="*/ 403 w 872"/>
                    <a:gd name="T49" fmla="*/ 539 h 872"/>
                    <a:gd name="T50" fmla="*/ 322 w 872"/>
                    <a:gd name="T51" fmla="*/ 458 h 872"/>
                    <a:gd name="T52" fmla="*/ 403 w 872"/>
                    <a:gd name="T53" fmla="*/ 377 h 872"/>
                    <a:gd name="T54" fmla="*/ 484 w 872"/>
                    <a:gd name="T55" fmla="*/ 458 h 872"/>
                    <a:gd name="T56" fmla="*/ 403 w 872"/>
                    <a:gd name="T57" fmla="*/ 539 h 872"/>
                    <a:gd name="T58" fmla="*/ 545 w 872"/>
                    <a:gd name="T59" fmla="*/ 760 h 872"/>
                    <a:gd name="T60" fmla="*/ 464 w 872"/>
                    <a:gd name="T61" fmla="*/ 679 h 872"/>
                    <a:gd name="T62" fmla="*/ 545 w 872"/>
                    <a:gd name="T63" fmla="*/ 599 h 872"/>
                    <a:gd name="T64" fmla="*/ 625 w 872"/>
                    <a:gd name="T65" fmla="*/ 679 h 872"/>
                    <a:gd name="T66" fmla="*/ 545 w 872"/>
                    <a:gd name="T67" fmla="*/ 760 h 872"/>
                    <a:gd name="T68" fmla="*/ 662 w 872"/>
                    <a:gd name="T69" fmla="*/ 540 h 872"/>
                    <a:gd name="T70" fmla="*/ 566 w 872"/>
                    <a:gd name="T71" fmla="*/ 444 h 872"/>
                    <a:gd name="T72" fmla="*/ 662 w 872"/>
                    <a:gd name="T73" fmla="*/ 348 h 872"/>
                    <a:gd name="T74" fmla="*/ 758 w 872"/>
                    <a:gd name="T75" fmla="*/ 444 h 872"/>
                    <a:gd name="T76" fmla="*/ 662 w 872"/>
                    <a:gd name="T77" fmla="*/ 54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2" h="872">
                      <a:moveTo>
                        <a:pt x="744" y="128"/>
                      </a:moveTo>
                      <a:cubicBezTo>
                        <a:pt x="662" y="45"/>
                        <a:pt x="553" y="0"/>
                        <a:pt x="436" y="0"/>
                      </a:cubicBezTo>
                      <a:cubicBezTo>
                        <a:pt x="319" y="0"/>
                        <a:pt x="210" y="45"/>
                        <a:pt x="128" y="128"/>
                      </a:cubicBezTo>
                      <a:cubicBezTo>
                        <a:pt x="45" y="210"/>
                        <a:pt x="0" y="319"/>
                        <a:pt x="0" y="436"/>
                      </a:cubicBezTo>
                      <a:cubicBezTo>
                        <a:pt x="0" y="553"/>
                        <a:pt x="45" y="662"/>
                        <a:pt x="128" y="744"/>
                      </a:cubicBezTo>
                      <a:cubicBezTo>
                        <a:pt x="210" y="827"/>
                        <a:pt x="319" y="872"/>
                        <a:pt x="436" y="872"/>
                      </a:cubicBezTo>
                      <a:cubicBezTo>
                        <a:pt x="553" y="872"/>
                        <a:pt x="662" y="827"/>
                        <a:pt x="744" y="744"/>
                      </a:cubicBezTo>
                      <a:cubicBezTo>
                        <a:pt x="827" y="662"/>
                        <a:pt x="872" y="553"/>
                        <a:pt x="872" y="436"/>
                      </a:cubicBezTo>
                      <a:cubicBezTo>
                        <a:pt x="872" y="319"/>
                        <a:pt x="827" y="210"/>
                        <a:pt x="744" y="128"/>
                      </a:cubicBezTo>
                      <a:close/>
                      <a:moveTo>
                        <a:pt x="472" y="112"/>
                      </a:moveTo>
                      <a:cubicBezTo>
                        <a:pt x="529" y="112"/>
                        <a:pt x="576" y="158"/>
                        <a:pt x="576" y="216"/>
                      </a:cubicBezTo>
                      <a:cubicBezTo>
                        <a:pt x="576" y="273"/>
                        <a:pt x="529" y="320"/>
                        <a:pt x="472" y="320"/>
                      </a:cubicBezTo>
                      <a:cubicBezTo>
                        <a:pt x="414" y="320"/>
                        <a:pt x="368" y="273"/>
                        <a:pt x="368" y="216"/>
                      </a:cubicBezTo>
                      <a:cubicBezTo>
                        <a:pt x="368" y="158"/>
                        <a:pt x="414" y="112"/>
                        <a:pt x="472" y="112"/>
                      </a:cubicBezTo>
                      <a:close/>
                      <a:moveTo>
                        <a:pt x="195" y="216"/>
                      </a:moveTo>
                      <a:cubicBezTo>
                        <a:pt x="240" y="216"/>
                        <a:pt x="276" y="252"/>
                        <a:pt x="276" y="297"/>
                      </a:cubicBezTo>
                      <a:cubicBezTo>
                        <a:pt x="276" y="341"/>
                        <a:pt x="240" y="377"/>
                        <a:pt x="195" y="377"/>
                      </a:cubicBezTo>
                      <a:cubicBezTo>
                        <a:pt x="151" y="377"/>
                        <a:pt x="114" y="341"/>
                        <a:pt x="114" y="297"/>
                      </a:cubicBezTo>
                      <a:cubicBezTo>
                        <a:pt x="114" y="252"/>
                        <a:pt x="151" y="216"/>
                        <a:pt x="195" y="216"/>
                      </a:cubicBezTo>
                      <a:close/>
                      <a:moveTo>
                        <a:pt x="215" y="679"/>
                      </a:moveTo>
                      <a:cubicBezTo>
                        <a:pt x="162" y="679"/>
                        <a:pt x="119" y="636"/>
                        <a:pt x="119" y="583"/>
                      </a:cubicBezTo>
                      <a:cubicBezTo>
                        <a:pt x="119" y="530"/>
                        <a:pt x="162" y="487"/>
                        <a:pt x="215" y="487"/>
                      </a:cubicBezTo>
                      <a:cubicBezTo>
                        <a:pt x="268" y="487"/>
                        <a:pt x="311" y="530"/>
                        <a:pt x="311" y="583"/>
                      </a:cubicBezTo>
                      <a:cubicBezTo>
                        <a:pt x="311" y="636"/>
                        <a:pt x="268" y="679"/>
                        <a:pt x="215" y="679"/>
                      </a:cubicBezTo>
                      <a:close/>
                      <a:moveTo>
                        <a:pt x="403" y="539"/>
                      </a:moveTo>
                      <a:cubicBezTo>
                        <a:pt x="359" y="539"/>
                        <a:pt x="322" y="503"/>
                        <a:pt x="322" y="458"/>
                      </a:cubicBezTo>
                      <a:cubicBezTo>
                        <a:pt x="322" y="414"/>
                        <a:pt x="359" y="377"/>
                        <a:pt x="403" y="377"/>
                      </a:cubicBezTo>
                      <a:cubicBezTo>
                        <a:pt x="448" y="377"/>
                        <a:pt x="484" y="414"/>
                        <a:pt x="484" y="458"/>
                      </a:cubicBezTo>
                      <a:cubicBezTo>
                        <a:pt x="484" y="503"/>
                        <a:pt x="448" y="539"/>
                        <a:pt x="403" y="539"/>
                      </a:cubicBezTo>
                      <a:close/>
                      <a:moveTo>
                        <a:pt x="545" y="760"/>
                      </a:moveTo>
                      <a:cubicBezTo>
                        <a:pt x="500" y="760"/>
                        <a:pt x="464" y="724"/>
                        <a:pt x="464" y="679"/>
                      </a:cubicBezTo>
                      <a:cubicBezTo>
                        <a:pt x="464" y="635"/>
                        <a:pt x="500" y="599"/>
                        <a:pt x="545" y="599"/>
                      </a:cubicBezTo>
                      <a:cubicBezTo>
                        <a:pt x="589" y="599"/>
                        <a:pt x="625" y="635"/>
                        <a:pt x="625" y="679"/>
                      </a:cubicBezTo>
                      <a:cubicBezTo>
                        <a:pt x="625" y="724"/>
                        <a:pt x="589" y="760"/>
                        <a:pt x="545" y="760"/>
                      </a:cubicBezTo>
                      <a:close/>
                      <a:moveTo>
                        <a:pt x="662" y="540"/>
                      </a:moveTo>
                      <a:cubicBezTo>
                        <a:pt x="609" y="540"/>
                        <a:pt x="566" y="497"/>
                        <a:pt x="566" y="444"/>
                      </a:cubicBezTo>
                      <a:cubicBezTo>
                        <a:pt x="566" y="391"/>
                        <a:pt x="609" y="348"/>
                        <a:pt x="662" y="348"/>
                      </a:cubicBezTo>
                      <a:cubicBezTo>
                        <a:pt x="715" y="348"/>
                        <a:pt x="758" y="391"/>
                        <a:pt x="758" y="444"/>
                      </a:cubicBezTo>
                      <a:cubicBezTo>
                        <a:pt x="758" y="497"/>
                        <a:pt x="715" y="540"/>
                        <a:pt x="662" y="540"/>
                      </a:cubicBezTo>
                      <a:close/>
                    </a:path>
                  </a:pathLst>
                </a:custGeom>
                <a:solidFill>
                  <a:srgbClr val="4C7895"/>
                </a:solidFill>
                <a:ln>
                  <a:noFill/>
                </a:ln>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grpSp>
        </p:grpSp>
        <p:grpSp>
          <p:nvGrpSpPr>
            <p:cNvPr id="125" name="Group 124">
              <a:extLst>
                <a:ext uri="{FF2B5EF4-FFF2-40B4-BE49-F238E27FC236}">
                  <a16:creationId xmlns:a16="http://schemas.microsoft.com/office/drawing/2014/main" id="{A145D0A8-D237-471C-B7F5-2C2CE30E690D}"/>
                </a:ext>
              </a:extLst>
            </p:cNvPr>
            <p:cNvGrpSpPr>
              <a:grpSpLocks noChangeAspect="1"/>
            </p:cNvGrpSpPr>
            <p:nvPr/>
          </p:nvGrpSpPr>
          <p:grpSpPr>
            <a:xfrm>
              <a:off x="4150893" y="1613161"/>
              <a:ext cx="540000" cy="540000"/>
              <a:chOff x="5273675" y="2606675"/>
              <a:chExt cx="1644650" cy="1644650"/>
            </a:xfrm>
          </p:grpSpPr>
          <p:sp>
            <p:nvSpPr>
              <p:cNvPr id="126" name="AutoShape 8">
                <a:extLst>
                  <a:ext uri="{FF2B5EF4-FFF2-40B4-BE49-F238E27FC236}">
                    <a16:creationId xmlns:a16="http://schemas.microsoft.com/office/drawing/2014/main" id="{0E2AA511-ACFC-4CCE-ACC2-CABF6D429E48}"/>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grpSp>
            <p:nvGrpSpPr>
              <p:cNvPr id="127" name="Group 126">
                <a:extLst>
                  <a:ext uri="{FF2B5EF4-FFF2-40B4-BE49-F238E27FC236}">
                    <a16:creationId xmlns:a16="http://schemas.microsoft.com/office/drawing/2014/main" id="{16A88838-8656-4817-A7D7-2DE43A6A0228}"/>
                  </a:ext>
                </a:extLst>
              </p:cNvPr>
              <p:cNvGrpSpPr/>
              <p:nvPr/>
            </p:nvGrpSpPr>
            <p:grpSpPr>
              <a:xfrm>
                <a:off x="5443538" y="2776538"/>
                <a:ext cx="1304925" cy="1304925"/>
                <a:chOff x="5443538" y="2776538"/>
                <a:chExt cx="1304925" cy="1304925"/>
              </a:xfrm>
            </p:grpSpPr>
            <p:sp>
              <p:nvSpPr>
                <p:cNvPr id="128" name="Freeform 10">
                  <a:extLst>
                    <a:ext uri="{FF2B5EF4-FFF2-40B4-BE49-F238E27FC236}">
                      <a16:creationId xmlns:a16="http://schemas.microsoft.com/office/drawing/2014/main" id="{24DBF893-673F-432C-A297-692AC80C44D7}"/>
                    </a:ext>
                  </a:extLst>
                </p:cNvPr>
                <p:cNvSpPr>
                  <a:spLocks noEditPoints="1"/>
                </p:cNvSpPr>
                <p:nvPr/>
              </p:nvSpPr>
              <p:spPr bwMode="auto">
                <a:xfrm>
                  <a:off x="5443538" y="2776538"/>
                  <a:ext cx="1304925" cy="1304925"/>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1E4625"/>
                </a:solidFill>
                <a:ln>
                  <a:noFill/>
                </a:ln>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sp>
              <p:nvSpPr>
                <p:cNvPr id="129" name="Freeform 11">
                  <a:extLst>
                    <a:ext uri="{FF2B5EF4-FFF2-40B4-BE49-F238E27FC236}">
                      <a16:creationId xmlns:a16="http://schemas.microsoft.com/office/drawing/2014/main" id="{49EB3A6C-13B0-46F0-83D0-F0E69FE82F2A}"/>
                    </a:ext>
                  </a:extLst>
                </p:cNvPr>
                <p:cNvSpPr>
                  <a:spLocks noEditPoints="1"/>
                </p:cNvSpPr>
                <p:nvPr/>
              </p:nvSpPr>
              <p:spPr bwMode="auto">
                <a:xfrm>
                  <a:off x="5507038" y="2840038"/>
                  <a:ext cx="1177925" cy="1177925"/>
                </a:xfrm>
                <a:custGeom>
                  <a:avLst/>
                  <a:gdLst>
                    <a:gd name="T0" fmla="*/ 826 w 1652"/>
                    <a:gd name="T1" fmla="*/ 0 h 1652"/>
                    <a:gd name="T2" fmla="*/ 0 w 1652"/>
                    <a:gd name="T3" fmla="*/ 826 h 1652"/>
                    <a:gd name="T4" fmla="*/ 826 w 1652"/>
                    <a:gd name="T5" fmla="*/ 1652 h 1652"/>
                    <a:gd name="T6" fmla="*/ 1652 w 1652"/>
                    <a:gd name="T7" fmla="*/ 826 h 1652"/>
                    <a:gd name="T8" fmla="*/ 826 w 1652"/>
                    <a:gd name="T9" fmla="*/ 0 h 1652"/>
                    <a:gd name="T10" fmla="*/ 1412 w 1652"/>
                    <a:gd name="T11" fmla="*/ 826 h 1652"/>
                    <a:gd name="T12" fmla="*/ 1359 w 1652"/>
                    <a:gd name="T13" fmla="*/ 1070 h 1652"/>
                    <a:gd name="T14" fmla="*/ 432 w 1652"/>
                    <a:gd name="T15" fmla="*/ 392 h 1652"/>
                    <a:gd name="T16" fmla="*/ 826 w 1652"/>
                    <a:gd name="T17" fmla="*/ 240 h 1652"/>
                    <a:gd name="T18" fmla="*/ 1412 w 1652"/>
                    <a:gd name="T19" fmla="*/ 826 h 1652"/>
                    <a:gd name="T20" fmla="*/ 240 w 1652"/>
                    <a:gd name="T21" fmla="*/ 826 h 1652"/>
                    <a:gd name="T22" fmla="*/ 293 w 1652"/>
                    <a:gd name="T23" fmla="*/ 582 h 1652"/>
                    <a:gd name="T24" fmla="*/ 1220 w 1652"/>
                    <a:gd name="T25" fmla="*/ 1260 h 1652"/>
                    <a:gd name="T26" fmla="*/ 826 w 1652"/>
                    <a:gd name="T27" fmla="*/ 1412 h 1652"/>
                    <a:gd name="T28" fmla="*/ 240 w 1652"/>
                    <a:gd name="T29" fmla="*/ 826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2" h="1652">
                      <a:moveTo>
                        <a:pt x="826" y="0"/>
                      </a:moveTo>
                      <a:cubicBezTo>
                        <a:pt x="371" y="0"/>
                        <a:pt x="0" y="371"/>
                        <a:pt x="0" y="826"/>
                      </a:cubicBezTo>
                      <a:cubicBezTo>
                        <a:pt x="0" y="1281"/>
                        <a:pt x="371" y="1652"/>
                        <a:pt x="826" y="1652"/>
                      </a:cubicBezTo>
                      <a:cubicBezTo>
                        <a:pt x="1281" y="1652"/>
                        <a:pt x="1652" y="1281"/>
                        <a:pt x="1652" y="826"/>
                      </a:cubicBezTo>
                      <a:cubicBezTo>
                        <a:pt x="1652" y="371"/>
                        <a:pt x="1281" y="0"/>
                        <a:pt x="826" y="0"/>
                      </a:cubicBezTo>
                      <a:close/>
                      <a:moveTo>
                        <a:pt x="1412" y="826"/>
                      </a:moveTo>
                      <a:cubicBezTo>
                        <a:pt x="1412" y="913"/>
                        <a:pt x="1393" y="996"/>
                        <a:pt x="1359" y="1070"/>
                      </a:cubicBezTo>
                      <a:cubicBezTo>
                        <a:pt x="432" y="392"/>
                        <a:pt x="432" y="392"/>
                        <a:pt x="432" y="392"/>
                      </a:cubicBezTo>
                      <a:cubicBezTo>
                        <a:pt x="536" y="298"/>
                        <a:pt x="674" y="240"/>
                        <a:pt x="826" y="240"/>
                      </a:cubicBezTo>
                      <a:cubicBezTo>
                        <a:pt x="1149" y="240"/>
                        <a:pt x="1412" y="503"/>
                        <a:pt x="1412" y="826"/>
                      </a:cubicBezTo>
                      <a:close/>
                      <a:moveTo>
                        <a:pt x="240" y="826"/>
                      </a:moveTo>
                      <a:cubicBezTo>
                        <a:pt x="240" y="739"/>
                        <a:pt x="259" y="656"/>
                        <a:pt x="293" y="582"/>
                      </a:cubicBezTo>
                      <a:cubicBezTo>
                        <a:pt x="1220" y="1260"/>
                        <a:pt x="1220" y="1260"/>
                        <a:pt x="1220" y="1260"/>
                      </a:cubicBezTo>
                      <a:cubicBezTo>
                        <a:pt x="1116" y="1354"/>
                        <a:pt x="978" y="1412"/>
                        <a:pt x="826" y="1412"/>
                      </a:cubicBezTo>
                      <a:cubicBezTo>
                        <a:pt x="503" y="1412"/>
                        <a:pt x="240" y="1149"/>
                        <a:pt x="240" y="826"/>
                      </a:cubicBezTo>
                      <a:close/>
                    </a:path>
                  </a:pathLst>
                </a:custGeom>
                <a:solidFill>
                  <a:srgbClr val="3C8C93"/>
                </a:solidFill>
                <a:ln>
                  <a:noFill/>
                </a:ln>
              </p:spPr>
              <p:txBody>
                <a:bodyPr vert="horz" wrap="square" lIns="68580" tIns="34290" rIns="68580" bIns="34290" numCol="1" anchor="t" anchorCtr="0" compatLnSpc="1">
                  <a:prstTxWarp prst="textNoShape">
                    <a:avLst/>
                  </a:prstTxWarp>
                </a:bodyPr>
                <a:lstStyle/>
                <a:p>
                  <a:pPr algn="ctr"/>
                  <a:endParaRPr lang="de-DE" dirty="0">
                    <a:solidFill>
                      <a:srgbClr val="37373A"/>
                    </a:solidFill>
                    <a:latin typeface="+mj-lt"/>
                  </a:endParaRPr>
                </a:p>
              </p:txBody>
            </p:sp>
          </p:grpSp>
        </p:grpSp>
      </p:grpSp>
      <p:sp>
        <p:nvSpPr>
          <p:cNvPr id="79" name="Rectangle 25">
            <a:extLst>
              <a:ext uri="{FF2B5EF4-FFF2-40B4-BE49-F238E27FC236}">
                <a16:creationId xmlns:a16="http://schemas.microsoft.com/office/drawing/2014/main" id="{B7ECF1AE-63C1-4BFF-A2C6-C83D085905AB}"/>
              </a:ext>
            </a:extLst>
          </p:cNvPr>
          <p:cNvSpPr>
            <a:spLocks noChangeArrowheads="1"/>
          </p:cNvSpPr>
          <p:nvPr/>
        </p:nvSpPr>
        <p:spPr bwMode="auto">
          <a:xfrm>
            <a:off x="3610893" y="3653243"/>
            <a:ext cx="1620000" cy="687368"/>
          </a:xfrm>
          <a:prstGeom prst="rect">
            <a:avLst/>
          </a:prstGeom>
          <a:solidFill>
            <a:schemeClr val="bg1"/>
          </a:solidFill>
          <a:ln w="9525" cap="rnd" cmpd="sng" algn="ctr">
            <a:noFill/>
            <a:prstDash val="solid"/>
            <a:round/>
            <a:headEnd type="none" w="med" len="med"/>
            <a:tailEnd type="none" w="med" len="med"/>
          </a:ln>
        </p:spPr>
        <p:txBody>
          <a:bodyPr wrap="square" lIns="0" tIns="0" rIns="0" bIns="0" anchor="t">
            <a:spAutoFit/>
          </a:bodyPr>
          <a:lstStyle/>
          <a:p>
            <a:pPr algn="ctr">
              <a:lnSpc>
                <a:spcPct val="90000"/>
              </a:lnSpc>
              <a:spcAft>
                <a:spcPts val="450"/>
              </a:spcAft>
            </a:pPr>
            <a:r>
              <a:rPr lang="de-DE" sz="900" b="1" dirty="0">
                <a:solidFill>
                  <a:srgbClr val="B43E62"/>
                </a:solidFill>
                <a:latin typeface="+mj-lt"/>
              </a:rPr>
              <a:t>Positiver Individualtest</a:t>
            </a:r>
          </a:p>
          <a:p>
            <a:pPr algn="ctr">
              <a:lnSpc>
                <a:spcPct val="90000"/>
              </a:lnSpc>
              <a:spcAft>
                <a:spcPts val="450"/>
              </a:spcAft>
            </a:pPr>
            <a:r>
              <a:rPr lang="de-DE" sz="900" spc="-15" dirty="0">
                <a:solidFill>
                  <a:srgbClr val="37373A"/>
                </a:solidFill>
                <a:latin typeface="+mj-lt"/>
              </a:rPr>
              <a:t>Das infizierte Kind darf die Einrichtung nicht besuchen und bleibt zuhause in häuslicher Isolation.</a:t>
            </a:r>
          </a:p>
        </p:txBody>
      </p:sp>
      <p:sp>
        <p:nvSpPr>
          <p:cNvPr id="86" name="Rectangle 25">
            <a:extLst>
              <a:ext uri="{FF2B5EF4-FFF2-40B4-BE49-F238E27FC236}">
                <a16:creationId xmlns:a16="http://schemas.microsoft.com/office/drawing/2014/main" id="{47BDB326-35A3-4B52-AC7F-97F7B5AC4844}"/>
              </a:ext>
            </a:extLst>
          </p:cNvPr>
          <p:cNvSpPr>
            <a:spLocks noChangeArrowheads="1"/>
          </p:cNvSpPr>
          <p:nvPr/>
        </p:nvSpPr>
        <p:spPr bwMode="auto">
          <a:xfrm>
            <a:off x="6041133" y="3715569"/>
            <a:ext cx="1620000" cy="562718"/>
          </a:xfrm>
          <a:prstGeom prst="rect">
            <a:avLst/>
          </a:prstGeom>
          <a:solidFill>
            <a:schemeClr val="bg1"/>
          </a:solidFill>
          <a:ln w="9525" cap="rnd" cmpd="sng" algn="ctr">
            <a:noFill/>
            <a:prstDash val="solid"/>
            <a:round/>
            <a:headEnd type="none" w="med" len="med"/>
            <a:tailEnd type="none" w="med" len="med"/>
          </a:ln>
        </p:spPr>
        <p:txBody>
          <a:bodyPr wrap="square" lIns="0" tIns="0" rIns="0" bIns="0" anchor="t">
            <a:spAutoFit/>
          </a:bodyPr>
          <a:lstStyle/>
          <a:p>
            <a:pPr algn="ctr">
              <a:lnSpc>
                <a:spcPct val="90000"/>
              </a:lnSpc>
              <a:spcAft>
                <a:spcPts val="450"/>
              </a:spcAft>
            </a:pPr>
            <a:r>
              <a:rPr lang="de-DE" sz="900" b="1" spc="-15" dirty="0">
                <a:solidFill>
                  <a:srgbClr val="B43E62"/>
                </a:solidFill>
                <a:latin typeface="+mj-lt"/>
              </a:rPr>
              <a:t>Quarantäneregelung</a:t>
            </a:r>
          </a:p>
          <a:p>
            <a:pPr algn="ctr">
              <a:lnSpc>
                <a:spcPct val="90000"/>
              </a:lnSpc>
              <a:spcAft>
                <a:spcPts val="450"/>
              </a:spcAft>
            </a:pPr>
            <a:r>
              <a:rPr lang="de-DE" sz="900" spc="-15" dirty="0">
                <a:solidFill>
                  <a:srgbClr val="37373A"/>
                </a:solidFill>
                <a:latin typeface="+mj-lt"/>
              </a:rPr>
              <a:t>Das örtliche Gesundheitsamt</a:t>
            </a:r>
            <a:br>
              <a:rPr lang="de-DE" sz="900" spc="-15" dirty="0">
                <a:solidFill>
                  <a:srgbClr val="37373A"/>
                </a:solidFill>
                <a:latin typeface="+mj-lt"/>
              </a:rPr>
            </a:br>
            <a:r>
              <a:rPr lang="de-DE" sz="900" spc="-15" dirty="0">
                <a:solidFill>
                  <a:srgbClr val="37373A"/>
                </a:solidFill>
                <a:latin typeface="+mj-lt"/>
              </a:rPr>
              <a:t> nimmt Kontakt mit den Erziehungsberechtigten auf.</a:t>
            </a:r>
          </a:p>
        </p:txBody>
      </p:sp>
      <p:grpSp>
        <p:nvGrpSpPr>
          <p:cNvPr id="92" name="Group 91">
            <a:extLst>
              <a:ext uri="{FF2B5EF4-FFF2-40B4-BE49-F238E27FC236}">
                <a16:creationId xmlns:a16="http://schemas.microsoft.com/office/drawing/2014/main" id="{AE19CB20-DC2C-4B0A-977E-4C0C6BB5FA47}"/>
              </a:ext>
            </a:extLst>
          </p:cNvPr>
          <p:cNvGrpSpPr>
            <a:grpSpLocks noChangeAspect="1"/>
          </p:cNvGrpSpPr>
          <p:nvPr/>
        </p:nvGrpSpPr>
        <p:grpSpPr>
          <a:xfrm>
            <a:off x="6581384" y="3136139"/>
            <a:ext cx="539500" cy="540000"/>
            <a:chOff x="5273802" y="2606040"/>
            <a:chExt cx="1644396" cy="1645920"/>
          </a:xfrm>
        </p:grpSpPr>
        <p:sp>
          <p:nvSpPr>
            <p:cNvPr id="93" name="AutoShape 18">
              <a:extLst>
                <a:ext uri="{FF2B5EF4-FFF2-40B4-BE49-F238E27FC236}">
                  <a16:creationId xmlns:a16="http://schemas.microsoft.com/office/drawing/2014/main" id="{3FAFB8D2-688B-4D0B-ACE8-6CA0CE17D992}"/>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de-DE" dirty="0"/>
            </a:p>
          </p:txBody>
        </p:sp>
        <p:grpSp>
          <p:nvGrpSpPr>
            <p:cNvPr id="94" name="Group 93">
              <a:extLst>
                <a:ext uri="{FF2B5EF4-FFF2-40B4-BE49-F238E27FC236}">
                  <a16:creationId xmlns:a16="http://schemas.microsoft.com/office/drawing/2014/main" id="{B2764833-623D-471D-A10E-7A5D4A3329BD}"/>
                </a:ext>
              </a:extLst>
            </p:cNvPr>
            <p:cNvGrpSpPr/>
            <p:nvPr/>
          </p:nvGrpSpPr>
          <p:grpSpPr>
            <a:xfrm>
              <a:off x="5560695" y="2747391"/>
              <a:ext cx="1069086" cy="1333881"/>
              <a:chOff x="5560695" y="2747391"/>
              <a:chExt cx="1069086" cy="1333881"/>
            </a:xfrm>
          </p:grpSpPr>
          <p:sp>
            <p:nvSpPr>
              <p:cNvPr id="98" name="Freeform 20">
                <a:extLst>
                  <a:ext uri="{FF2B5EF4-FFF2-40B4-BE49-F238E27FC236}">
                    <a16:creationId xmlns:a16="http://schemas.microsoft.com/office/drawing/2014/main" id="{A3B0D30C-CD52-4674-8696-6D4AF63EAC08}"/>
                  </a:ext>
                </a:extLst>
              </p:cNvPr>
              <p:cNvSpPr>
                <a:spLocks noEditPoints="1"/>
              </p:cNvSpPr>
              <p:nvPr/>
            </p:nvSpPr>
            <p:spPr bwMode="auto">
              <a:xfrm>
                <a:off x="5560695" y="2747391"/>
                <a:ext cx="1069086" cy="1333881"/>
              </a:xfrm>
              <a:custGeom>
                <a:avLst/>
                <a:gdLst>
                  <a:gd name="T0" fmla="*/ 1413 w 1498"/>
                  <a:gd name="T1" fmla="*/ 1743 h 1867"/>
                  <a:gd name="T2" fmla="*/ 1392 w 1498"/>
                  <a:gd name="T3" fmla="*/ 1693 h 1867"/>
                  <a:gd name="T4" fmla="*/ 85 w 1498"/>
                  <a:gd name="T5" fmla="*/ 1714 h 1867"/>
                  <a:gd name="T6" fmla="*/ 22 w 1498"/>
                  <a:gd name="T7" fmla="*/ 1743 h 1867"/>
                  <a:gd name="T8" fmla="*/ 0 w 1498"/>
                  <a:gd name="T9" fmla="*/ 1846 h 1867"/>
                  <a:gd name="T10" fmla="*/ 1476 w 1498"/>
                  <a:gd name="T11" fmla="*/ 1867 h 1867"/>
                  <a:gd name="T12" fmla="*/ 1498 w 1498"/>
                  <a:gd name="T13" fmla="*/ 1765 h 1867"/>
                  <a:gd name="T14" fmla="*/ 516 w 1498"/>
                  <a:gd name="T15" fmla="*/ 179 h 1867"/>
                  <a:gd name="T16" fmla="*/ 526 w 1498"/>
                  <a:gd name="T17" fmla="*/ 654 h 1867"/>
                  <a:gd name="T18" fmla="*/ 978 w 1498"/>
                  <a:gd name="T19" fmla="*/ 645 h 1867"/>
                  <a:gd name="T20" fmla="*/ 968 w 1498"/>
                  <a:gd name="T21" fmla="*/ 169 h 1867"/>
                  <a:gd name="T22" fmla="*/ 516 w 1498"/>
                  <a:gd name="T23" fmla="*/ 179 h 1867"/>
                  <a:gd name="T24" fmla="*/ 794 w 1498"/>
                  <a:gd name="T25" fmla="*/ 455 h 1867"/>
                  <a:gd name="T26" fmla="*/ 705 w 1498"/>
                  <a:gd name="T27" fmla="*/ 557 h 1867"/>
                  <a:gd name="T28" fmla="*/ 603 w 1498"/>
                  <a:gd name="T29" fmla="*/ 455 h 1867"/>
                  <a:gd name="T30" fmla="*/ 705 w 1498"/>
                  <a:gd name="T31" fmla="*/ 366 h 1867"/>
                  <a:gd name="T32" fmla="*/ 794 w 1498"/>
                  <a:gd name="T33" fmla="*/ 263 h 1867"/>
                  <a:gd name="T34" fmla="*/ 897 w 1498"/>
                  <a:gd name="T35" fmla="*/ 366 h 1867"/>
                  <a:gd name="T36" fmla="*/ 1390 w 1498"/>
                  <a:gd name="T37" fmla="*/ 1650 h 1867"/>
                  <a:gd name="T38" fmla="*/ 1346 w 1498"/>
                  <a:gd name="T39" fmla="*/ 1303 h 1867"/>
                  <a:gd name="T40" fmla="*/ 152 w 1498"/>
                  <a:gd name="T41" fmla="*/ 1650 h 1867"/>
                  <a:gd name="T42" fmla="*/ 108 w 1498"/>
                  <a:gd name="T43" fmla="*/ 1281 h 1867"/>
                  <a:gd name="T44" fmla="*/ 1368 w 1498"/>
                  <a:gd name="T45" fmla="*/ 1259 h 1867"/>
                  <a:gd name="T46" fmla="*/ 1390 w 1498"/>
                  <a:gd name="T47" fmla="*/ 1650 h 1867"/>
                  <a:gd name="T48" fmla="*/ 1281 w 1498"/>
                  <a:gd name="T49" fmla="*/ 71 h 1867"/>
                  <a:gd name="T50" fmla="*/ 1221 w 1498"/>
                  <a:gd name="T51" fmla="*/ 0 h 1867"/>
                  <a:gd name="T52" fmla="*/ 259 w 1498"/>
                  <a:gd name="T53" fmla="*/ 9 h 1867"/>
                  <a:gd name="T54" fmla="*/ 154 w 1498"/>
                  <a:gd name="T55" fmla="*/ 71 h 1867"/>
                  <a:gd name="T56" fmla="*/ 132 w 1498"/>
                  <a:gd name="T57" fmla="*/ 156 h 1867"/>
                  <a:gd name="T58" fmla="*/ 165 w 1498"/>
                  <a:gd name="T59" fmla="*/ 178 h 1867"/>
                  <a:gd name="T60" fmla="*/ 209 w 1498"/>
                  <a:gd name="T61" fmla="*/ 1217 h 1867"/>
                  <a:gd name="T62" fmla="*/ 187 w 1498"/>
                  <a:gd name="T63" fmla="*/ 134 h 1867"/>
                  <a:gd name="T64" fmla="*/ 176 w 1498"/>
                  <a:gd name="T65" fmla="*/ 115 h 1867"/>
                  <a:gd name="T66" fmla="*/ 1322 w 1498"/>
                  <a:gd name="T67" fmla="*/ 134 h 1867"/>
                  <a:gd name="T68" fmla="*/ 1289 w 1498"/>
                  <a:gd name="T69" fmla="*/ 156 h 1867"/>
                  <a:gd name="T70" fmla="*/ 1333 w 1498"/>
                  <a:gd name="T71" fmla="*/ 1217 h 1867"/>
                  <a:gd name="T72" fmla="*/ 1344 w 1498"/>
                  <a:gd name="T73" fmla="*/ 178 h 1867"/>
                  <a:gd name="T74" fmla="*/ 1366 w 1498"/>
                  <a:gd name="T75" fmla="*/ 93 h 1867"/>
                  <a:gd name="T76" fmla="*/ 288 w 1498"/>
                  <a:gd name="T77" fmla="*/ 44 h 1867"/>
                  <a:gd name="T78" fmla="*/ 1228 w 1498"/>
                  <a:gd name="T79" fmla="*/ 71 h 1867"/>
                  <a:gd name="T80" fmla="*/ 288 w 1498"/>
                  <a:gd name="T81"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8" h="1867">
                    <a:moveTo>
                      <a:pt x="1476" y="1743"/>
                    </a:moveTo>
                    <a:cubicBezTo>
                      <a:pt x="1413" y="1743"/>
                      <a:pt x="1413" y="1743"/>
                      <a:pt x="1413" y="1743"/>
                    </a:cubicBezTo>
                    <a:cubicBezTo>
                      <a:pt x="1413" y="1714"/>
                      <a:pt x="1413" y="1714"/>
                      <a:pt x="1413" y="1714"/>
                    </a:cubicBezTo>
                    <a:cubicBezTo>
                      <a:pt x="1413" y="1702"/>
                      <a:pt x="1403" y="1693"/>
                      <a:pt x="139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476" y="1867"/>
                      <a:pt x="1476" y="1867"/>
                      <a:pt x="1476" y="1867"/>
                    </a:cubicBezTo>
                    <a:cubicBezTo>
                      <a:pt x="1488" y="1867"/>
                      <a:pt x="1498" y="1858"/>
                      <a:pt x="1498" y="1846"/>
                    </a:cubicBezTo>
                    <a:cubicBezTo>
                      <a:pt x="1498" y="1765"/>
                      <a:pt x="1498" y="1765"/>
                      <a:pt x="1498" y="1765"/>
                    </a:cubicBezTo>
                    <a:cubicBezTo>
                      <a:pt x="1498" y="1753"/>
                      <a:pt x="1488" y="1743"/>
                      <a:pt x="1476" y="1743"/>
                    </a:cubicBezTo>
                    <a:close/>
                    <a:moveTo>
                      <a:pt x="516" y="179"/>
                    </a:moveTo>
                    <a:cubicBezTo>
                      <a:pt x="516" y="645"/>
                      <a:pt x="516" y="645"/>
                      <a:pt x="516" y="645"/>
                    </a:cubicBezTo>
                    <a:cubicBezTo>
                      <a:pt x="516" y="650"/>
                      <a:pt x="520" y="654"/>
                      <a:pt x="526" y="654"/>
                    </a:cubicBezTo>
                    <a:cubicBezTo>
                      <a:pt x="968" y="654"/>
                      <a:pt x="968" y="654"/>
                      <a:pt x="968" y="654"/>
                    </a:cubicBezTo>
                    <a:cubicBezTo>
                      <a:pt x="974" y="654"/>
                      <a:pt x="978" y="650"/>
                      <a:pt x="978" y="645"/>
                    </a:cubicBezTo>
                    <a:cubicBezTo>
                      <a:pt x="978" y="179"/>
                      <a:pt x="978" y="179"/>
                      <a:pt x="978" y="179"/>
                    </a:cubicBezTo>
                    <a:cubicBezTo>
                      <a:pt x="978" y="173"/>
                      <a:pt x="974" y="169"/>
                      <a:pt x="968" y="169"/>
                    </a:cubicBezTo>
                    <a:cubicBezTo>
                      <a:pt x="526" y="169"/>
                      <a:pt x="526" y="169"/>
                      <a:pt x="526" y="169"/>
                    </a:cubicBezTo>
                    <a:cubicBezTo>
                      <a:pt x="520" y="169"/>
                      <a:pt x="516" y="173"/>
                      <a:pt x="516" y="179"/>
                    </a:cubicBezTo>
                    <a:close/>
                    <a:moveTo>
                      <a:pt x="897" y="455"/>
                    </a:moveTo>
                    <a:cubicBezTo>
                      <a:pt x="794" y="455"/>
                      <a:pt x="794" y="455"/>
                      <a:pt x="794" y="455"/>
                    </a:cubicBezTo>
                    <a:cubicBezTo>
                      <a:pt x="794" y="557"/>
                      <a:pt x="794" y="557"/>
                      <a:pt x="794" y="557"/>
                    </a:cubicBezTo>
                    <a:cubicBezTo>
                      <a:pt x="705" y="557"/>
                      <a:pt x="705" y="557"/>
                      <a:pt x="705" y="557"/>
                    </a:cubicBezTo>
                    <a:cubicBezTo>
                      <a:pt x="705" y="455"/>
                      <a:pt x="705" y="455"/>
                      <a:pt x="705" y="455"/>
                    </a:cubicBezTo>
                    <a:cubicBezTo>
                      <a:pt x="603" y="455"/>
                      <a:pt x="603" y="455"/>
                      <a:pt x="603" y="455"/>
                    </a:cubicBezTo>
                    <a:cubicBezTo>
                      <a:pt x="603" y="366"/>
                      <a:pt x="603" y="366"/>
                      <a:pt x="603" y="366"/>
                    </a:cubicBezTo>
                    <a:cubicBezTo>
                      <a:pt x="705" y="366"/>
                      <a:pt x="705" y="366"/>
                      <a:pt x="705" y="366"/>
                    </a:cubicBezTo>
                    <a:cubicBezTo>
                      <a:pt x="705" y="263"/>
                      <a:pt x="705" y="263"/>
                      <a:pt x="705" y="263"/>
                    </a:cubicBezTo>
                    <a:cubicBezTo>
                      <a:pt x="794" y="263"/>
                      <a:pt x="794" y="263"/>
                      <a:pt x="794" y="263"/>
                    </a:cubicBezTo>
                    <a:cubicBezTo>
                      <a:pt x="794" y="366"/>
                      <a:pt x="794" y="366"/>
                      <a:pt x="794" y="366"/>
                    </a:cubicBezTo>
                    <a:cubicBezTo>
                      <a:pt x="897" y="366"/>
                      <a:pt x="897" y="366"/>
                      <a:pt x="897" y="366"/>
                    </a:cubicBezTo>
                    <a:lnTo>
                      <a:pt x="897" y="455"/>
                    </a:lnTo>
                    <a:close/>
                    <a:moveTo>
                      <a:pt x="1390" y="1650"/>
                    </a:moveTo>
                    <a:cubicBezTo>
                      <a:pt x="1346" y="1650"/>
                      <a:pt x="1346" y="1650"/>
                      <a:pt x="1346" y="1650"/>
                    </a:cubicBezTo>
                    <a:cubicBezTo>
                      <a:pt x="1346" y="1303"/>
                      <a:pt x="1346" y="1303"/>
                      <a:pt x="1346" y="1303"/>
                    </a:cubicBezTo>
                    <a:cubicBezTo>
                      <a:pt x="152" y="1303"/>
                      <a:pt x="152" y="1303"/>
                      <a:pt x="152" y="1303"/>
                    </a:cubicBezTo>
                    <a:cubicBezTo>
                      <a:pt x="152" y="1650"/>
                      <a:pt x="152" y="1650"/>
                      <a:pt x="152" y="1650"/>
                    </a:cubicBezTo>
                    <a:cubicBezTo>
                      <a:pt x="108" y="1650"/>
                      <a:pt x="108" y="1650"/>
                      <a:pt x="108" y="1650"/>
                    </a:cubicBezTo>
                    <a:cubicBezTo>
                      <a:pt x="108" y="1281"/>
                      <a:pt x="108" y="1281"/>
                      <a:pt x="108" y="1281"/>
                    </a:cubicBezTo>
                    <a:cubicBezTo>
                      <a:pt x="108" y="1269"/>
                      <a:pt x="117" y="1259"/>
                      <a:pt x="130" y="1259"/>
                    </a:cubicBezTo>
                    <a:cubicBezTo>
                      <a:pt x="1368" y="1259"/>
                      <a:pt x="1368" y="1259"/>
                      <a:pt x="1368" y="1259"/>
                    </a:cubicBezTo>
                    <a:cubicBezTo>
                      <a:pt x="1381" y="1259"/>
                      <a:pt x="1390" y="1269"/>
                      <a:pt x="1390" y="1281"/>
                    </a:cubicBezTo>
                    <a:lnTo>
                      <a:pt x="1390" y="1650"/>
                    </a:lnTo>
                    <a:close/>
                    <a:moveTo>
                      <a:pt x="1344" y="71"/>
                    </a:moveTo>
                    <a:cubicBezTo>
                      <a:pt x="1281" y="71"/>
                      <a:pt x="1281" y="71"/>
                      <a:pt x="1281" y="71"/>
                    </a:cubicBezTo>
                    <a:cubicBezTo>
                      <a:pt x="1239" y="9"/>
                      <a:pt x="1239" y="9"/>
                      <a:pt x="1239" y="9"/>
                    </a:cubicBezTo>
                    <a:cubicBezTo>
                      <a:pt x="1235" y="3"/>
                      <a:pt x="1228" y="0"/>
                      <a:pt x="1221" y="0"/>
                    </a:cubicBezTo>
                    <a:cubicBezTo>
                      <a:pt x="277" y="0"/>
                      <a:pt x="277" y="0"/>
                      <a:pt x="277" y="0"/>
                    </a:cubicBezTo>
                    <a:cubicBezTo>
                      <a:pt x="270" y="0"/>
                      <a:pt x="263" y="3"/>
                      <a:pt x="259" y="9"/>
                    </a:cubicBezTo>
                    <a:cubicBezTo>
                      <a:pt x="217" y="71"/>
                      <a:pt x="217" y="71"/>
                      <a:pt x="217" y="71"/>
                    </a:cubicBezTo>
                    <a:cubicBezTo>
                      <a:pt x="154" y="71"/>
                      <a:pt x="154" y="71"/>
                      <a:pt x="154" y="71"/>
                    </a:cubicBezTo>
                    <a:cubicBezTo>
                      <a:pt x="142" y="71"/>
                      <a:pt x="132" y="81"/>
                      <a:pt x="132" y="93"/>
                    </a:cubicBezTo>
                    <a:cubicBezTo>
                      <a:pt x="132" y="156"/>
                      <a:pt x="132" y="156"/>
                      <a:pt x="132" y="156"/>
                    </a:cubicBezTo>
                    <a:cubicBezTo>
                      <a:pt x="132" y="168"/>
                      <a:pt x="142" y="178"/>
                      <a:pt x="154" y="178"/>
                    </a:cubicBezTo>
                    <a:cubicBezTo>
                      <a:pt x="165" y="178"/>
                      <a:pt x="165" y="178"/>
                      <a:pt x="165" y="178"/>
                    </a:cubicBezTo>
                    <a:cubicBezTo>
                      <a:pt x="165" y="1217"/>
                      <a:pt x="165" y="1217"/>
                      <a:pt x="165" y="1217"/>
                    </a:cubicBezTo>
                    <a:cubicBezTo>
                      <a:pt x="209" y="1217"/>
                      <a:pt x="209" y="1217"/>
                      <a:pt x="209" y="1217"/>
                    </a:cubicBezTo>
                    <a:cubicBezTo>
                      <a:pt x="209" y="156"/>
                      <a:pt x="209" y="156"/>
                      <a:pt x="209" y="156"/>
                    </a:cubicBezTo>
                    <a:cubicBezTo>
                      <a:pt x="209" y="144"/>
                      <a:pt x="199" y="134"/>
                      <a:pt x="187" y="134"/>
                    </a:cubicBezTo>
                    <a:cubicBezTo>
                      <a:pt x="176" y="134"/>
                      <a:pt x="176" y="134"/>
                      <a:pt x="176" y="134"/>
                    </a:cubicBezTo>
                    <a:cubicBezTo>
                      <a:pt x="176" y="115"/>
                      <a:pt x="176" y="115"/>
                      <a:pt x="176" y="115"/>
                    </a:cubicBezTo>
                    <a:cubicBezTo>
                      <a:pt x="1322" y="115"/>
                      <a:pt x="1322" y="115"/>
                      <a:pt x="1322" y="115"/>
                    </a:cubicBezTo>
                    <a:cubicBezTo>
                      <a:pt x="1322" y="134"/>
                      <a:pt x="1322" y="134"/>
                      <a:pt x="1322" y="134"/>
                    </a:cubicBezTo>
                    <a:cubicBezTo>
                      <a:pt x="1311" y="134"/>
                      <a:pt x="1311" y="134"/>
                      <a:pt x="1311" y="134"/>
                    </a:cubicBezTo>
                    <a:cubicBezTo>
                      <a:pt x="1299" y="134"/>
                      <a:pt x="1289" y="144"/>
                      <a:pt x="1289" y="156"/>
                    </a:cubicBezTo>
                    <a:cubicBezTo>
                      <a:pt x="1289" y="1217"/>
                      <a:pt x="1289" y="1217"/>
                      <a:pt x="1289" y="1217"/>
                    </a:cubicBezTo>
                    <a:cubicBezTo>
                      <a:pt x="1333" y="1217"/>
                      <a:pt x="1333" y="1217"/>
                      <a:pt x="1333" y="1217"/>
                    </a:cubicBezTo>
                    <a:cubicBezTo>
                      <a:pt x="1333" y="178"/>
                      <a:pt x="1333" y="178"/>
                      <a:pt x="1333" y="178"/>
                    </a:cubicBezTo>
                    <a:cubicBezTo>
                      <a:pt x="1344" y="178"/>
                      <a:pt x="1344" y="178"/>
                      <a:pt x="1344" y="178"/>
                    </a:cubicBezTo>
                    <a:cubicBezTo>
                      <a:pt x="1356" y="178"/>
                      <a:pt x="1366" y="168"/>
                      <a:pt x="1366" y="156"/>
                    </a:cubicBezTo>
                    <a:cubicBezTo>
                      <a:pt x="1366" y="93"/>
                      <a:pt x="1366" y="93"/>
                      <a:pt x="1366" y="93"/>
                    </a:cubicBezTo>
                    <a:cubicBezTo>
                      <a:pt x="1366" y="81"/>
                      <a:pt x="1356" y="71"/>
                      <a:pt x="1344" y="71"/>
                    </a:cubicBezTo>
                    <a:close/>
                    <a:moveTo>
                      <a:pt x="288" y="44"/>
                    </a:moveTo>
                    <a:cubicBezTo>
                      <a:pt x="1210" y="44"/>
                      <a:pt x="1210" y="44"/>
                      <a:pt x="1210" y="44"/>
                    </a:cubicBezTo>
                    <a:cubicBezTo>
                      <a:pt x="1228" y="71"/>
                      <a:pt x="1228" y="71"/>
                      <a:pt x="1228" y="71"/>
                    </a:cubicBezTo>
                    <a:cubicBezTo>
                      <a:pt x="270" y="71"/>
                      <a:pt x="270" y="71"/>
                      <a:pt x="270" y="71"/>
                    </a:cubicBezTo>
                    <a:lnTo>
                      <a:pt x="288" y="44"/>
                    </a:lnTo>
                    <a:close/>
                  </a:path>
                </a:pathLst>
              </a:custGeom>
              <a:solidFill>
                <a:srgbClr val="792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dirty="0"/>
              </a:p>
            </p:txBody>
          </p:sp>
          <p:sp>
            <p:nvSpPr>
              <p:cNvPr id="99" name="Freeform 21">
                <a:extLst>
                  <a:ext uri="{FF2B5EF4-FFF2-40B4-BE49-F238E27FC236}">
                    <a16:creationId xmlns:a16="http://schemas.microsoft.com/office/drawing/2014/main" id="{17C8317E-3F00-46B9-8801-FF70FD8901E5}"/>
                  </a:ext>
                </a:extLst>
              </p:cNvPr>
              <p:cNvSpPr>
                <a:spLocks noEditPoints="1"/>
              </p:cNvSpPr>
              <p:nvPr/>
            </p:nvSpPr>
            <p:spPr bwMode="auto">
              <a:xfrm>
                <a:off x="5788914" y="2868168"/>
                <a:ext cx="612648" cy="1058037"/>
              </a:xfrm>
              <a:custGeom>
                <a:avLst/>
                <a:gdLst>
                  <a:gd name="T0" fmla="*/ 137 w 858"/>
                  <a:gd name="T1" fmla="*/ 481 h 1481"/>
                  <a:gd name="T2" fmla="*/ 10 w 858"/>
                  <a:gd name="T3" fmla="*/ 491 h 1481"/>
                  <a:gd name="T4" fmla="*/ 0 w 858"/>
                  <a:gd name="T5" fmla="*/ 284 h 1481"/>
                  <a:gd name="T6" fmla="*/ 127 w 858"/>
                  <a:gd name="T7" fmla="*/ 274 h 1481"/>
                  <a:gd name="T8" fmla="*/ 127 w 858"/>
                  <a:gd name="T9" fmla="*/ 0 h 1481"/>
                  <a:gd name="T10" fmla="*/ 0 w 858"/>
                  <a:gd name="T11" fmla="*/ 10 h 1481"/>
                  <a:gd name="T12" fmla="*/ 10 w 858"/>
                  <a:gd name="T13" fmla="*/ 217 h 1481"/>
                  <a:gd name="T14" fmla="*/ 137 w 858"/>
                  <a:gd name="T15" fmla="*/ 207 h 1481"/>
                  <a:gd name="T16" fmla="*/ 127 w 858"/>
                  <a:gd name="T17" fmla="*/ 0 h 1481"/>
                  <a:gd name="T18" fmla="*/ 10 w 858"/>
                  <a:gd name="T19" fmla="*/ 548 h 1481"/>
                  <a:gd name="T20" fmla="*/ 0 w 858"/>
                  <a:gd name="T21" fmla="*/ 755 h 1481"/>
                  <a:gd name="T22" fmla="*/ 127 w 858"/>
                  <a:gd name="T23" fmla="*/ 765 h 1481"/>
                  <a:gd name="T24" fmla="*/ 137 w 858"/>
                  <a:gd name="T25" fmla="*/ 558 h 1481"/>
                  <a:gd name="T26" fmla="*/ 127 w 858"/>
                  <a:gd name="T27" fmla="*/ 822 h 1481"/>
                  <a:gd name="T28" fmla="*/ 0 w 858"/>
                  <a:gd name="T29" fmla="*/ 832 h 1481"/>
                  <a:gd name="T30" fmla="*/ 10 w 858"/>
                  <a:gd name="T31" fmla="*/ 1039 h 1481"/>
                  <a:gd name="T32" fmla="*/ 137 w 858"/>
                  <a:gd name="T33" fmla="*/ 1029 h 1481"/>
                  <a:gd name="T34" fmla="*/ 127 w 858"/>
                  <a:gd name="T35" fmla="*/ 822 h 1481"/>
                  <a:gd name="T36" fmla="*/ 206 w 858"/>
                  <a:gd name="T37" fmla="*/ 822 h 1481"/>
                  <a:gd name="T38" fmla="*/ 196 w 858"/>
                  <a:gd name="T39" fmla="*/ 1029 h 1481"/>
                  <a:gd name="T40" fmla="*/ 323 w 858"/>
                  <a:gd name="T41" fmla="*/ 1039 h 1481"/>
                  <a:gd name="T42" fmla="*/ 333 w 858"/>
                  <a:gd name="T43" fmla="*/ 832 h 1481"/>
                  <a:gd name="T44" fmla="*/ 323 w 858"/>
                  <a:gd name="T45" fmla="*/ 548 h 1481"/>
                  <a:gd name="T46" fmla="*/ 196 w 858"/>
                  <a:gd name="T47" fmla="*/ 558 h 1481"/>
                  <a:gd name="T48" fmla="*/ 206 w 858"/>
                  <a:gd name="T49" fmla="*/ 765 h 1481"/>
                  <a:gd name="T50" fmla="*/ 333 w 858"/>
                  <a:gd name="T51" fmla="*/ 755 h 1481"/>
                  <a:gd name="T52" fmla="*/ 323 w 858"/>
                  <a:gd name="T53" fmla="*/ 548 h 1481"/>
                  <a:gd name="T54" fmla="*/ 721 w 858"/>
                  <a:gd name="T55" fmla="*/ 481 h 1481"/>
                  <a:gd name="T56" fmla="*/ 848 w 858"/>
                  <a:gd name="T57" fmla="*/ 491 h 1481"/>
                  <a:gd name="T58" fmla="*/ 858 w 858"/>
                  <a:gd name="T59" fmla="*/ 284 h 1481"/>
                  <a:gd name="T60" fmla="*/ 731 w 858"/>
                  <a:gd name="T61" fmla="*/ 274 h 1481"/>
                  <a:gd name="T62" fmla="*/ 721 w 858"/>
                  <a:gd name="T63" fmla="*/ 10 h 1481"/>
                  <a:gd name="T64" fmla="*/ 731 w 858"/>
                  <a:gd name="T65" fmla="*/ 217 h 1481"/>
                  <a:gd name="T66" fmla="*/ 858 w 858"/>
                  <a:gd name="T67" fmla="*/ 207 h 1481"/>
                  <a:gd name="T68" fmla="*/ 848 w 858"/>
                  <a:gd name="T69" fmla="*/ 0 h 1481"/>
                  <a:gd name="T70" fmla="*/ 721 w 858"/>
                  <a:gd name="T71" fmla="*/ 10 h 1481"/>
                  <a:gd name="T72" fmla="*/ 721 w 858"/>
                  <a:gd name="T73" fmla="*/ 755 h 1481"/>
                  <a:gd name="T74" fmla="*/ 848 w 858"/>
                  <a:gd name="T75" fmla="*/ 765 h 1481"/>
                  <a:gd name="T76" fmla="*/ 858 w 858"/>
                  <a:gd name="T77" fmla="*/ 558 h 1481"/>
                  <a:gd name="T78" fmla="*/ 731 w 858"/>
                  <a:gd name="T79" fmla="*/ 548 h 1481"/>
                  <a:gd name="T80" fmla="*/ 721 w 858"/>
                  <a:gd name="T81" fmla="*/ 832 h 1481"/>
                  <a:gd name="T82" fmla="*/ 731 w 858"/>
                  <a:gd name="T83" fmla="*/ 1039 h 1481"/>
                  <a:gd name="T84" fmla="*/ 858 w 858"/>
                  <a:gd name="T85" fmla="*/ 1029 h 1481"/>
                  <a:gd name="T86" fmla="*/ 848 w 858"/>
                  <a:gd name="T87" fmla="*/ 822 h 1481"/>
                  <a:gd name="T88" fmla="*/ 721 w 858"/>
                  <a:gd name="T89" fmla="*/ 832 h 1481"/>
                  <a:gd name="T90" fmla="*/ 521 w 858"/>
                  <a:gd name="T91" fmla="*/ 1029 h 1481"/>
                  <a:gd name="T92" fmla="*/ 648 w 858"/>
                  <a:gd name="T93" fmla="*/ 1039 h 1481"/>
                  <a:gd name="T94" fmla="*/ 658 w 858"/>
                  <a:gd name="T95" fmla="*/ 832 h 1481"/>
                  <a:gd name="T96" fmla="*/ 531 w 858"/>
                  <a:gd name="T97" fmla="*/ 822 h 1481"/>
                  <a:gd name="T98" fmla="*/ 521 w 858"/>
                  <a:gd name="T99" fmla="*/ 558 h 1481"/>
                  <a:gd name="T100" fmla="*/ 531 w 858"/>
                  <a:gd name="T101" fmla="*/ 765 h 1481"/>
                  <a:gd name="T102" fmla="*/ 658 w 858"/>
                  <a:gd name="T103" fmla="*/ 755 h 1481"/>
                  <a:gd name="T104" fmla="*/ 648 w 858"/>
                  <a:gd name="T105" fmla="*/ 548 h 1481"/>
                  <a:gd name="T106" fmla="*/ 521 w 858"/>
                  <a:gd name="T107" fmla="*/ 558 h 1481"/>
                  <a:gd name="T108" fmla="*/ 409 w 858"/>
                  <a:gd name="T109" fmla="*/ 1197 h 1481"/>
                  <a:gd name="T110" fmla="*/ 126 w 858"/>
                  <a:gd name="T111" fmla="*/ 1187 h 1481"/>
                  <a:gd name="T112" fmla="*/ 116 w 858"/>
                  <a:gd name="T113" fmla="*/ 1471 h 1481"/>
                  <a:gd name="T114" fmla="*/ 399 w 858"/>
                  <a:gd name="T115" fmla="*/ 1481 h 1481"/>
                  <a:gd name="T116" fmla="*/ 742 w 858"/>
                  <a:gd name="T117" fmla="*/ 1471 h 1481"/>
                  <a:gd name="T118" fmla="*/ 732 w 858"/>
                  <a:gd name="T119" fmla="*/ 1187 h 1481"/>
                  <a:gd name="T120" fmla="*/ 449 w 858"/>
                  <a:gd name="T121" fmla="*/ 1197 h 1481"/>
                  <a:gd name="T122" fmla="*/ 459 w 858"/>
                  <a:gd name="T123" fmla="*/ 1481 h 1481"/>
                  <a:gd name="T124" fmla="*/ 742 w 858"/>
                  <a:gd name="T125" fmla="*/ 147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8" h="1481">
                    <a:moveTo>
                      <a:pt x="137" y="284"/>
                    </a:moveTo>
                    <a:cubicBezTo>
                      <a:pt x="137" y="481"/>
                      <a:pt x="137" y="481"/>
                      <a:pt x="137" y="481"/>
                    </a:cubicBezTo>
                    <a:cubicBezTo>
                      <a:pt x="137" y="486"/>
                      <a:pt x="133" y="491"/>
                      <a:pt x="127" y="491"/>
                    </a:cubicBezTo>
                    <a:cubicBezTo>
                      <a:pt x="10" y="491"/>
                      <a:pt x="10" y="491"/>
                      <a:pt x="10" y="491"/>
                    </a:cubicBezTo>
                    <a:cubicBezTo>
                      <a:pt x="5" y="491"/>
                      <a:pt x="0" y="486"/>
                      <a:pt x="0" y="481"/>
                    </a:cubicBezTo>
                    <a:cubicBezTo>
                      <a:pt x="0" y="284"/>
                      <a:pt x="0" y="284"/>
                      <a:pt x="0" y="284"/>
                    </a:cubicBezTo>
                    <a:cubicBezTo>
                      <a:pt x="0" y="279"/>
                      <a:pt x="5" y="274"/>
                      <a:pt x="10" y="274"/>
                    </a:cubicBezTo>
                    <a:cubicBezTo>
                      <a:pt x="127" y="274"/>
                      <a:pt x="127" y="274"/>
                      <a:pt x="127" y="274"/>
                    </a:cubicBezTo>
                    <a:cubicBezTo>
                      <a:pt x="133" y="274"/>
                      <a:pt x="137" y="279"/>
                      <a:pt x="137" y="284"/>
                    </a:cubicBezTo>
                    <a:close/>
                    <a:moveTo>
                      <a:pt x="127" y="0"/>
                    </a:moveTo>
                    <a:cubicBezTo>
                      <a:pt x="10" y="0"/>
                      <a:pt x="10" y="0"/>
                      <a:pt x="10" y="0"/>
                    </a:cubicBezTo>
                    <a:cubicBezTo>
                      <a:pt x="5" y="0"/>
                      <a:pt x="0" y="5"/>
                      <a:pt x="0" y="10"/>
                    </a:cubicBezTo>
                    <a:cubicBezTo>
                      <a:pt x="0" y="207"/>
                      <a:pt x="0" y="207"/>
                      <a:pt x="0" y="207"/>
                    </a:cubicBezTo>
                    <a:cubicBezTo>
                      <a:pt x="0" y="213"/>
                      <a:pt x="5" y="217"/>
                      <a:pt x="10" y="217"/>
                    </a:cubicBezTo>
                    <a:cubicBezTo>
                      <a:pt x="127" y="217"/>
                      <a:pt x="127" y="217"/>
                      <a:pt x="127" y="217"/>
                    </a:cubicBezTo>
                    <a:cubicBezTo>
                      <a:pt x="133" y="217"/>
                      <a:pt x="137" y="213"/>
                      <a:pt x="137" y="207"/>
                    </a:cubicBezTo>
                    <a:cubicBezTo>
                      <a:pt x="137" y="10"/>
                      <a:pt x="137" y="10"/>
                      <a:pt x="137" y="10"/>
                    </a:cubicBezTo>
                    <a:cubicBezTo>
                      <a:pt x="137" y="5"/>
                      <a:pt x="133" y="0"/>
                      <a:pt x="127" y="0"/>
                    </a:cubicBezTo>
                    <a:close/>
                    <a:moveTo>
                      <a:pt x="127" y="548"/>
                    </a:moveTo>
                    <a:cubicBezTo>
                      <a:pt x="10" y="548"/>
                      <a:pt x="10" y="548"/>
                      <a:pt x="10" y="548"/>
                    </a:cubicBezTo>
                    <a:cubicBezTo>
                      <a:pt x="5" y="548"/>
                      <a:pt x="0" y="552"/>
                      <a:pt x="0" y="558"/>
                    </a:cubicBezTo>
                    <a:cubicBezTo>
                      <a:pt x="0" y="755"/>
                      <a:pt x="0" y="755"/>
                      <a:pt x="0" y="755"/>
                    </a:cubicBezTo>
                    <a:cubicBezTo>
                      <a:pt x="0" y="760"/>
                      <a:pt x="5" y="765"/>
                      <a:pt x="10" y="765"/>
                    </a:cubicBezTo>
                    <a:cubicBezTo>
                      <a:pt x="127" y="765"/>
                      <a:pt x="127" y="765"/>
                      <a:pt x="127" y="765"/>
                    </a:cubicBezTo>
                    <a:cubicBezTo>
                      <a:pt x="133" y="765"/>
                      <a:pt x="137" y="760"/>
                      <a:pt x="137" y="755"/>
                    </a:cubicBezTo>
                    <a:cubicBezTo>
                      <a:pt x="137" y="558"/>
                      <a:pt x="137" y="558"/>
                      <a:pt x="137" y="558"/>
                    </a:cubicBezTo>
                    <a:cubicBezTo>
                      <a:pt x="137" y="552"/>
                      <a:pt x="133" y="548"/>
                      <a:pt x="127" y="548"/>
                    </a:cubicBezTo>
                    <a:close/>
                    <a:moveTo>
                      <a:pt x="127" y="822"/>
                    </a:moveTo>
                    <a:cubicBezTo>
                      <a:pt x="10" y="822"/>
                      <a:pt x="10" y="822"/>
                      <a:pt x="10" y="822"/>
                    </a:cubicBezTo>
                    <a:cubicBezTo>
                      <a:pt x="5" y="822"/>
                      <a:pt x="0" y="826"/>
                      <a:pt x="0" y="832"/>
                    </a:cubicBezTo>
                    <a:cubicBezTo>
                      <a:pt x="0" y="1029"/>
                      <a:pt x="0" y="1029"/>
                      <a:pt x="0" y="1029"/>
                    </a:cubicBezTo>
                    <a:cubicBezTo>
                      <a:pt x="0" y="1034"/>
                      <a:pt x="5" y="1039"/>
                      <a:pt x="10" y="1039"/>
                    </a:cubicBezTo>
                    <a:cubicBezTo>
                      <a:pt x="127" y="1039"/>
                      <a:pt x="127" y="1039"/>
                      <a:pt x="127" y="1039"/>
                    </a:cubicBezTo>
                    <a:cubicBezTo>
                      <a:pt x="133" y="1039"/>
                      <a:pt x="137" y="1034"/>
                      <a:pt x="137" y="1029"/>
                    </a:cubicBezTo>
                    <a:cubicBezTo>
                      <a:pt x="137" y="832"/>
                      <a:pt x="137" y="832"/>
                      <a:pt x="137" y="832"/>
                    </a:cubicBezTo>
                    <a:cubicBezTo>
                      <a:pt x="137" y="826"/>
                      <a:pt x="133" y="822"/>
                      <a:pt x="127" y="822"/>
                    </a:cubicBezTo>
                    <a:close/>
                    <a:moveTo>
                      <a:pt x="323" y="822"/>
                    </a:moveTo>
                    <a:cubicBezTo>
                      <a:pt x="206" y="822"/>
                      <a:pt x="206" y="822"/>
                      <a:pt x="206" y="822"/>
                    </a:cubicBezTo>
                    <a:cubicBezTo>
                      <a:pt x="200" y="822"/>
                      <a:pt x="196" y="826"/>
                      <a:pt x="196" y="832"/>
                    </a:cubicBezTo>
                    <a:cubicBezTo>
                      <a:pt x="196" y="1029"/>
                      <a:pt x="196" y="1029"/>
                      <a:pt x="196" y="1029"/>
                    </a:cubicBezTo>
                    <a:cubicBezTo>
                      <a:pt x="196" y="1034"/>
                      <a:pt x="200" y="1039"/>
                      <a:pt x="206" y="1039"/>
                    </a:cubicBezTo>
                    <a:cubicBezTo>
                      <a:pt x="323" y="1039"/>
                      <a:pt x="323" y="1039"/>
                      <a:pt x="323" y="1039"/>
                    </a:cubicBezTo>
                    <a:cubicBezTo>
                      <a:pt x="328" y="1039"/>
                      <a:pt x="333" y="1034"/>
                      <a:pt x="333" y="1029"/>
                    </a:cubicBezTo>
                    <a:cubicBezTo>
                      <a:pt x="333" y="832"/>
                      <a:pt x="333" y="832"/>
                      <a:pt x="333" y="832"/>
                    </a:cubicBezTo>
                    <a:cubicBezTo>
                      <a:pt x="333" y="826"/>
                      <a:pt x="328" y="822"/>
                      <a:pt x="323" y="822"/>
                    </a:cubicBezTo>
                    <a:close/>
                    <a:moveTo>
                      <a:pt x="323" y="548"/>
                    </a:moveTo>
                    <a:cubicBezTo>
                      <a:pt x="206" y="548"/>
                      <a:pt x="206" y="548"/>
                      <a:pt x="206" y="548"/>
                    </a:cubicBezTo>
                    <a:cubicBezTo>
                      <a:pt x="200" y="548"/>
                      <a:pt x="196" y="552"/>
                      <a:pt x="196" y="558"/>
                    </a:cubicBezTo>
                    <a:cubicBezTo>
                      <a:pt x="196" y="755"/>
                      <a:pt x="196" y="755"/>
                      <a:pt x="196" y="755"/>
                    </a:cubicBezTo>
                    <a:cubicBezTo>
                      <a:pt x="196" y="760"/>
                      <a:pt x="200" y="765"/>
                      <a:pt x="206" y="765"/>
                    </a:cubicBezTo>
                    <a:cubicBezTo>
                      <a:pt x="323" y="765"/>
                      <a:pt x="323" y="765"/>
                      <a:pt x="323" y="765"/>
                    </a:cubicBezTo>
                    <a:cubicBezTo>
                      <a:pt x="328" y="765"/>
                      <a:pt x="333" y="760"/>
                      <a:pt x="333" y="755"/>
                    </a:cubicBezTo>
                    <a:cubicBezTo>
                      <a:pt x="333" y="558"/>
                      <a:pt x="333" y="558"/>
                      <a:pt x="333" y="558"/>
                    </a:cubicBezTo>
                    <a:cubicBezTo>
                      <a:pt x="333" y="552"/>
                      <a:pt x="328" y="548"/>
                      <a:pt x="323" y="548"/>
                    </a:cubicBezTo>
                    <a:close/>
                    <a:moveTo>
                      <a:pt x="721" y="284"/>
                    </a:moveTo>
                    <a:cubicBezTo>
                      <a:pt x="721" y="481"/>
                      <a:pt x="721" y="481"/>
                      <a:pt x="721" y="481"/>
                    </a:cubicBezTo>
                    <a:cubicBezTo>
                      <a:pt x="721" y="486"/>
                      <a:pt x="725" y="491"/>
                      <a:pt x="731" y="491"/>
                    </a:cubicBezTo>
                    <a:cubicBezTo>
                      <a:pt x="848" y="491"/>
                      <a:pt x="848" y="491"/>
                      <a:pt x="848" y="491"/>
                    </a:cubicBezTo>
                    <a:cubicBezTo>
                      <a:pt x="853" y="491"/>
                      <a:pt x="858" y="486"/>
                      <a:pt x="858" y="481"/>
                    </a:cubicBezTo>
                    <a:cubicBezTo>
                      <a:pt x="858" y="284"/>
                      <a:pt x="858" y="284"/>
                      <a:pt x="858" y="284"/>
                    </a:cubicBezTo>
                    <a:cubicBezTo>
                      <a:pt x="858" y="279"/>
                      <a:pt x="853" y="274"/>
                      <a:pt x="848" y="274"/>
                    </a:cubicBezTo>
                    <a:cubicBezTo>
                      <a:pt x="731" y="274"/>
                      <a:pt x="731" y="274"/>
                      <a:pt x="731" y="274"/>
                    </a:cubicBezTo>
                    <a:cubicBezTo>
                      <a:pt x="725" y="274"/>
                      <a:pt x="721" y="279"/>
                      <a:pt x="721" y="284"/>
                    </a:cubicBezTo>
                    <a:close/>
                    <a:moveTo>
                      <a:pt x="721" y="10"/>
                    </a:moveTo>
                    <a:cubicBezTo>
                      <a:pt x="721" y="207"/>
                      <a:pt x="721" y="207"/>
                      <a:pt x="721" y="207"/>
                    </a:cubicBezTo>
                    <a:cubicBezTo>
                      <a:pt x="721" y="213"/>
                      <a:pt x="725" y="217"/>
                      <a:pt x="731" y="217"/>
                    </a:cubicBezTo>
                    <a:cubicBezTo>
                      <a:pt x="848" y="217"/>
                      <a:pt x="848" y="217"/>
                      <a:pt x="848" y="217"/>
                    </a:cubicBezTo>
                    <a:cubicBezTo>
                      <a:pt x="853" y="217"/>
                      <a:pt x="858" y="213"/>
                      <a:pt x="858" y="207"/>
                    </a:cubicBezTo>
                    <a:cubicBezTo>
                      <a:pt x="858" y="10"/>
                      <a:pt x="858" y="10"/>
                      <a:pt x="858" y="10"/>
                    </a:cubicBezTo>
                    <a:cubicBezTo>
                      <a:pt x="858" y="5"/>
                      <a:pt x="853" y="0"/>
                      <a:pt x="848" y="0"/>
                    </a:cubicBezTo>
                    <a:cubicBezTo>
                      <a:pt x="731" y="0"/>
                      <a:pt x="731" y="0"/>
                      <a:pt x="731" y="0"/>
                    </a:cubicBezTo>
                    <a:cubicBezTo>
                      <a:pt x="725" y="0"/>
                      <a:pt x="721" y="5"/>
                      <a:pt x="721" y="10"/>
                    </a:cubicBezTo>
                    <a:close/>
                    <a:moveTo>
                      <a:pt x="721" y="558"/>
                    </a:moveTo>
                    <a:cubicBezTo>
                      <a:pt x="721" y="755"/>
                      <a:pt x="721" y="755"/>
                      <a:pt x="721" y="755"/>
                    </a:cubicBezTo>
                    <a:cubicBezTo>
                      <a:pt x="721" y="760"/>
                      <a:pt x="725" y="765"/>
                      <a:pt x="731" y="765"/>
                    </a:cubicBezTo>
                    <a:cubicBezTo>
                      <a:pt x="848" y="765"/>
                      <a:pt x="848" y="765"/>
                      <a:pt x="848" y="765"/>
                    </a:cubicBezTo>
                    <a:cubicBezTo>
                      <a:pt x="853" y="765"/>
                      <a:pt x="858" y="760"/>
                      <a:pt x="858" y="755"/>
                    </a:cubicBezTo>
                    <a:cubicBezTo>
                      <a:pt x="858" y="558"/>
                      <a:pt x="858" y="558"/>
                      <a:pt x="858" y="558"/>
                    </a:cubicBezTo>
                    <a:cubicBezTo>
                      <a:pt x="858" y="552"/>
                      <a:pt x="853" y="548"/>
                      <a:pt x="848" y="548"/>
                    </a:cubicBezTo>
                    <a:cubicBezTo>
                      <a:pt x="731" y="548"/>
                      <a:pt x="731" y="548"/>
                      <a:pt x="731" y="548"/>
                    </a:cubicBezTo>
                    <a:cubicBezTo>
                      <a:pt x="725" y="548"/>
                      <a:pt x="721" y="552"/>
                      <a:pt x="721" y="558"/>
                    </a:cubicBezTo>
                    <a:close/>
                    <a:moveTo>
                      <a:pt x="721" y="832"/>
                    </a:moveTo>
                    <a:cubicBezTo>
                      <a:pt x="721" y="1029"/>
                      <a:pt x="721" y="1029"/>
                      <a:pt x="721" y="1029"/>
                    </a:cubicBezTo>
                    <a:cubicBezTo>
                      <a:pt x="721" y="1034"/>
                      <a:pt x="725" y="1039"/>
                      <a:pt x="731" y="1039"/>
                    </a:cubicBezTo>
                    <a:cubicBezTo>
                      <a:pt x="848" y="1039"/>
                      <a:pt x="848" y="1039"/>
                      <a:pt x="848" y="1039"/>
                    </a:cubicBezTo>
                    <a:cubicBezTo>
                      <a:pt x="853" y="1039"/>
                      <a:pt x="858" y="1034"/>
                      <a:pt x="858" y="1029"/>
                    </a:cubicBezTo>
                    <a:cubicBezTo>
                      <a:pt x="858" y="832"/>
                      <a:pt x="858" y="832"/>
                      <a:pt x="858" y="832"/>
                    </a:cubicBezTo>
                    <a:cubicBezTo>
                      <a:pt x="858" y="826"/>
                      <a:pt x="853" y="822"/>
                      <a:pt x="848" y="822"/>
                    </a:cubicBezTo>
                    <a:cubicBezTo>
                      <a:pt x="731" y="822"/>
                      <a:pt x="731" y="822"/>
                      <a:pt x="731" y="822"/>
                    </a:cubicBezTo>
                    <a:cubicBezTo>
                      <a:pt x="725" y="822"/>
                      <a:pt x="721" y="826"/>
                      <a:pt x="721" y="832"/>
                    </a:cubicBezTo>
                    <a:close/>
                    <a:moveTo>
                      <a:pt x="521" y="832"/>
                    </a:moveTo>
                    <a:cubicBezTo>
                      <a:pt x="521" y="1029"/>
                      <a:pt x="521" y="1029"/>
                      <a:pt x="521" y="1029"/>
                    </a:cubicBezTo>
                    <a:cubicBezTo>
                      <a:pt x="521" y="1034"/>
                      <a:pt x="526" y="1039"/>
                      <a:pt x="531" y="1039"/>
                    </a:cubicBezTo>
                    <a:cubicBezTo>
                      <a:pt x="648" y="1039"/>
                      <a:pt x="648" y="1039"/>
                      <a:pt x="648" y="1039"/>
                    </a:cubicBezTo>
                    <a:cubicBezTo>
                      <a:pt x="654" y="1039"/>
                      <a:pt x="658" y="1034"/>
                      <a:pt x="658" y="1029"/>
                    </a:cubicBezTo>
                    <a:cubicBezTo>
                      <a:pt x="658" y="832"/>
                      <a:pt x="658" y="832"/>
                      <a:pt x="658" y="832"/>
                    </a:cubicBezTo>
                    <a:cubicBezTo>
                      <a:pt x="658" y="826"/>
                      <a:pt x="654" y="822"/>
                      <a:pt x="648" y="822"/>
                    </a:cubicBezTo>
                    <a:cubicBezTo>
                      <a:pt x="531" y="822"/>
                      <a:pt x="531" y="822"/>
                      <a:pt x="531" y="822"/>
                    </a:cubicBezTo>
                    <a:cubicBezTo>
                      <a:pt x="526" y="822"/>
                      <a:pt x="521" y="826"/>
                      <a:pt x="521" y="832"/>
                    </a:cubicBezTo>
                    <a:close/>
                    <a:moveTo>
                      <a:pt x="521" y="558"/>
                    </a:moveTo>
                    <a:cubicBezTo>
                      <a:pt x="521" y="755"/>
                      <a:pt x="521" y="755"/>
                      <a:pt x="521" y="755"/>
                    </a:cubicBezTo>
                    <a:cubicBezTo>
                      <a:pt x="521" y="760"/>
                      <a:pt x="526" y="765"/>
                      <a:pt x="531" y="765"/>
                    </a:cubicBezTo>
                    <a:cubicBezTo>
                      <a:pt x="648" y="765"/>
                      <a:pt x="648" y="765"/>
                      <a:pt x="648" y="765"/>
                    </a:cubicBezTo>
                    <a:cubicBezTo>
                      <a:pt x="654" y="765"/>
                      <a:pt x="658" y="760"/>
                      <a:pt x="658" y="755"/>
                    </a:cubicBezTo>
                    <a:cubicBezTo>
                      <a:pt x="658" y="558"/>
                      <a:pt x="658" y="558"/>
                      <a:pt x="658" y="558"/>
                    </a:cubicBezTo>
                    <a:cubicBezTo>
                      <a:pt x="658" y="552"/>
                      <a:pt x="654" y="548"/>
                      <a:pt x="648" y="548"/>
                    </a:cubicBezTo>
                    <a:cubicBezTo>
                      <a:pt x="531" y="548"/>
                      <a:pt x="531" y="548"/>
                      <a:pt x="531" y="548"/>
                    </a:cubicBezTo>
                    <a:cubicBezTo>
                      <a:pt x="526" y="548"/>
                      <a:pt x="521" y="552"/>
                      <a:pt x="521" y="558"/>
                    </a:cubicBezTo>
                    <a:close/>
                    <a:moveTo>
                      <a:pt x="409" y="1471"/>
                    </a:moveTo>
                    <a:cubicBezTo>
                      <a:pt x="409" y="1197"/>
                      <a:pt x="409" y="1197"/>
                      <a:pt x="409" y="1197"/>
                    </a:cubicBezTo>
                    <a:cubicBezTo>
                      <a:pt x="409" y="1191"/>
                      <a:pt x="405" y="1187"/>
                      <a:pt x="399" y="1187"/>
                    </a:cubicBezTo>
                    <a:cubicBezTo>
                      <a:pt x="126" y="1187"/>
                      <a:pt x="126" y="1187"/>
                      <a:pt x="126" y="1187"/>
                    </a:cubicBezTo>
                    <a:cubicBezTo>
                      <a:pt x="121" y="1187"/>
                      <a:pt x="116" y="1191"/>
                      <a:pt x="116" y="1197"/>
                    </a:cubicBezTo>
                    <a:cubicBezTo>
                      <a:pt x="116" y="1471"/>
                      <a:pt x="116" y="1471"/>
                      <a:pt x="116" y="1471"/>
                    </a:cubicBezTo>
                    <a:cubicBezTo>
                      <a:pt x="116" y="1477"/>
                      <a:pt x="121" y="1481"/>
                      <a:pt x="126" y="1481"/>
                    </a:cubicBezTo>
                    <a:cubicBezTo>
                      <a:pt x="399" y="1481"/>
                      <a:pt x="399" y="1481"/>
                      <a:pt x="399" y="1481"/>
                    </a:cubicBezTo>
                    <a:cubicBezTo>
                      <a:pt x="405" y="1481"/>
                      <a:pt x="409" y="1477"/>
                      <a:pt x="409" y="1471"/>
                    </a:cubicBezTo>
                    <a:close/>
                    <a:moveTo>
                      <a:pt x="742" y="1471"/>
                    </a:moveTo>
                    <a:cubicBezTo>
                      <a:pt x="742" y="1197"/>
                      <a:pt x="742" y="1197"/>
                      <a:pt x="742" y="1197"/>
                    </a:cubicBezTo>
                    <a:cubicBezTo>
                      <a:pt x="742" y="1191"/>
                      <a:pt x="737" y="1187"/>
                      <a:pt x="732" y="1187"/>
                    </a:cubicBezTo>
                    <a:cubicBezTo>
                      <a:pt x="459" y="1187"/>
                      <a:pt x="459" y="1187"/>
                      <a:pt x="459" y="1187"/>
                    </a:cubicBezTo>
                    <a:cubicBezTo>
                      <a:pt x="453" y="1187"/>
                      <a:pt x="449" y="1191"/>
                      <a:pt x="449" y="1197"/>
                    </a:cubicBezTo>
                    <a:cubicBezTo>
                      <a:pt x="449" y="1471"/>
                      <a:pt x="449" y="1471"/>
                      <a:pt x="449" y="1471"/>
                    </a:cubicBezTo>
                    <a:cubicBezTo>
                      <a:pt x="449" y="1477"/>
                      <a:pt x="453" y="1481"/>
                      <a:pt x="459" y="1481"/>
                    </a:cubicBezTo>
                    <a:cubicBezTo>
                      <a:pt x="732" y="1481"/>
                      <a:pt x="732" y="1481"/>
                      <a:pt x="732" y="1481"/>
                    </a:cubicBezTo>
                    <a:cubicBezTo>
                      <a:pt x="737" y="1481"/>
                      <a:pt x="742" y="1477"/>
                      <a:pt x="742" y="1471"/>
                    </a:cubicBezTo>
                    <a:close/>
                  </a:path>
                </a:pathLst>
              </a:custGeom>
              <a:solidFill>
                <a:srgbClr val="B43E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dirty="0"/>
              </a:p>
            </p:txBody>
          </p:sp>
        </p:grpSp>
      </p:grpSp>
      <p:cxnSp>
        <p:nvCxnSpPr>
          <p:cNvPr id="16" name="Straight Arrow Connector 15">
            <a:extLst>
              <a:ext uri="{FF2B5EF4-FFF2-40B4-BE49-F238E27FC236}">
                <a16:creationId xmlns:a16="http://schemas.microsoft.com/office/drawing/2014/main" id="{32A4463E-35DC-473D-A433-6A0B05A640B0}"/>
              </a:ext>
            </a:extLst>
          </p:cNvPr>
          <p:cNvCxnSpPr>
            <a:cxnSpLocks/>
            <a:stCxn id="79" idx="3"/>
            <a:endCxn id="86" idx="1"/>
          </p:cNvCxnSpPr>
          <p:nvPr/>
        </p:nvCxnSpPr>
        <p:spPr>
          <a:xfrm>
            <a:off x="5230893" y="3996927"/>
            <a:ext cx="810240" cy="1"/>
          </a:xfrm>
          <a:prstGeom prst="straightConnector1">
            <a:avLst/>
          </a:prstGeom>
          <a:ln w="9525" cap="rnd">
            <a:solidFill>
              <a:schemeClr val="bg1">
                <a:lumMod val="5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1C550AF8-5EF4-4171-BE1E-BF75213AA838}"/>
              </a:ext>
            </a:extLst>
          </p:cNvPr>
          <p:cNvCxnSpPr>
            <a:cxnSpLocks/>
          </p:cNvCxnSpPr>
          <p:nvPr/>
        </p:nvCxnSpPr>
        <p:spPr>
          <a:xfrm flipV="1">
            <a:off x="2130906" y="2607683"/>
            <a:ext cx="1479987" cy="772647"/>
          </a:xfrm>
          <a:prstGeom prst="bentConnector3">
            <a:avLst/>
          </a:prstGeom>
          <a:ln w="9525"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3EF9446E-991C-4134-AF31-C3E0ECE9A7C5}"/>
              </a:ext>
            </a:extLst>
          </p:cNvPr>
          <p:cNvCxnSpPr>
            <a:cxnSpLocks/>
          </p:cNvCxnSpPr>
          <p:nvPr/>
        </p:nvCxnSpPr>
        <p:spPr>
          <a:xfrm>
            <a:off x="2130906" y="3380330"/>
            <a:ext cx="1479987" cy="616599"/>
          </a:xfrm>
          <a:prstGeom prst="bentConnector3">
            <a:avLst/>
          </a:prstGeom>
          <a:ln w="9525" cap="rnd">
            <a:solidFill>
              <a:schemeClr val="bg1">
                <a:lumMod val="5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D39D169B-D0A4-4D27-824F-B212CE3D1A6E}"/>
              </a:ext>
            </a:extLst>
          </p:cNvPr>
          <p:cNvGrpSpPr>
            <a:grpSpLocks noChangeAspect="1"/>
          </p:cNvGrpSpPr>
          <p:nvPr/>
        </p:nvGrpSpPr>
        <p:grpSpPr>
          <a:xfrm>
            <a:off x="2802981" y="2812220"/>
            <a:ext cx="135838" cy="135838"/>
            <a:chOff x="982662" y="3868738"/>
            <a:chExt cx="269875" cy="269875"/>
          </a:xfrm>
        </p:grpSpPr>
        <p:sp>
          <p:nvSpPr>
            <p:cNvPr id="65" name="Oval 16">
              <a:extLst>
                <a:ext uri="{FF2B5EF4-FFF2-40B4-BE49-F238E27FC236}">
                  <a16:creationId xmlns:a16="http://schemas.microsoft.com/office/drawing/2014/main" id="{E9882EAF-243E-40F8-8CBD-B4E8C942FC86}"/>
                </a:ext>
              </a:extLst>
            </p:cNvPr>
            <p:cNvSpPr>
              <a:spLocks noChangeArrowheads="1"/>
            </p:cNvSpPr>
            <p:nvPr/>
          </p:nvSpPr>
          <p:spPr bwMode="auto">
            <a:xfrm>
              <a:off x="982662" y="3868738"/>
              <a:ext cx="269875" cy="269875"/>
            </a:xfrm>
            <a:prstGeom prst="ellipse">
              <a:avLst/>
            </a:prstGeom>
            <a:solidFill>
              <a:srgbClr val="3C8C93"/>
            </a:solidFill>
            <a:ln>
              <a:noFill/>
            </a:ln>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sp>
          <p:nvSpPr>
            <p:cNvPr id="67" name="Freeform 17">
              <a:extLst>
                <a:ext uri="{FF2B5EF4-FFF2-40B4-BE49-F238E27FC236}">
                  <a16:creationId xmlns:a16="http://schemas.microsoft.com/office/drawing/2014/main" id="{D4C3840F-0ECD-4D0D-8410-D0D51C2D72E6}"/>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grpSp>
        <p:nvGrpSpPr>
          <p:cNvPr id="68" name="Group 67">
            <a:extLst>
              <a:ext uri="{FF2B5EF4-FFF2-40B4-BE49-F238E27FC236}">
                <a16:creationId xmlns:a16="http://schemas.microsoft.com/office/drawing/2014/main" id="{56D16FF5-15ED-47DD-A13B-E95F2E0ACFF9}"/>
              </a:ext>
            </a:extLst>
          </p:cNvPr>
          <p:cNvGrpSpPr>
            <a:grpSpLocks noChangeAspect="1"/>
          </p:cNvGrpSpPr>
          <p:nvPr/>
        </p:nvGrpSpPr>
        <p:grpSpPr>
          <a:xfrm>
            <a:off x="2803399" y="3648060"/>
            <a:ext cx="135000" cy="135000"/>
            <a:chOff x="5961063" y="3294063"/>
            <a:chExt cx="269875" cy="269875"/>
          </a:xfrm>
        </p:grpSpPr>
        <p:sp>
          <p:nvSpPr>
            <p:cNvPr id="69" name="Oval 18">
              <a:extLst>
                <a:ext uri="{FF2B5EF4-FFF2-40B4-BE49-F238E27FC236}">
                  <a16:creationId xmlns:a16="http://schemas.microsoft.com/office/drawing/2014/main" id="{D3B4FE39-66B4-4726-89A2-F721A4DCB5D3}"/>
                </a:ext>
              </a:extLst>
            </p:cNvPr>
            <p:cNvSpPr>
              <a:spLocks noChangeArrowheads="1"/>
            </p:cNvSpPr>
            <p:nvPr/>
          </p:nvSpPr>
          <p:spPr bwMode="auto">
            <a:xfrm>
              <a:off x="5961063" y="3294063"/>
              <a:ext cx="269875" cy="269875"/>
            </a:xfrm>
            <a:prstGeom prst="ellipse">
              <a:avLst/>
            </a:prstGeom>
            <a:solidFill>
              <a:srgbClr val="B43E62"/>
            </a:solidFill>
            <a:ln>
              <a:noFill/>
            </a:ln>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sp>
          <p:nvSpPr>
            <p:cNvPr id="70" name="Freeform 19">
              <a:extLst>
                <a:ext uri="{FF2B5EF4-FFF2-40B4-BE49-F238E27FC236}">
                  <a16:creationId xmlns:a16="http://schemas.microsoft.com/office/drawing/2014/main" id="{3F0D6DC6-0282-4102-9765-9FF21DA1EDAF}"/>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de-DE" sz="675" dirty="0">
                <a:solidFill>
                  <a:srgbClr val="37373A"/>
                </a:solidFill>
                <a:latin typeface="+mj-lt"/>
              </a:endParaRPr>
            </a:p>
          </p:txBody>
        </p:sp>
      </p:grpSp>
      <p:sp>
        <p:nvSpPr>
          <p:cNvPr id="48" name="Rectangle 47">
            <a:extLst>
              <a:ext uri="{FF2B5EF4-FFF2-40B4-BE49-F238E27FC236}">
                <a16:creationId xmlns:a16="http://schemas.microsoft.com/office/drawing/2014/main" id="{E5AB04E4-BDDF-46C2-95AD-4844BF17B33B}"/>
              </a:ext>
            </a:extLst>
          </p:cNvPr>
          <p:cNvSpPr/>
          <p:nvPr/>
        </p:nvSpPr>
        <p:spPr>
          <a:xfrm>
            <a:off x="2963259" y="2776980"/>
            <a:ext cx="637620" cy="31162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buFont typeface="Trebuchet MS" panose="020B0603020202020204" pitchFamily="34" charset="0"/>
              <a:buChar char="​"/>
            </a:pPr>
            <a:r>
              <a:rPr lang="de-DE" sz="750" dirty="0">
                <a:solidFill>
                  <a:srgbClr val="3C8C93"/>
                </a:solidFill>
                <a:latin typeface="+mj-lt"/>
              </a:rPr>
              <a:t>PCR-Individualtest </a:t>
            </a:r>
            <a:br>
              <a:rPr lang="de-DE" sz="750" dirty="0">
                <a:solidFill>
                  <a:srgbClr val="3C8C93"/>
                </a:solidFill>
                <a:latin typeface="+mj-lt"/>
              </a:rPr>
            </a:br>
            <a:r>
              <a:rPr lang="de-DE" sz="750" dirty="0">
                <a:solidFill>
                  <a:srgbClr val="3C8C93"/>
                </a:solidFill>
                <a:latin typeface="+mj-lt"/>
              </a:rPr>
              <a:t>negativ</a:t>
            </a:r>
          </a:p>
        </p:txBody>
      </p:sp>
      <p:sp>
        <p:nvSpPr>
          <p:cNvPr id="49" name="Rectangle 48">
            <a:extLst>
              <a:ext uri="{FF2B5EF4-FFF2-40B4-BE49-F238E27FC236}">
                <a16:creationId xmlns:a16="http://schemas.microsoft.com/office/drawing/2014/main" id="{7186C22A-178A-4F30-9258-2FAFE0230EE2}"/>
              </a:ext>
            </a:extLst>
          </p:cNvPr>
          <p:cNvSpPr/>
          <p:nvPr/>
        </p:nvSpPr>
        <p:spPr>
          <a:xfrm>
            <a:off x="2985376" y="3611685"/>
            <a:ext cx="585811" cy="31162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buFont typeface="Trebuchet MS" panose="020B0603020202020204" pitchFamily="34" charset="0"/>
              <a:buChar char="​"/>
            </a:pPr>
            <a:r>
              <a:rPr lang="de-DE" sz="750" dirty="0">
                <a:solidFill>
                  <a:srgbClr val="B43E62"/>
                </a:solidFill>
                <a:latin typeface="+mj-lt"/>
              </a:rPr>
              <a:t>PCR-Individualtest</a:t>
            </a:r>
            <a:br>
              <a:rPr lang="de-DE" sz="750" dirty="0">
                <a:solidFill>
                  <a:srgbClr val="B43E62"/>
                </a:solidFill>
                <a:latin typeface="+mj-lt"/>
              </a:rPr>
            </a:br>
            <a:r>
              <a:rPr lang="de-DE" sz="750" dirty="0">
                <a:solidFill>
                  <a:srgbClr val="B43E62"/>
                </a:solidFill>
                <a:latin typeface="+mj-lt"/>
              </a:rPr>
              <a:t>positiv</a:t>
            </a:r>
          </a:p>
        </p:txBody>
      </p:sp>
      <p:sp>
        <p:nvSpPr>
          <p:cNvPr id="50" name="Rectangle 49">
            <a:extLst>
              <a:ext uri="{FF2B5EF4-FFF2-40B4-BE49-F238E27FC236}">
                <a16:creationId xmlns:a16="http://schemas.microsoft.com/office/drawing/2014/main" id="{9332308B-251A-4B2A-9766-2C06BD9ABAC0}"/>
              </a:ext>
            </a:extLst>
          </p:cNvPr>
          <p:cNvSpPr/>
          <p:nvPr/>
        </p:nvSpPr>
        <p:spPr bwMode="auto">
          <a:xfrm>
            <a:off x="3386348" y="0"/>
            <a:ext cx="2372317" cy="271811"/>
          </a:xfrm>
          <a:prstGeom prst="rect">
            <a:avLst/>
          </a:prstGeom>
          <a:solidFill>
            <a:srgbClr val="0A4E7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200" dirty="0">
                <a:solidFill>
                  <a:schemeClr val="bg1"/>
                </a:solidFill>
                <a:latin typeface="+mn-lt"/>
                <a:cs typeface="+mn-cs"/>
              </a:rPr>
              <a:t>Exemplarische Darstellung</a:t>
            </a:r>
          </a:p>
        </p:txBody>
      </p:sp>
      <p:sp>
        <p:nvSpPr>
          <p:cNvPr id="51" name="Rectangle 50">
            <a:extLst>
              <a:ext uri="{FF2B5EF4-FFF2-40B4-BE49-F238E27FC236}">
                <a16:creationId xmlns:a16="http://schemas.microsoft.com/office/drawing/2014/main" id="{058DA189-71E2-47F4-A473-CDCD25325DBB}"/>
              </a:ext>
            </a:extLst>
          </p:cNvPr>
          <p:cNvSpPr/>
          <p:nvPr/>
        </p:nvSpPr>
        <p:spPr bwMode="auto">
          <a:xfrm>
            <a:off x="6071613" y="3101336"/>
            <a:ext cx="1589520" cy="1393770"/>
          </a:xfrm>
          <a:prstGeom prst="rect">
            <a:avLst/>
          </a:prstGeom>
          <a:noFill/>
          <a:ln w="9525" cap="flat" cmpd="sng" algn="ctr">
            <a:solidFill>
              <a:srgbClr val="B43E62"/>
            </a:solidFill>
            <a:prstDash val="sysDash"/>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Tree>
    <p:extLst>
      <p:ext uri="{BB962C8B-B14F-4D97-AF65-F5344CB8AC3E}">
        <p14:creationId xmlns:p14="http://schemas.microsoft.com/office/powerpoint/2010/main" val="409992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4059FF5-5120-415F-8614-D939150ACFA4}"/>
              </a:ext>
            </a:extLst>
          </p:cNvPr>
          <p:cNvGraphicFramePr>
            <a:graphicFrameLocks noChangeAspect="1"/>
          </p:cNvGraphicFramePr>
          <p:nvPr>
            <p:custDataLst>
              <p:tags r:id="rId2"/>
            </p:custDataLst>
            <p:extLst>
              <p:ext uri="{D42A27DB-BD31-4B8C-83A1-F6EECF244321}">
                <p14:modId xmlns:p14="http://schemas.microsoft.com/office/powerpoint/2010/main" val="2570611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4059FF5-5120-415F-8614-D939150ACF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5EDD65-D960-4A6F-A37F-2FEA344963FD}"/>
              </a:ext>
            </a:extLst>
          </p:cNvPr>
          <p:cNvSpPr>
            <a:spLocks noGrp="1"/>
          </p:cNvSpPr>
          <p:nvPr>
            <p:ph type="title"/>
          </p:nvPr>
        </p:nvSpPr>
        <p:spPr>
          <a:xfrm>
            <a:off x="472500" y="300174"/>
            <a:ext cx="8059935" cy="784830"/>
          </a:xfrm>
        </p:spPr>
        <p:txBody>
          <a:bodyPr vert="horz"/>
          <a:lstStyle/>
          <a:p>
            <a:r>
              <a:rPr lang="de-DE" dirty="0"/>
              <a:t>Zur einfach verständlichen Kommunikation des Testkonzepts und dessen Abläufen empfehlen sich eindeutige Abbildungen</a:t>
            </a:r>
          </a:p>
        </p:txBody>
      </p:sp>
      <p:grpSp>
        <p:nvGrpSpPr>
          <p:cNvPr id="6" name="Group 5">
            <a:extLst>
              <a:ext uri="{FF2B5EF4-FFF2-40B4-BE49-F238E27FC236}">
                <a16:creationId xmlns:a16="http://schemas.microsoft.com/office/drawing/2014/main" id="{3E6C02BD-5F00-48F5-8DDC-AEC47A0C4C68}"/>
              </a:ext>
            </a:extLst>
          </p:cNvPr>
          <p:cNvGrpSpPr/>
          <p:nvPr/>
        </p:nvGrpSpPr>
        <p:grpSpPr>
          <a:xfrm>
            <a:off x="4547955" y="1600671"/>
            <a:ext cx="229628" cy="3059311"/>
            <a:chOff x="5942914" y="2081213"/>
            <a:chExt cx="306171" cy="4079081"/>
          </a:xfrm>
        </p:grpSpPr>
        <p:cxnSp>
          <p:nvCxnSpPr>
            <p:cNvPr id="7" name="Straight Connector 6">
              <a:extLst>
                <a:ext uri="{FF2B5EF4-FFF2-40B4-BE49-F238E27FC236}">
                  <a16:creationId xmlns:a16="http://schemas.microsoft.com/office/drawing/2014/main" id="{163F8981-8CDB-48B8-980F-5CA10D08F86A}"/>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E9E8077-31A6-4A03-871F-C3FE16731439}"/>
                </a:ext>
              </a:extLst>
            </p:cNvPr>
            <p:cNvGrpSpPr/>
            <p:nvPr/>
          </p:nvGrpSpPr>
          <p:grpSpPr>
            <a:xfrm>
              <a:off x="5942914" y="3967299"/>
              <a:ext cx="306171" cy="306910"/>
              <a:chOff x="5937564" y="3833745"/>
              <a:chExt cx="306171" cy="306910"/>
            </a:xfrm>
          </p:grpSpPr>
          <p:sp>
            <p:nvSpPr>
              <p:cNvPr id="9" name="Freeform 94">
                <a:extLst>
                  <a:ext uri="{FF2B5EF4-FFF2-40B4-BE49-F238E27FC236}">
                    <a16:creationId xmlns:a16="http://schemas.microsoft.com/office/drawing/2014/main" id="{0B95FE61-08CB-4D42-8015-5594419F8C2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A4E78"/>
              </a:solidFill>
              <a:ln>
                <a:solidFill>
                  <a:srgbClr val="0A4E78"/>
                </a:solidFill>
              </a:ln>
            </p:spPr>
            <p:txBody>
              <a:bodyPr vert="horz" wrap="square" lIns="66481" tIns="33241" rIns="66481" bIns="33241" numCol="1" anchor="t" anchorCtr="0" compatLnSpc="1">
                <a:prstTxWarp prst="textNoShape">
                  <a:avLst/>
                </a:prstTxWarp>
              </a:bodyPr>
              <a:lstStyle/>
              <a:p>
                <a:endParaRPr lang="de-DE" dirty="0">
                  <a:solidFill>
                    <a:srgbClr val="6E6F73"/>
                  </a:solidFill>
                  <a:latin typeface="+mn-lt"/>
                  <a:cs typeface="+mn-cs"/>
                  <a:sym typeface="Novel Sans Pro" panose="02000000000000000000" pitchFamily="50" charset="0"/>
                </a:endParaRPr>
              </a:p>
            </p:txBody>
          </p:sp>
          <p:sp>
            <p:nvSpPr>
              <p:cNvPr id="10" name="Freeform 95">
                <a:extLst>
                  <a:ext uri="{FF2B5EF4-FFF2-40B4-BE49-F238E27FC236}">
                    <a16:creationId xmlns:a16="http://schemas.microsoft.com/office/drawing/2014/main" id="{B4AA17AF-C14B-48CD-9768-25DC039CBDA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de-DE" dirty="0">
                  <a:solidFill>
                    <a:srgbClr val="6E6F73"/>
                  </a:solidFill>
                  <a:latin typeface="+mn-lt"/>
                  <a:cs typeface="+mn-cs"/>
                  <a:sym typeface="Novel Sans Pro" panose="02000000000000000000" pitchFamily="50" charset="0"/>
                </a:endParaRPr>
              </a:p>
            </p:txBody>
          </p:sp>
        </p:grpSp>
      </p:grpSp>
      <p:sp>
        <p:nvSpPr>
          <p:cNvPr id="40" name="ee4pHeader1">
            <a:extLst>
              <a:ext uri="{FF2B5EF4-FFF2-40B4-BE49-F238E27FC236}">
                <a16:creationId xmlns:a16="http://schemas.microsoft.com/office/drawing/2014/main" id="{D357465C-EE41-430A-8A9F-A4529754CF03}"/>
              </a:ext>
            </a:extLst>
          </p:cNvPr>
          <p:cNvSpPr txBox="1"/>
          <p:nvPr/>
        </p:nvSpPr>
        <p:spPr>
          <a:xfrm>
            <a:off x="472500" y="1297085"/>
            <a:ext cx="3829473" cy="493776"/>
          </a:xfrm>
          <a:prstGeom prst="rect">
            <a:avLst/>
          </a:prstGeom>
          <a:noFill/>
          <a:ln cap="rnd">
            <a:noFill/>
          </a:ln>
        </p:spPr>
        <p:txBody>
          <a:bodyPr vert="horz" wrap="square" lIns="0" tIns="0" rIns="0" bIns="0" rtlCol="0" anchor="b" anchorCtr="0">
            <a:noAutofit/>
          </a:bodyPr>
          <a:lstStyle/>
          <a:p>
            <a:pPr marL="0" lvl="3"/>
            <a:r>
              <a:rPr lang="de-DE" sz="1600" i="1" dirty="0">
                <a:solidFill>
                  <a:srgbClr val="0A4E78">
                    <a:lumMod val="100000"/>
                  </a:srgbClr>
                </a:solidFill>
                <a:latin typeface="+mn-lt"/>
                <a:cs typeface="+mn-cs"/>
              </a:rPr>
              <a:t>Einleitung und Verwendung des Dokuments</a:t>
            </a:r>
          </a:p>
        </p:txBody>
      </p:sp>
      <p:sp>
        <p:nvSpPr>
          <p:cNvPr id="41" name="ee4pHeader2">
            <a:extLst>
              <a:ext uri="{FF2B5EF4-FFF2-40B4-BE49-F238E27FC236}">
                <a16:creationId xmlns:a16="http://schemas.microsoft.com/office/drawing/2014/main" id="{0AAB4D40-6C06-4820-9DA9-4310EB1E3FE7}"/>
              </a:ext>
            </a:extLst>
          </p:cNvPr>
          <p:cNvSpPr txBox="1"/>
          <p:nvPr/>
        </p:nvSpPr>
        <p:spPr>
          <a:xfrm>
            <a:off x="5024015" y="1297085"/>
            <a:ext cx="3829473" cy="493776"/>
          </a:xfrm>
          <a:prstGeom prst="rect">
            <a:avLst/>
          </a:prstGeom>
          <a:noFill/>
          <a:ln cap="rnd">
            <a:noFill/>
          </a:ln>
        </p:spPr>
        <p:txBody>
          <a:bodyPr vert="horz" wrap="square" lIns="0" tIns="0" rIns="0" bIns="0" rtlCol="0" anchor="b" anchorCtr="0">
            <a:noAutofit/>
          </a:bodyPr>
          <a:lstStyle/>
          <a:p>
            <a:pPr marL="0" lvl="3"/>
            <a:r>
              <a:rPr lang="de-DE" sz="1600" i="1" dirty="0">
                <a:solidFill>
                  <a:srgbClr val="0A4E78">
                    <a:lumMod val="100000"/>
                  </a:srgbClr>
                </a:solidFill>
                <a:latin typeface="+mn-lt"/>
                <a:cs typeface="+mn-cs"/>
              </a:rPr>
              <a:t>Unterstützende Inhalte</a:t>
            </a:r>
          </a:p>
        </p:txBody>
      </p:sp>
      <p:sp>
        <p:nvSpPr>
          <p:cNvPr id="44" name="TextBox 43">
            <a:extLst>
              <a:ext uri="{FF2B5EF4-FFF2-40B4-BE49-F238E27FC236}">
                <a16:creationId xmlns:a16="http://schemas.microsoft.com/office/drawing/2014/main" id="{536E862A-7702-491B-9859-5CBB194EDAE1}"/>
              </a:ext>
            </a:extLst>
          </p:cNvPr>
          <p:cNvSpPr txBox="1"/>
          <p:nvPr/>
        </p:nvSpPr>
        <p:spPr>
          <a:xfrm>
            <a:off x="418127" y="2232959"/>
            <a:ext cx="3999539" cy="1715213"/>
          </a:xfrm>
          <a:prstGeom prst="rect">
            <a:avLst/>
          </a:prstGeom>
          <a:noFill/>
        </p:spPr>
        <p:txBody>
          <a:bodyPr wrap="square" anchor="ctr">
            <a:spAutoFit/>
          </a:bodyPr>
          <a:lstStyle/>
          <a:p>
            <a:pPr>
              <a:lnSpc>
                <a:spcPct val="115000"/>
              </a:lnSpc>
              <a:spcAft>
                <a:spcPts val="600"/>
              </a:spcAft>
            </a:pPr>
            <a:r>
              <a:rPr lang="de-DE" sz="1100" dirty="0">
                <a:solidFill>
                  <a:srgbClr val="0A4E78"/>
                </a:solidFill>
                <a:effectLst/>
                <a:latin typeface="+mj-lt"/>
                <a:ea typeface="Calibri" panose="020F0502020204030204" pitchFamily="34" charset="0"/>
                <a:cs typeface="Arial" panose="020B0604020202020204" pitchFamily="34" charset="0"/>
              </a:rPr>
              <a:t>Zur Erstellung einfach verständlicher Kommunikationsmaterialien für Erziehungsberechtigte und Kinderbetreuungseinrichtungen können die hierin enthaltenen Beispiele als Inspiration dienen.</a:t>
            </a:r>
          </a:p>
          <a:p>
            <a:pPr>
              <a:lnSpc>
                <a:spcPct val="115000"/>
              </a:lnSpc>
              <a:spcAft>
                <a:spcPts val="600"/>
              </a:spcAft>
            </a:pPr>
            <a:r>
              <a:rPr lang="de-DE" sz="1100" dirty="0">
                <a:solidFill>
                  <a:srgbClr val="0A4E78"/>
                </a:solidFill>
                <a:latin typeface="+mj-lt"/>
                <a:cs typeface="Arial" panose="020B0604020202020204" pitchFamily="34" charset="0"/>
              </a:rPr>
              <a:t>Basierend auf u. a. den Testleitplanken, typischen Bringzeiten der Kinder und den Maßgaben des zuständigen Gesundheitsamts können unter der Zuhilfenahme der exemplarischen Darstellungen bspw. der Testablauf, das Logistikkonzept oder die Befundübermittlung bildlich dargestellt werden.</a:t>
            </a:r>
          </a:p>
        </p:txBody>
      </p:sp>
      <p:grpSp>
        <p:nvGrpSpPr>
          <p:cNvPr id="26" name="Group 25">
            <a:extLst>
              <a:ext uri="{FF2B5EF4-FFF2-40B4-BE49-F238E27FC236}">
                <a16:creationId xmlns:a16="http://schemas.microsoft.com/office/drawing/2014/main" id="{D49585DD-E586-4D56-B024-53171B7C8891}"/>
              </a:ext>
            </a:extLst>
          </p:cNvPr>
          <p:cNvGrpSpPr/>
          <p:nvPr/>
        </p:nvGrpSpPr>
        <p:grpSpPr>
          <a:xfrm>
            <a:off x="5023566" y="1923999"/>
            <a:ext cx="3702307" cy="2333133"/>
            <a:chOff x="5023566" y="1976650"/>
            <a:chExt cx="3702307" cy="2333133"/>
          </a:xfrm>
        </p:grpSpPr>
        <p:sp>
          <p:nvSpPr>
            <p:cNvPr id="28" name="TextBox 27">
              <a:extLst>
                <a:ext uri="{FF2B5EF4-FFF2-40B4-BE49-F238E27FC236}">
                  <a16:creationId xmlns:a16="http://schemas.microsoft.com/office/drawing/2014/main" id="{25436551-C6DC-4195-B027-219EB3E1F152}"/>
                </a:ext>
              </a:extLst>
            </p:cNvPr>
            <p:cNvSpPr txBox="1"/>
            <p:nvPr/>
          </p:nvSpPr>
          <p:spPr>
            <a:xfrm>
              <a:off x="5724133" y="1989992"/>
              <a:ext cx="3001740" cy="549381"/>
            </a:xfrm>
            <a:prstGeom prst="rect">
              <a:avLst/>
            </a:prstGeom>
            <a:noFill/>
          </p:spPr>
          <p:txBody>
            <a:bodyPr wrap="square">
              <a:spAutoFit/>
            </a:bodyPr>
            <a:lstStyle/>
            <a:p>
              <a:pPr>
                <a:lnSpc>
                  <a:spcPct val="90000"/>
                </a:lnSpc>
                <a:spcAft>
                  <a:spcPts val="600"/>
                </a:spcAft>
              </a:pPr>
              <a:r>
                <a:rPr lang="de-DE" sz="1100" b="1" dirty="0">
                  <a:solidFill>
                    <a:srgbClr val="0A4E78"/>
                  </a:solidFill>
                  <a:latin typeface="+mj-lt"/>
                </a:rPr>
                <a:t>Übersicht der beteiligten Personen, Dienstleister und Institutionen i</a:t>
              </a:r>
              <a:r>
                <a:rPr lang="de-DE" sz="1100" dirty="0">
                  <a:solidFill>
                    <a:srgbClr val="0A4E78"/>
                  </a:solidFill>
                  <a:latin typeface="+mj-lt"/>
                </a:rPr>
                <a:t>n vereinfachter Darstellung</a:t>
              </a:r>
            </a:p>
          </p:txBody>
        </p:sp>
        <p:sp>
          <p:nvSpPr>
            <p:cNvPr id="29" name="TextBox 28">
              <a:extLst>
                <a:ext uri="{FF2B5EF4-FFF2-40B4-BE49-F238E27FC236}">
                  <a16:creationId xmlns:a16="http://schemas.microsoft.com/office/drawing/2014/main" id="{BCD38C35-3433-427F-8744-6FEC4A791AA6}"/>
                </a:ext>
              </a:extLst>
            </p:cNvPr>
            <p:cNvSpPr txBox="1"/>
            <p:nvPr/>
          </p:nvSpPr>
          <p:spPr>
            <a:xfrm>
              <a:off x="5724133" y="2868526"/>
              <a:ext cx="3001740" cy="549381"/>
            </a:xfrm>
            <a:prstGeom prst="rect">
              <a:avLst/>
            </a:prstGeom>
            <a:noFill/>
          </p:spPr>
          <p:txBody>
            <a:bodyPr wrap="square">
              <a:spAutoFit/>
            </a:bodyPr>
            <a:lstStyle/>
            <a:p>
              <a:pPr>
                <a:lnSpc>
                  <a:spcPct val="90000"/>
                </a:lnSpc>
                <a:spcAft>
                  <a:spcPts val="600"/>
                </a:spcAft>
              </a:pPr>
              <a:r>
                <a:rPr lang="de-DE" sz="1100" b="1" dirty="0">
                  <a:solidFill>
                    <a:srgbClr val="0A4E78"/>
                  </a:solidFill>
                  <a:latin typeface="+mj-lt"/>
                </a:rPr>
                <a:t>Fotografische Abbildungen </a:t>
              </a:r>
              <a:r>
                <a:rPr lang="de-DE" sz="1100" dirty="0">
                  <a:solidFill>
                    <a:srgbClr val="0A4E78"/>
                  </a:solidFill>
                  <a:latin typeface="+mj-lt"/>
                </a:rPr>
                <a:t>zur Veranschaulichung des ggfs. zum Einsatz kommenden Test- und Transportmaterials</a:t>
              </a:r>
              <a:endParaRPr lang="de-DE" sz="1100" b="1" dirty="0">
                <a:solidFill>
                  <a:srgbClr val="0A4E78"/>
                </a:solidFill>
                <a:latin typeface="+mj-lt"/>
              </a:endParaRPr>
            </a:p>
          </p:txBody>
        </p:sp>
        <p:grpSp>
          <p:nvGrpSpPr>
            <p:cNvPr id="5" name="Group 4">
              <a:extLst>
                <a:ext uri="{FF2B5EF4-FFF2-40B4-BE49-F238E27FC236}">
                  <a16:creationId xmlns:a16="http://schemas.microsoft.com/office/drawing/2014/main" id="{8FC59F86-7603-43AA-8170-DA507A67CD2F}"/>
                </a:ext>
              </a:extLst>
            </p:cNvPr>
            <p:cNvGrpSpPr/>
            <p:nvPr/>
          </p:nvGrpSpPr>
          <p:grpSpPr>
            <a:xfrm>
              <a:off x="5023566" y="1976650"/>
              <a:ext cx="576064" cy="576064"/>
              <a:chOff x="5023566" y="1976650"/>
              <a:chExt cx="576064" cy="576064"/>
            </a:xfrm>
          </p:grpSpPr>
          <p:sp>
            <p:nvSpPr>
              <p:cNvPr id="21" name="Oval 20">
                <a:extLst>
                  <a:ext uri="{FF2B5EF4-FFF2-40B4-BE49-F238E27FC236}">
                    <a16:creationId xmlns:a16="http://schemas.microsoft.com/office/drawing/2014/main" id="{C5E0B58C-16F8-467D-9FE7-04B386EB2ED4}"/>
                  </a:ext>
                </a:extLst>
              </p:cNvPr>
              <p:cNvSpPr/>
              <p:nvPr/>
            </p:nvSpPr>
            <p:spPr bwMode="auto">
              <a:xfrm>
                <a:off x="5023566" y="1976650"/>
                <a:ext cx="576064" cy="576064"/>
              </a:xfrm>
              <a:prstGeom prst="ellipse">
                <a:avLst/>
              </a:prstGeom>
              <a:grp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100" b="1" kern="0" dirty="0">
                  <a:solidFill>
                    <a:schemeClr val="bg1">
                      <a:lumMod val="50000"/>
                    </a:schemeClr>
                  </a:solidFill>
                  <a:latin typeface="+mn-lt"/>
                  <a:cs typeface="+mn-cs"/>
                </a:endParaRPr>
              </a:p>
            </p:txBody>
          </p:sp>
          <p:grpSp>
            <p:nvGrpSpPr>
              <p:cNvPr id="3" name="Group 2">
                <a:extLst>
                  <a:ext uri="{FF2B5EF4-FFF2-40B4-BE49-F238E27FC236}">
                    <a16:creationId xmlns:a16="http://schemas.microsoft.com/office/drawing/2014/main" id="{C5D242C1-B01C-4C3C-911B-BD436F7FD18E}"/>
                  </a:ext>
                </a:extLst>
              </p:cNvPr>
              <p:cNvGrpSpPr/>
              <p:nvPr/>
            </p:nvGrpSpPr>
            <p:grpSpPr>
              <a:xfrm>
                <a:off x="5154226" y="2105219"/>
                <a:ext cx="314744" cy="318926"/>
                <a:chOff x="5138326" y="2116034"/>
                <a:chExt cx="314744" cy="318926"/>
              </a:xfrm>
            </p:grpSpPr>
            <p:grpSp>
              <p:nvGrpSpPr>
                <p:cNvPr id="43" name="Group 42">
                  <a:extLst>
                    <a:ext uri="{FF2B5EF4-FFF2-40B4-BE49-F238E27FC236}">
                      <a16:creationId xmlns:a16="http://schemas.microsoft.com/office/drawing/2014/main" id="{380DD9C2-6C1C-4EDD-80C0-E842576AAA3D}"/>
                    </a:ext>
                  </a:extLst>
                </p:cNvPr>
                <p:cNvGrpSpPr>
                  <a:grpSpLocks noChangeAspect="1"/>
                </p:cNvGrpSpPr>
                <p:nvPr/>
              </p:nvGrpSpPr>
              <p:grpSpPr>
                <a:xfrm>
                  <a:off x="5311598" y="2116034"/>
                  <a:ext cx="141472" cy="141472"/>
                  <a:chOff x="5549900" y="2676526"/>
                  <a:chExt cx="457200" cy="457200"/>
                </a:xfrm>
              </p:grpSpPr>
              <p:sp>
                <p:nvSpPr>
                  <p:cNvPr id="47" name="AutoShape 18">
                    <a:extLst>
                      <a:ext uri="{FF2B5EF4-FFF2-40B4-BE49-F238E27FC236}">
                        <a16:creationId xmlns:a16="http://schemas.microsoft.com/office/drawing/2014/main" id="{08A3C196-B6B0-4DF8-B549-055CFFBF290D}"/>
                      </a:ext>
                    </a:extLst>
                  </p:cNvPr>
                  <p:cNvSpPr>
                    <a:spLocks noChangeAspect="1" noChangeArrowheads="1" noTextEdit="1"/>
                  </p:cNvSpPr>
                  <p:nvPr/>
                </p:nvSpPr>
                <p:spPr bwMode="auto">
                  <a:xfrm>
                    <a:off x="5549900" y="2676526"/>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8" name="Freeform 20">
                    <a:extLst>
                      <a:ext uri="{FF2B5EF4-FFF2-40B4-BE49-F238E27FC236}">
                        <a16:creationId xmlns:a16="http://schemas.microsoft.com/office/drawing/2014/main" id="{959B2C3B-5B67-4D4D-BCE3-DBCE18E83F3D}"/>
                      </a:ext>
                    </a:extLst>
                  </p:cNvPr>
                  <p:cNvSpPr>
                    <a:spLocks/>
                  </p:cNvSpPr>
                  <p:nvPr/>
                </p:nvSpPr>
                <p:spPr bwMode="auto">
                  <a:xfrm>
                    <a:off x="5575300" y="2724151"/>
                    <a:ext cx="406400" cy="361950"/>
                  </a:xfrm>
                  <a:custGeom>
                    <a:avLst/>
                    <a:gdLst>
                      <a:gd name="T0" fmla="*/ 782 w 890"/>
                      <a:gd name="T1" fmla="*/ 370 h 790"/>
                      <a:gd name="T2" fmla="*/ 725 w 890"/>
                      <a:gd name="T3" fmla="*/ 367 h 790"/>
                      <a:gd name="T4" fmla="*/ 689 w 890"/>
                      <a:gd name="T5" fmla="*/ 274 h 790"/>
                      <a:gd name="T6" fmla="*/ 720 w 890"/>
                      <a:gd name="T7" fmla="*/ 254 h 790"/>
                      <a:gd name="T8" fmla="*/ 766 w 890"/>
                      <a:gd name="T9" fmla="*/ 201 h 790"/>
                      <a:gd name="T10" fmla="*/ 703 w 890"/>
                      <a:gd name="T11" fmla="*/ 226 h 790"/>
                      <a:gd name="T12" fmla="*/ 670 w 890"/>
                      <a:gd name="T13" fmla="*/ 243 h 790"/>
                      <a:gd name="T14" fmla="*/ 610 w 890"/>
                      <a:gd name="T15" fmla="*/ 167 h 790"/>
                      <a:gd name="T16" fmla="*/ 636 w 890"/>
                      <a:gd name="T17" fmla="*/ 116 h 790"/>
                      <a:gd name="T18" fmla="*/ 674 w 890"/>
                      <a:gd name="T19" fmla="*/ 21 h 790"/>
                      <a:gd name="T20" fmla="*/ 593 w 890"/>
                      <a:gd name="T21" fmla="*/ 91 h 790"/>
                      <a:gd name="T22" fmla="*/ 562 w 890"/>
                      <a:gd name="T23" fmla="*/ 139 h 790"/>
                      <a:gd name="T24" fmla="*/ 463 w 890"/>
                      <a:gd name="T25" fmla="*/ 122 h 790"/>
                      <a:gd name="T26" fmla="*/ 461 w 890"/>
                      <a:gd name="T27" fmla="*/ 85 h 790"/>
                      <a:gd name="T28" fmla="*/ 451 w 890"/>
                      <a:gd name="T29" fmla="*/ 20 h 790"/>
                      <a:gd name="T30" fmla="*/ 429 w 890"/>
                      <a:gd name="T31" fmla="*/ 85 h 790"/>
                      <a:gd name="T32" fmla="*/ 427 w 890"/>
                      <a:gd name="T33" fmla="*/ 122 h 790"/>
                      <a:gd name="T34" fmla="*/ 328 w 890"/>
                      <a:gd name="T35" fmla="*/ 139 h 790"/>
                      <a:gd name="T36" fmla="*/ 297 w 890"/>
                      <a:gd name="T37" fmla="*/ 91 h 790"/>
                      <a:gd name="T38" fmla="*/ 216 w 890"/>
                      <a:gd name="T39" fmla="*/ 21 h 790"/>
                      <a:gd name="T40" fmla="*/ 254 w 890"/>
                      <a:gd name="T41" fmla="*/ 116 h 790"/>
                      <a:gd name="T42" fmla="*/ 280 w 890"/>
                      <a:gd name="T43" fmla="*/ 167 h 790"/>
                      <a:gd name="T44" fmla="*/ 219 w 890"/>
                      <a:gd name="T45" fmla="*/ 242 h 790"/>
                      <a:gd name="T46" fmla="*/ 186 w 890"/>
                      <a:gd name="T47" fmla="*/ 226 h 790"/>
                      <a:gd name="T48" fmla="*/ 124 w 890"/>
                      <a:gd name="T49" fmla="*/ 201 h 790"/>
                      <a:gd name="T50" fmla="*/ 170 w 890"/>
                      <a:gd name="T51" fmla="*/ 254 h 790"/>
                      <a:gd name="T52" fmla="*/ 201 w 890"/>
                      <a:gd name="T53" fmla="*/ 274 h 790"/>
                      <a:gd name="T54" fmla="*/ 165 w 890"/>
                      <a:gd name="T55" fmla="*/ 367 h 790"/>
                      <a:gd name="T56" fmla="*/ 108 w 890"/>
                      <a:gd name="T57" fmla="*/ 370 h 790"/>
                      <a:gd name="T58" fmla="*/ 6 w 890"/>
                      <a:gd name="T59" fmla="*/ 385 h 790"/>
                      <a:gd name="T60" fmla="*/ 108 w 890"/>
                      <a:gd name="T61" fmla="*/ 420 h 790"/>
                      <a:gd name="T62" fmla="*/ 165 w 890"/>
                      <a:gd name="T63" fmla="*/ 423 h 790"/>
                      <a:gd name="T64" fmla="*/ 200 w 890"/>
                      <a:gd name="T65" fmla="*/ 517 h 790"/>
                      <a:gd name="T66" fmla="*/ 169 w 890"/>
                      <a:gd name="T67" fmla="*/ 537 h 790"/>
                      <a:gd name="T68" fmla="*/ 124 w 890"/>
                      <a:gd name="T69" fmla="*/ 589 h 790"/>
                      <a:gd name="T70" fmla="*/ 185 w 890"/>
                      <a:gd name="T71" fmla="*/ 565 h 790"/>
                      <a:gd name="T72" fmla="*/ 218 w 890"/>
                      <a:gd name="T73" fmla="*/ 548 h 790"/>
                      <a:gd name="T74" fmla="*/ 280 w 890"/>
                      <a:gd name="T75" fmla="*/ 623 h 790"/>
                      <a:gd name="T76" fmla="*/ 254 w 890"/>
                      <a:gd name="T77" fmla="*/ 674 h 790"/>
                      <a:gd name="T78" fmla="*/ 216 w 890"/>
                      <a:gd name="T79" fmla="*/ 769 h 790"/>
                      <a:gd name="T80" fmla="*/ 297 w 890"/>
                      <a:gd name="T81" fmla="*/ 699 h 790"/>
                      <a:gd name="T82" fmla="*/ 328 w 890"/>
                      <a:gd name="T83" fmla="*/ 651 h 790"/>
                      <a:gd name="T84" fmla="*/ 427 w 890"/>
                      <a:gd name="T85" fmla="*/ 668 h 790"/>
                      <a:gd name="T86" fmla="*/ 429 w 890"/>
                      <a:gd name="T87" fmla="*/ 705 h 790"/>
                      <a:gd name="T88" fmla="*/ 439 w 890"/>
                      <a:gd name="T89" fmla="*/ 770 h 790"/>
                      <a:gd name="T90" fmla="*/ 461 w 890"/>
                      <a:gd name="T91" fmla="*/ 705 h 790"/>
                      <a:gd name="T92" fmla="*/ 463 w 890"/>
                      <a:gd name="T93" fmla="*/ 668 h 790"/>
                      <a:gd name="T94" fmla="*/ 562 w 890"/>
                      <a:gd name="T95" fmla="*/ 651 h 790"/>
                      <a:gd name="T96" fmla="*/ 593 w 890"/>
                      <a:gd name="T97" fmla="*/ 699 h 790"/>
                      <a:gd name="T98" fmla="*/ 674 w 890"/>
                      <a:gd name="T99" fmla="*/ 769 h 790"/>
                      <a:gd name="T100" fmla="*/ 636 w 890"/>
                      <a:gd name="T101" fmla="*/ 674 h 790"/>
                      <a:gd name="T102" fmla="*/ 610 w 890"/>
                      <a:gd name="T103" fmla="*/ 623 h 790"/>
                      <a:gd name="T104" fmla="*/ 670 w 890"/>
                      <a:gd name="T105" fmla="*/ 548 h 790"/>
                      <a:gd name="T106" fmla="*/ 704 w 890"/>
                      <a:gd name="T107" fmla="*/ 564 h 790"/>
                      <a:gd name="T108" fmla="*/ 766 w 890"/>
                      <a:gd name="T109" fmla="*/ 589 h 790"/>
                      <a:gd name="T110" fmla="*/ 720 w 890"/>
                      <a:gd name="T111" fmla="*/ 536 h 790"/>
                      <a:gd name="T112" fmla="*/ 689 w 890"/>
                      <a:gd name="T113" fmla="*/ 516 h 790"/>
                      <a:gd name="T114" fmla="*/ 725 w 890"/>
                      <a:gd name="T115" fmla="*/ 423 h 790"/>
                      <a:gd name="T116" fmla="*/ 782 w 890"/>
                      <a:gd name="T117" fmla="*/ 420 h 790"/>
                      <a:gd name="T118" fmla="*/ 884 w 890"/>
                      <a:gd name="T119" fmla="*/ 405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0" h="790">
                        <a:moveTo>
                          <a:pt x="836" y="346"/>
                        </a:moveTo>
                        <a:cubicBezTo>
                          <a:pt x="823" y="346"/>
                          <a:pt x="811" y="351"/>
                          <a:pt x="803" y="359"/>
                        </a:cubicBezTo>
                        <a:cubicBezTo>
                          <a:pt x="797" y="365"/>
                          <a:pt x="790" y="369"/>
                          <a:pt x="782" y="370"/>
                        </a:cubicBezTo>
                        <a:cubicBezTo>
                          <a:pt x="771" y="373"/>
                          <a:pt x="771" y="373"/>
                          <a:pt x="771" y="373"/>
                        </a:cubicBezTo>
                        <a:cubicBezTo>
                          <a:pt x="760" y="376"/>
                          <a:pt x="747" y="375"/>
                          <a:pt x="736" y="371"/>
                        </a:cubicBezTo>
                        <a:cubicBezTo>
                          <a:pt x="725" y="367"/>
                          <a:pt x="725" y="367"/>
                          <a:pt x="725" y="367"/>
                        </a:cubicBezTo>
                        <a:cubicBezTo>
                          <a:pt x="725" y="367"/>
                          <a:pt x="707" y="354"/>
                          <a:pt x="697" y="338"/>
                        </a:cubicBezTo>
                        <a:cubicBezTo>
                          <a:pt x="694" y="323"/>
                          <a:pt x="689" y="308"/>
                          <a:pt x="683" y="293"/>
                        </a:cubicBezTo>
                        <a:cubicBezTo>
                          <a:pt x="685" y="283"/>
                          <a:pt x="689" y="274"/>
                          <a:pt x="689" y="274"/>
                        </a:cubicBezTo>
                        <a:cubicBezTo>
                          <a:pt x="693" y="268"/>
                          <a:pt x="693" y="268"/>
                          <a:pt x="693" y="268"/>
                        </a:cubicBezTo>
                        <a:cubicBezTo>
                          <a:pt x="698" y="263"/>
                          <a:pt x="705" y="258"/>
                          <a:pt x="713" y="256"/>
                        </a:cubicBezTo>
                        <a:cubicBezTo>
                          <a:pt x="720" y="254"/>
                          <a:pt x="720" y="254"/>
                          <a:pt x="720" y="254"/>
                        </a:cubicBezTo>
                        <a:cubicBezTo>
                          <a:pt x="725" y="253"/>
                          <a:pt x="730" y="253"/>
                          <a:pt x="735" y="254"/>
                        </a:cubicBezTo>
                        <a:cubicBezTo>
                          <a:pt x="742" y="255"/>
                          <a:pt x="751" y="254"/>
                          <a:pt x="758" y="250"/>
                        </a:cubicBezTo>
                        <a:cubicBezTo>
                          <a:pt x="776" y="240"/>
                          <a:pt x="780" y="216"/>
                          <a:pt x="766" y="201"/>
                        </a:cubicBezTo>
                        <a:cubicBezTo>
                          <a:pt x="758" y="191"/>
                          <a:pt x="744" y="187"/>
                          <a:pt x="731" y="191"/>
                        </a:cubicBezTo>
                        <a:cubicBezTo>
                          <a:pt x="721" y="195"/>
                          <a:pt x="714" y="204"/>
                          <a:pt x="711" y="213"/>
                        </a:cubicBezTo>
                        <a:cubicBezTo>
                          <a:pt x="710" y="218"/>
                          <a:pt x="707" y="222"/>
                          <a:pt x="703" y="226"/>
                        </a:cubicBezTo>
                        <a:cubicBezTo>
                          <a:pt x="698" y="231"/>
                          <a:pt x="698" y="231"/>
                          <a:pt x="698" y="231"/>
                        </a:cubicBezTo>
                        <a:cubicBezTo>
                          <a:pt x="693" y="237"/>
                          <a:pt x="685" y="241"/>
                          <a:pt x="678" y="242"/>
                        </a:cubicBezTo>
                        <a:cubicBezTo>
                          <a:pt x="670" y="243"/>
                          <a:pt x="670" y="243"/>
                          <a:pt x="670" y="243"/>
                        </a:cubicBezTo>
                        <a:cubicBezTo>
                          <a:pt x="670" y="243"/>
                          <a:pt x="660" y="242"/>
                          <a:pt x="651" y="238"/>
                        </a:cubicBezTo>
                        <a:cubicBezTo>
                          <a:pt x="642" y="227"/>
                          <a:pt x="632" y="216"/>
                          <a:pt x="621" y="206"/>
                        </a:cubicBezTo>
                        <a:cubicBezTo>
                          <a:pt x="612" y="189"/>
                          <a:pt x="610" y="167"/>
                          <a:pt x="610" y="167"/>
                        </a:cubicBezTo>
                        <a:cubicBezTo>
                          <a:pt x="612" y="155"/>
                          <a:pt x="612" y="155"/>
                          <a:pt x="612" y="155"/>
                        </a:cubicBezTo>
                        <a:cubicBezTo>
                          <a:pt x="614" y="144"/>
                          <a:pt x="620" y="132"/>
                          <a:pt x="628" y="124"/>
                        </a:cubicBezTo>
                        <a:cubicBezTo>
                          <a:pt x="636" y="116"/>
                          <a:pt x="636" y="116"/>
                          <a:pt x="636" y="116"/>
                        </a:cubicBezTo>
                        <a:cubicBezTo>
                          <a:pt x="641" y="110"/>
                          <a:pt x="648" y="106"/>
                          <a:pt x="656" y="104"/>
                        </a:cubicBezTo>
                        <a:cubicBezTo>
                          <a:pt x="670" y="100"/>
                          <a:pt x="682" y="89"/>
                          <a:pt x="688" y="74"/>
                        </a:cubicBezTo>
                        <a:cubicBezTo>
                          <a:pt x="695" y="55"/>
                          <a:pt x="689" y="34"/>
                          <a:pt x="674" y="21"/>
                        </a:cubicBezTo>
                        <a:cubicBezTo>
                          <a:pt x="650" y="0"/>
                          <a:pt x="614" y="6"/>
                          <a:pt x="599" y="33"/>
                        </a:cubicBezTo>
                        <a:cubicBezTo>
                          <a:pt x="593" y="44"/>
                          <a:pt x="591" y="57"/>
                          <a:pt x="594" y="68"/>
                        </a:cubicBezTo>
                        <a:cubicBezTo>
                          <a:pt x="596" y="76"/>
                          <a:pt x="596" y="84"/>
                          <a:pt x="593" y="91"/>
                        </a:cubicBezTo>
                        <a:cubicBezTo>
                          <a:pt x="590" y="102"/>
                          <a:pt x="590" y="102"/>
                          <a:pt x="590" y="102"/>
                        </a:cubicBezTo>
                        <a:cubicBezTo>
                          <a:pt x="587" y="114"/>
                          <a:pt x="580" y="124"/>
                          <a:pt x="571" y="131"/>
                        </a:cubicBezTo>
                        <a:cubicBezTo>
                          <a:pt x="562" y="139"/>
                          <a:pt x="562" y="139"/>
                          <a:pt x="562" y="139"/>
                        </a:cubicBezTo>
                        <a:cubicBezTo>
                          <a:pt x="562" y="139"/>
                          <a:pt x="542" y="148"/>
                          <a:pt x="523" y="148"/>
                        </a:cubicBezTo>
                        <a:cubicBezTo>
                          <a:pt x="509" y="144"/>
                          <a:pt x="495" y="141"/>
                          <a:pt x="480" y="139"/>
                        </a:cubicBezTo>
                        <a:cubicBezTo>
                          <a:pt x="471" y="132"/>
                          <a:pt x="463" y="122"/>
                          <a:pt x="463" y="122"/>
                        </a:cubicBezTo>
                        <a:cubicBezTo>
                          <a:pt x="460" y="114"/>
                          <a:pt x="460" y="114"/>
                          <a:pt x="460" y="114"/>
                        </a:cubicBezTo>
                        <a:cubicBezTo>
                          <a:pt x="458" y="108"/>
                          <a:pt x="457" y="100"/>
                          <a:pt x="459" y="92"/>
                        </a:cubicBezTo>
                        <a:cubicBezTo>
                          <a:pt x="461" y="85"/>
                          <a:pt x="461" y="85"/>
                          <a:pt x="461" y="85"/>
                        </a:cubicBezTo>
                        <a:cubicBezTo>
                          <a:pt x="462" y="80"/>
                          <a:pt x="465" y="76"/>
                          <a:pt x="468" y="72"/>
                        </a:cubicBezTo>
                        <a:cubicBezTo>
                          <a:pt x="474" y="65"/>
                          <a:pt x="478" y="55"/>
                          <a:pt x="476" y="45"/>
                        </a:cubicBezTo>
                        <a:cubicBezTo>
                          <a:pt x="474" y="32"/>
                          <a:pt x="464" y="22"/>
                          <a:pt x="451" y="20"/>
                        </a:cubicBezTo>
                        <a:cubicBezTo>
                          <a:pt x="431" y="16"/>
                          <a:pt x="414" y="31"/>
                          <a:pt x="414" y="51"/>
                        </a:cubicBezTo>
                        <a:cubicBezTo>
                          <a:pt x="414" y="59"/>
                          <a:pt x="417" y="66"/>
                          <a:pt x="422" y="72"/>
                        </a:cubicBezTo>
                        <a:cubicBezTo>
                          <a:pt x="425" y="76"/>
                          <a:pt x="428" y="80"/>
                          <a:pt x="429" y="85"/>
                        </a:cubicBezTo>
                        <a:cubicBezTo>
                          <a:pt x="431" y="92"/>
                          <a:pt x="431" y="92"/>
                          <a:pt x="431" y="92"/>
                        </a:cubicBezTo>
                        <a:cubicBezTo>
                          <a:pt x="433" y="100"/>
                          <a:pt x="432" y="108"/>
                          <a:pt x="430" y="114"/>
                        </a:cubicBezTo>
                        <a:cubicBezTo>
                          <a:pt x="427" y="122"/>
                          <a:pt x="427" y="122"/>
                          <a:pt x="427" y="122"/>
                        </a:cubicBezTo>
                        <a:cubicBezTo>
                          <a:pt x="427" y="122"/>
                          <a:pt x="419" y="132"/>
                          <a:pt x="410" y="139"/>
                        </a:cubicBezTo>
                        <a:cubicBezTo>
                          <a:pt x="395" y="141"/>
                          <a:pt x="381" y="144"/>
                          <a:pt x="367" y="148"/>
                        </a:cubicBezTo>
                        <a:cubicBezTo>
                          <a:pt x="348" y="148"/>
                          <a:pt x="328" y="139"/>
                          <a:pt x="328" y="139"/>
                        </a:cubicBezTo>
                        <a:cubicBezTo>
                          <a:pt x="319" y="131"/>
                          <a:pt x="319" y="131"/>
                          <a:pt x="319" y="131"/>
                        </a:cubicBezTo>
                        <a:cubicBezTo>
                          <a:pt x="310" y="124"/>
                          <a:pt x="303" y="114"/>
                          <a:pt x="300" y="102"/>
                        </a:cubicBezTo>
                        <a:cubicBezTo>
                          <a:pt x="297" y="91"/>
                          <a:pt x="297" y="91"/>
                          <a:pt x="297" y="91"/>
                        </a:cubicBezTo>
                        <a:cubicBezTo>
                          <a:pt x="294" y="84"/>
                          <a:pt x="294" y="76"/>
                          <a:pt x="296" y="68"/>
                        </a:cubicBezTo>
                        <a:cubicBezTo>
                          <a:pt x="299" y="57"/>
                          <a:pt x="297" y="44"/>
                          <a:pt x="291" y="33"/>
                        </a:cubicBezTo>
                        <a:cubicBezTo>
                          <a:pt x="276" y="6"/>
                          <a:pt x="240" y="0"/>
                          <a:pt x="216" y="21"/>
                        </a:cubicBezTo>
                        <a:cubicBezTo>
                          <a:pt x="201" y="34"/>
                          <a:pt x="195" y="55"/>
                          <a:pt x="202" y="74"/>
                        </a:cubicBezTo>
                        <a:cubicBezTo>
                          <a:pt x="208" y="89"/>
                          <a:pt x="220" y="100"/>
                          <a:pt x="234" y="104"/>
                        </a:cubicBezTo>
                        <a:cubicBezTo>
                          <a:pt x="242" y="106"/>
                          <a:pt x="249" y="110"/>
                          <a:pt x="254" y="116"/>
                        </a:cubicBezTo>
                        <a:cubicBezTo>
                          <a:pt x="262" y="124"/>
                          <a:pt x="262" y="124"/>
                          <a:pt x="262" y="124"/>
                        </a:cubicBezTo>
                        <a:cubicBezTo>
                          <a:pt x="270" y="132"/>
                          <a:pt x="276" y="144"/>
                          <a:pt x="278" y="155"/>
                        </a:cubicBezTo>
                        <a:cubicBezTo>
                          <a:pt x="280" y="167"/>
                          <a:pt x="280" y="167"/>
                          <a:pt x="280" y="167"/>
                        </a:cubicBezTo>
                        <a:cubicBezTo>
                          <a:pt x="280" y="167"/>
                          <a:pt x="278" y="189"/>
                          <a:pt x="269" y="206"/>
                        </a:cubicBezTo>
                        <a:cubicBezTo>
                          <a:pt x="258" y="216"/>
                          <a:pt x="249" y="226"/>
                          <a:pt x="240" y="238"/>
                        </a:cubicBezTo>
                        <a:cubicBezTo>
                          <a:pt x="230" y="242"/>
                          <a:pt x="219" y="242"/>
                          <a:pt x="219" y="242"/>
                        </a:cubicBezTo>
                        <a:cubicBezTo>
                          <a:pt x="212" y="242"/>
                          <a:pt x="212" y="242"/>
                          <a:pt x="212" y="242"/>
                        </a:cubicBezTo>
                        <a:cubicBezTo>
                          <a:pt x="204" y="240"/>
                          <a:pt x="197" y="236"/>
                          <a:pt x="191" y="231"/>
                        </a:cubicBezTo>
                        <a:cubicBezTo>
                          <a:pt x="186" y="226"/>
                          <a:pt x="186" y="226"/>
                          <a:pt x="186" y="226"/>
                        </a:cubicBezTo>
                        <a:cubicBezTo>
                          <a:pt x="182" y="222"/>
                          <a:pt x="180" y="218"/>
                          <a:pt x="178" y="213"/>
                        </a:cubicBezTo>
                        <a:cubicBezTo>
                          <a:pt x="175" y="204"/>
                          <a:pt x="169" y="195"/>
                          <a:pt x="158" y="192"/>
                        </a:cubicBezTo>
                        <a:cubicBezTo>
                          <a:pt x="146" y="188"/>
                          <a:pt x="132" y="191"/>
                          <a:pt x="124" y="201"/>
                        </a:cubicBezTo>
                        <a:cubicBezTo>
                          <a:pt x="110" y="216"/>
                          <a:pt x="114" y="240"/>
                          <a:pt x="132" y="250"/>
                        </a:cubicBezTo>
                        <a:cubicBezTo>
                          <a:pt x="139" y="254"/>
                          <a:pt x="147" y="255"/>
                          <a:pt x="155" y="253"/>
                        </a:cubicBezTo>
                        <a:cubicBezTo>
                          <a:pt x="160" y="252"/>
                          <a:pt x="165" y="252"/>
                          <a:pt x="170" y="254"/>
                        </a:cubicBezTo>
                        <a:cubicBezTo>
                          <a:pt x="177" y="255"/>
                          <a:pt x="177" y="255"/>
                          <a:pt x="177" y="255"/>
                        </a:cubicBezTo>
                        <a:cubicBezTo>
                          <a:pt x="184" y="257"/>
                          <a:pt x="191" y="262"/>
                          <a:pt x="196" y="268"/>
                        </a:cubicBezTo>
                        <a:cubicBezTo>
                          <a:pt x="201" y="274"/>
                          <a:pt x="201" y="274"/>
                          <a:pt x="201" y="274"/>
                        </a:cubicBezTo>
                        <a:cubicBezTo>
                          <a:pt x="201" y="274"/>
                          <a:pt x="205" y="284"/>
                          <a:pt x="207" y="294"/>
                        </a:cubicBezTo>
                        <a:cubicBezTo>
                          <a:pt x="201" y="308"/>
                          <a:pt x="196" y="323"/>
                          <a:pt x="193" y="338"/>
                        </a:cubicBezTo>
                        <a:cubicBezTo>
                          <a:pt x="183" y="354"/>
                          <a:pt x="165" y="367"/>
                          <a:pt x="165" y="367"/>
                        </a:cubicBezTo>
                        <a:cubicBezTo>
                          <a:pt x="154" y="371"/>
                          <a:pt x="154" y="371"/>
                          <a:pt x="154" y="371"/>
                        </a:cubicBezTo>
                        <a:cubicBezTo>
                          <a:pt x="143" y="375"/>
                          <a:pt x="130" y="376"/>
                          <a:pt x="119" y="373"/>
                        </a:cubicBezTo>
                        <a:cubicBezTo>
                          <a:pt x="108" y="370"/>
                          <a:pt x="108" y="370"/>
                          <a:pt x="108" y="370"/>
                        </a:cubicBezTo>
                        <a:cubicBezTo>
                          <a:pt x="100" y="369"/>
                          <a:pt x="93" y="365"/>
                          <a:pt x="88" y="359"/>
                        </a:cubicBezTo>
                        <a:cubicBezTo>
                          <a:pt x="77" y="349"/>
                          <a:pt x="61" y="344"/>
                          <a:pt x="45" y="347"/>
                        </a:cubicBezTo>
                        <a:cubicBezTo>
                          <a:pt x="25" y="350"/>
                          <a:pt x="10" y="366"/>
                          <a:pt x="6" y="385"/>
                        </a:cubicBezTo>
                        <a:cubicBezTo>
                          <a:pt x="0" y="417"/>
                          <a:pt x="24" y="444"/>
                          <a:pt x="54" y="444"/>
                        </a:cubicBezTo>
                        <a:cubicBezTo>
                          <a:pt x="67" y="444"/>
                          <a:pt x="79" y="439"/>
                          <a:pt x="87" y="431"/>
                        </a:cubicBezTo>
                        <a:cubicBezTo>
                          <a:pt x="93" y="425"/>
                          <a:pt x="100" y="421"/>
                          <a:pt x="108" y="420"/>
                        </a:cubicBezTo>
                        <a:cubicBezTo>
                          <a:pt x="119" y="417"/>
                          <a:pt x="119" y="417"/>
                          <a:pt x="119" y="417"/>
                        </a:cubicBezTo>
                        <a:cubicBezTo>
                          <a:pt x="130" y="414"/>
                          <a:pt x="143" y="415"/>
                          <a:pt x="154" y="419"/>
                        </a:cubicBezTo>
                        <a:cubicBezTo>
                          <a:pt x="165" y="423"/>
                          <a:pt x="165" y="423"/>
                          <a:pt x="165" y="423"/>
                        </a:cubicBezTo>
                        <a:cubicBezTo>
                          <a:pt x="165" y="423"/>
                          <a:pt x="183" y="436"/>
                          <a:pt x="193" y="452"/>
                        </a:cubicBezTo>
                        <a:cubicBezTo>
                          <a:pt x="196" y="466"/>
                          <a:pt x="201" y="480"/>
                          <a:pt x="206" y="493"/>
                        </a:cubicBezTo>
                        <a:cubicBezTo>
                          <a:pt x="205" y="505"/>
                          <a:pt x="200" y="517"/>
                          <a:pt x="200" y="517"/>
                        </a:cubicBezTo>
                        <a:cubicBezTo>
                          <a:pt x="195" y="523"/>
                          <a:pt x="195" y="523"/>
                          <a:pt x="195" y="523"/>
                        </a:cubicBezTo>
                        <a:cubicBezTo>
                          <a:pt x="190" y="529"/>
                          <a:pt x="183" y="533"/>
                          <a:pt x="176" y="535"/>
                        </a:cubicBezTo>
                        <a:cubicBezTo>
                          <a:pt x="169" y="537"/>
                          <a:pt x="169" y="537"/>
                          <a:pt x="169" y="537"/>
                        </a:cubicBezTo>
                        <a:cubicBezTo>
                          <a:pt x="164" y="539"/>
                          <a:pt x="159" y="539"/>
                          <a:pt x="154" y="537"/>
                        </a:cubicBezTo>
                        <a:cubicBezTo>
                          <a:pt x="147" y="536"/>
                          <a:pt x="138" y="537"/>
                          <a:pt x="132" y="541"/>
                        </a:cubicBezTo>
                        <a:cubicBezTo>
                          <a:pt x="115" y="551"/>
                          <a:pt x="110" y="574"/>
                          <a:pt x="124" y="589"/>
                        </a:cubicBezTo>
                        <a:cubicBezTo>
                          <a:pt x="132" y="599"/>
                          <a:pt x="146" y="602"/>
                          <a:pt x="158" y="598"/>
                        </a:cubicBezTo>
                        <a:cubicBezTo>
                          <a:pt x="168" y="594"/>
                          <a:pt x="175" y="586"/>
                          <a:pt x="177" y="577"/>
                        </a:cubicBezTo>
                        <a:cubicBezTo>
                          <a:pt x="179" y="573"/>
                          <a:pt x="181" y="568"/>
                          <a:pt x="185" y="565"/>
                        </a:cubicBezTo>
                        <a:cubicBezTo>
                          <a:pt x="190" y="560"/>
                          <a:pt x="190" y="560"/>
                          <a:pt x="190" y="560"/>
                        </a:cubicBezTo>
                        <a:cubicBezTo>
                          <a:pt x="196" y="554"/>
                          <a:pt x="203" y="550"/>
                          <a:pt x="210" y="549"/>
                        </a:cubicBezTo>
                        <a:cubicBezTo>
                          <a:pt x="218" y="548"/>
                          <a:pt x="218" y="548"/>
                          <a:pt x="218" y="548"/>
                        </a:cubicBezTo>
                        <a:cubicBezTo>
                          <a:pt x="218" y="548"/>
                          <a:pt x="231" y="549"/>
                          <a:pt x="241" y="554"/>
                        </a:cubicBezTo>
                        <a:cubicBezTo>
                          <a:pt x="250" y="565"/>
                          <a:pt x="259" y="575"/>
                          <a:pt x="269" y="584"/>
                        </a:cubicBezTo>
                        <a:cubicBezTo>
                          <a:pt x="278" y="601"/>
                          <a:pt x="280" y="623"/>
                          <a:pt x="280" y="623"/>
                        </a:cubicBezTo>
                        <a:cubicBezTo>
                          <a:pt x="278" y="635"/>
                          <a:pt x="278" y="635"/>
                          <a:pt x="278" y="635"/>
                        </a:cubicBezTo>
                        <a:cubicBezTo>
                          <a:pt x="276" y="646"/>
                          <a:pt x="270" y="658"/>
                          <a:pt x="262" y="666"/>
                        </a:cubicBezTo>
                        <a:cubicBezTo>
                          <a:pt x="254" y="674"/>
                          <a:pt x="254" y="674"/>
                          <a:pt x="254" y="674"/>
                        </a:cubicBezTo>
                        <a:cubicBezTo>
                          <a:pt x="249" y="680"/>
                          <a:pt x="242" y="684"/>
                          <a:pt x="234" y="686"/>
                        </a:cubicBezTo>
                        <a:cubicBezTo>
                          <a:pt x="220" y="690"/>
                          <a:pt x="208" y="701"/>
                          <a:pt x="202" y="716"/>
                        </a:cubicBezTo>
                        <a:cubicBezTo>
                          <a:pt x="195" y="735"/>
                          <a:pt x="201" y="756"/>
                          <a:pt x="216" y="769"/>
                        </a:cubicBezTo>
                        <a:cubicBezTo>
                          <a:pt x="240" y="790"/>
                          <a:pt x="276" y="784"/>
                          <a:pt x="291" y="757"/>
                        </a:cubicBezTo>
                        <a:cubicBezTo>
                          <a:pt x="297" y="746"/>
                          <a:pt x="299" y="733"/>
                          <a:pt x="296" y="722"/>
                        </a:cubicBezTo>
                        <a:cubicBezTo>
                          <a:pt x="294" y="714"/>
                          <a:pt x="294" y="706"/>
                          <a:pt x="297" y="699"/>
                        </a:cubicBezTo>
                        <a:cubicBezTo>
                          <a:pt x="300" y="688"/>
                          <a:pt x="300" y="688"/>
                          <a:pt x="300" y="688"/>
                        </a:cubicBezTo>
                        <a:cubicBezTo>
                          <a:pt x="303" y="676"/>
                          <a:pt x="310" y="666"/>
                          <a:pt x="319" y="659"/>
                        </a:cubicBezTo>
                        <a:cubicBezTo>
                          <a:pt x="328" y="651"/>
                          <a:pt x="328" y="651"/>
                          <a:pt x="328" y="651"/>
                        </a:cubicBezTo>
                        <a:cubicBezTo>
                          <a:pt x="328" y="651"/>
                          <a:pt x="348" y="642"/>
                          <a:pt x="367" y="642"/>
                        </a:cubicBezTo>
                        <a:cubicBezTo>
                          <a:pt x="381" y="646"/>
                          <a:pt x="395" y="649"/>
                          <a:pt x="410" y="651"/>
                        </a:cubicBezTo>
                        <a:cubicBezTo>
                          <a:pt x="419" y="658"/>
                          <a:pt x="427" y="668"/>
                          <a:pt x="427" y="668"/>
                        </a:cubicBezTo>
                        <a:cubicBezTo>
                          <a:pt x="430" y="675"/>
                          <a:pt x="430" y="675"/>
                          <a:pt x="430" y="675"/>
                        </a:cubicBezTo>
                        <a:cubicBezTo>
                          <a:pt x="432" y="682"/>
                          <a:pt x="433" y="690"/>
                          <a:pt x="431" y="698"/>
                        </a:cubicBezTo>
                        <a:cubicBezTo>
                          <a:pt x="429" y="705"/>
                          <a:pt x="429" y="705"/>
                          <a:pt x="429" y="705"/>
                        </a:cubicBezTo>
                        <a:cubicBezTo>
                          <a:pt x="428" y="710"/>
                          <a:pt x="425" y="714"/>
                          <a:pt x="422" y="718"/>
                        </a:cubicBezTo>
                        <a:cubicBezTo>
                          <a:pt x="416" y="725"/>
                          <a:pt x="412" y="735"/>
                          <a:pt x="414" y="745"/>
                        </a:cubicBezTo>
                        <a:cubicBezTo>
                          <a:pt x="416" y="758"/>
                          <a:pt x="426" y="768"/>
                          <a:pt x="439" y="770"/>
                        </a:cubicBezTo>
                        <a:cubicBezTo>
                          <a:pt x="459" y="774"/>
                          <a:pt x="477" y="759"/>
                          <a:pt x="477" y="739"/>
                        </a:cubicBezTo>
                        <a:cubicBezTo>
                          <a:pt x="477" y="731"/>
                          <a:pt x="473" y="723"/>
                          <a:pt x="468" y="718"/>
                        </a:cubicBezTo>
                        <a:cubicBezTo>
                          <a:pt x="465" y="714"/>
                          <a:pt x="462" y="710"/>
                          <a:pt x="461" y="705"/>
                        </a:cubicBezTo>
                        <a:cubicBezTo>
                          <a:pt x="459" y="698"/>
                          <a:pt x="459" y="698"/>
                          <a:pt x="459" y="698"/>
                        </a:cubicBezTo>
                        <a:cubicBezTo>
                          <a:pt x="457" y="690"/>
                          <a:pt x="458" y="682"/>
                          <a:pt x="460" y="675"/>
                        </a:cubicBezTo>
                        <a:cubicBezTo>
                          <a:pt x="463" y="668"/>
                          <a:pt x="463" y="668"/>
                          <a:pt x="463" y="668"/>
                        </a:cubicBezTo>
                        <a:cubicBezTo>
                          <a:pt x="463" y="668"/>
                          <a:pt x="471" y="658"/>
                          <a:pt x="480" y="651"/>
                        </a:cubicBezTo>
                        <a:cubicBezTo>
                          <a:pt x="495" y="649"/>
                          <a:pt x="509" y="646"/>
                          <a:pt x="523" y="642"/>
                        </a:cubicBezTo>
                        <a:cubicBezTo>
                          <a:pt x="542" y="642"/>
                          <a:pt x="562" y="651"/>
                          <a:pt x="562" y="651"/>
                        </a:cubicBezTo>
                        <a:cubicBezTo>
                          <a:pt x="571" y="659"/>
                          <a:pt x="571" y="659"/>
                          <a:pt x="571" y="659"/>
                        </a:cubicBezTo>
                        <a:cubicBezTo>
                          <a:pt x="580" y="666"/>
                          <a:pt x="587" y="676"/>
                          <a:pt x="590" y="688"/>
                        </a:cubicBezTo>
                        <a:cubicBezTo>
                          <a:pt x="593" y="699"/>
                          <a:pt x="593" y="699"/>
                          <a:pt x="593" y="699"/>
                        </a:cubicBezTo>
                        <a:cubicBezTo>
                          <a:pt x="596" y="706"/>
                          <a:pt x="596" y="714"/>
                          <a:pt x="594" y="722"/>
                        </a:cubicBezTo>
                        <a:cubicBezTo>
                          <a:pt x="591" y="733"/>
                          <a:pt x="593" y="746"/>
                          <a:pt x="599" y="757"/>
                        </a:cubicBezTo>
                        <a:cubicBezTo>
                          <a:pt x="614" y="784"/>
                          <a:pt x="650" y="790"/>
                          <a:pt x="674" y="769"/>
                        </a:cubicBezTo>
                        <a:cubicBezTo>
                          <a:pt x="689" y="756"/>
                          <a:pt x="695" y="735"/>
                          <a:pt x="688" y="716"/>
                        </a:cubicBezTo>
                        <a:cubicBezTo>
                          <a:pt x="682" y="701"/>
                          <a:pt x="670" y="690"/>
                          <a:pt x="656" y="686"/>
                        </a:cubicBezTo>
                        <a:cubicBezTo>
                          <a:pt x="648" y="684"/>
                          <a:pt x="641" y="680"/>
                          <a:pt x="636" y="674"/>
                        </a:cubicBezTo>
                        <a:cubicBezTo>
                          <a:pt x="628" y="666"/>
                          <a:pt x="628" y="666"/>
                          <a:pt x="628" y="666"/>
                        </a:cubicBezTo>
                        <a:cubicBezTo>
                          <a:pt x="620" y="658"/>
                          <a:pt x="614" y="646"/>
                          <a:pt x="612" y="635"/>
                        </a:cubicBezTo>
                        <a:cubicBezTo>
                          <a:pt x="610" y="623"/>
                          <a:pt x="610" y="623"/>
                          <a:pt x="610" y="623"/>
                        </a:cubicBezTo>
                        <a:cubicBezTo>
                          <a:pt x="610" y="623"/>
                          <a:pt x="612" y="601"/>
                          <a:pt x="621" y="584"/>
                        </a:cubicBezTo>
                        <a:cubicBezTo>
                          <a:pt x="632" y="574"/>
                          <a:pt x="642" y="563"/>
                          <a:pt x="651" y="552"/>
                        </a:cubicBezTo>
                        <a:cubicBezTo>
                          <a:pt x="660" y="548"/>
                          <a:pt x="670" y="548"/>
                          <a:pt x="670" y="548"/>
                        </a:cubicBezTo>
                        <a:cubicBezTo>
                          <a:pt x="678" y="548"/>
                          <a:pt x="678" y="548"/>
                          <a:pt x="678" y="548"/>
                        </a:cubicBezTo>
                        <a:cubicBezTo>
                          <a:pt x="686" y="550"/>
                          <a:pt x="693" y="554"/>
                          <a:pt x="699" y="559"/>
                        </a:cubicBezTo>
                        <a:cubicBezTo>
                          <a:pt x="704" y="564"/>
                          <a:pt x="704" y="564"/>
                          <a:pt x="704" y="564"/>
                        </a:cubicBezTo>
                        <a:cubicBezTo>
                          <a:pt x="707" y="568"/>
                          <a:pt x="710" y="572"/>
                          <a:pt x="712" y="577"/>
                        </a:cubicBezTo>
                        <a:cubicBezTo>
                          <a:pt x="714" y="586"/>
                          <a:pt x="721" y="595"/>
                          <a:pt x="731" y="598"/>
                        </a:cubicBezTo>
                        <a:cubicBezTo>
                          <a:pt x="744" y="602"/>
                          <a:pt x="758" y="599"/>
                          <a:pt x="766" y="589"/>
                        </a:cubicBezTo>
                        <a:cubicBezTo>
                          <a:pt x="780" y="574"/>
                          <a:pt x="776" y="550"/>
                          <a:pt x="758" y="540"/>
                        </a:cubicBezTo>
                        <a:cubicBezTo>
                          <a:pt x="751" y="536"/>
                          <a:pt x="742" y="535"/>
                          <a:pt x="735" y="536"/>
                        </a:cubicBezTo>
                        <a:cubicBezTo>
                          <a:pt x="730" y="538"/>
                          <a:pt x="725" y="538"/>
                          <a:pt x="720" y="536"/>
                        </a:cubicBezTo>
                        <a:cubicBezTo>
                          <a:pt x="713" y="535"/>
                          <a:pt x="713" y="535"/>
                          <a:pt x="713" y="535"/>
                        </a:cubicBezTo>
                        <a:cubicBezTo>
                          <a:pt x="705" y="532"/>
                          <a:pt x="698" y="528"/>
                          <a:pt x="694" y="522"/>
                        </a:cubicBezTo>
                        <a:cubicBezTo>
                          <a:pt x="689" y="516"/>
                          <a:pt x="689" y="516"/>
                          <a:pt x="689" y="516"/>
                        </a:cubicBezTo>
                        <a:cubicBezTo>
                          <a:pt x="689" y="516"/>
                          <a:pt x="685" y="507"/>
                          <a:pt x="683" y="496"/>
                        </a:cubicBezTo>
                        <a:cubicBezTo>
                          <a:pt x="689" y="482"/>
                          <a:pt x="694" y="467"/>
                          <a:pt x="697" y="452"/>
                        </a:cubicBezTo>
                        <a:cubicBezTo>
                          <a:pt x="707" y="436"/>
                          <a:pt x="725" y="423"/>
                          <a:pt x="725" y="423"/>
                        </a:cubicBezTo>
                        <a:cubicBezTo>
                          <a:pt x="736" y="419"/>
                          <a:pt x="736" y="419"/>
                          <a:pt x="736" y="419"/>
                        </a:cubicBezTo>
                        <a:cubicBezTo>
                          <a:pt x="747" y="415"/>
                          <a:pt x="760" y="414"/>
                          <a:pt x="771" y="417"/>
                        </a:cubicBezTo>
                        <a:cubicBezTo>
                          <a:pt x="782" y="420"/>
                          <a:pt x="782" y="420"/>
                          <a:pt x="782" y="420"/>
                        </a:cubicBezTo>
                        <a:cubicBezTo>
                          <a:pt x="790" y="421"/>
                          <a:pt x="797" y="425"/>
                          <a:pt x="802" y="431"/>
                        </a:cubicBezTo>
                        <a:cubicBezTo>
                          <a:pt x="813" y="441"/>
                          <a:pt x="829" y="446"/>
                          <a:pt x="845" y="443"/>
                        </a:cubicBezTo>
                        <a:cubicBezTo>
                          <a:pt x="865" y="440"/>
                          <a:pt x="880" y="424"/>
                          <a:pt x="884" y="405"/>
                        </a:cubicBezTo>
                        <a:cubicBezTo>
                          <a:pt x="890" y="373"/>
                          <a:pt x="866" y="346"/>
                          <a:pt x="836" y="346"/>
                        </a:cubicBezTo>
                        <a:close/>
                      </a:path>
                    </a:pathLst>
                  </a:custGeom>
                  <a:solidFill>
                    <a:srgbClr val="003B59"/>
                  </a:solidFill>
                  <a:ln>
                    <a:noFill/>
                  </a:ln>
                </p:spPr>
                <p:txBody>
                  <a:bodyPr vert="horz" wrap="square" lIns="91440" tIns="45720" rIns="91440" bIns="45720" numCol="1" anchor="t" anchorCtr="0" compatLnSpc="1">
                    <a:prstTxWarp prst="textNoShape">
                      <a:avLst/>
                    </a:prstTxWarp>
                  </a:bodyPr>
                  <a:lstStyle/>
                  <a:p>
                    <a:endParaRPr lang="de-DE" dirty="0"/>
                  </a:p>
                </p:txBody>
              </p:sp>
            </p:grpSp>
            <p:grpSp>
              <p:nvGrpSpPr>
                <p:cNvPr id="56" name="Group 55">
                  <a:extLst>
                    <a:ext uri="{FF2B5EF4-FFF2-40B4-BE49-F238E27FC236}">
                      <a16:creationId xmlns:a16="http://schemas.microsoft.com/office/drawing/2014/main" id="{263EFAE1-4D82-4AF9-8D18-C5F7F79766E5}"/>
                    </a:ext>
                  </a:extLst>
                </p:cNvPr>
                <p:cNvGrpSpPr>
                  <a:grpSpLocks noChangeAspect="1"/>
                </p:cNvGrpSpPr>
                <p:nvPr/>
              </p:nvGrpSpPr>
              <p:grpSpPr>
                <a:xfrm>
                  <a:off x="5138326" y="2293488"/>
                  <a:ext cx="141472" cy="141472"/>
                  <a:chOff x="5867400" y="3200400"/>
                  <a:chExt cx="457200" cy="457200"/>
                </a:xfrm>
              </p:grpSpPr>
              <p:sp>
                <p:nvSpPr>
                  <p:cNvPr id="57" name="AutoShape 88">
                    <a:extLst>
                      <a:ext uri="{FF2B5EF4-FFF2-40B4-BE49-F238E27FC236}">
                        <a16:creationId xmlns:a16="http://schemas.microsoft.com/office/drawing/2014/main" id="{572FBD52-BDC1-4A6E-8AA0-E583E9FA3973}"/>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8" name="Freeform 9">
                    <a:extLst>
                      <a:ext uri="{FF2B5EF4-FFF2-40B4-BE49-F238E27FC236}">
                        <a16:creationId xmlns:a16="http://schemas.microsoft.com/office/drawing/2014/main" id="{D34CD331-4FA5-4A7D-8697-B72FCF05B47C}"/>
                      </a:ext>
                    </a:extLst>
                  </p:cNvPr>
                  <p:cNvSpPr>
                    <a:spLocks noChangeArrowheads="1"/>
                  </p:cNvSpPr>
                  <p:nvPr/>
                </p:nvSpPr>
                <p:spPr bwMode="auto">
                  <a:xfrm>
                    <a:off x="5898263" y="3231275"/>
                    <a:ext cx="395462" cy="395463"/>
                  </a:xfrm>
                  <a:custGeom>
                    <a:avLst/>
                    <a:gdLst>
                      <a:gd name="connsiteX0" fmla="*/ 319775 w 395462"/>
                      <a:gd name="connsiteY0" fmla="*/ 261681 h 395463"/>
                      <a:gd name="connsiteX1" fmla="*/ 330294 w 395462"/>
                      <a:gd name="connsiteY1" fmla="*/ 271253 h 395463"/>
                      <a:gd name="connsiteX2" fmla="*/ 320690 w 395462"/>
                      <a:gd name="connsiteY2" fmla="*/ 281737 h 395463"/>
                      <a:gd name="connsiteX3" fmla="*/ 296909 w 395462"/>
                      <a:gd name="connsiteY3" fmla="*/ 283104 h 395463"/>
                      <a:gd name="connsiteX4" fmla="*/ 335782 w 395462"/>
                      <a:gd name="connsiteY4" fmla="*/ 321849 h 395463"/>
                      <a:gd name="connsiteX5" fmla="*/ 383801 w 395462"/>
                      <a:gd name="connsiteY5" fmla="*/ 327775 h 395463"/>
                      <a:gd name="connsiteX6" fmla="*/ 383801 w 395462"/>
                      <a:gd name="connsiteY6" fmla="*/ 383840 h 395463"/>
                      <a:gd name="connsiteX7" fmla="*/ 327550 w 395462"/>
                      <a:gd name="connsiteY7" fmla="*/ 383840 h 395463"/>
                      <a:gd name="connsiteX8" fmla="*/ 321605 w 395462"/>
                      <a:gd name="connsiteY8" fmla="*/ 335979 h 395463"/>
                      <a:gd name="connsiteX9" fmla="*/ 282732 w 395462"/>
                      <a:gd name="connsiteY9" fmla="*/ 297235 h 395463"/>
                      <a:gd name="connsiteX10" fmla="*/ 281360 w 395462"/>
                      <a:gd name="connsiteY10" fmla="*/ 320937 h 395463"/>
                      <a:gd name="connsiteX11" fmla="*/ 270841 w 395462"/>
                      <a:gd name="connsiteY11" fmla="*/ 330510 h 395463"/>
                      <a:gd name="connsiteX12" fmla="*/ 261237 w 395462"/>
                      <a:gd name="connsiteY12" fmla="*/ 320482 h 395463"/>
                      <a:gd name="connsiteX13" fmla="*/ 261237 w 395462"/>
                      <a:gd name="connsiteY13" fmla="*/ 320026 h 395463"/>
                      <a:gd name="connsiteX14" fmla="*/ 263524 w 395462"/>
                      <a:gd name="connsiteY14" fmla="*/ 273532 h 395463"/>
                      <a:gd name="connsiteX15" fmla="*/ 266268 w 395462"/>
                      <a:gd name="connsiteY15" fmla="*/ 267151 h 395463"/>
                      <a:gd name="connsiteX16" fmla="*/ 267640 w 395462"/>
                      <a:gd name="connsiteY16" fmla="*/ 265783 h 395463"/>
                      <a:gd name="connsiteX17" fmla="*/ 272213 w 395462"/>
                      <a:gd name="connsiteY17" fmla="*/ 263960 h 395463"/>
                      <a:gd name="connsiteX18" fmla="*/ 273128 w 395462"/>
                      <a:gd name="connsiteY18" fmla="*/ 263960 h 395463"/>
                      <a:gd name="connsiteX19" fmla="*/ 319775 w 395462"/>
                      <a:gd name="connsiteY19" fmla="*/ 261681 h 395463"/>
                      <a:gd name="connsiteX20" fmla="*/ 75437 w 395462"/>
                      <a:gd name="connsiteY20" fmla="*/ 261225 h 395463"/>
                      <a:gd name="connsiteX21" fmla="*/ 121931 w 395462"/>
                      <a:gd name="connsiteY21" fmla="*/ 263512 h 395463"/>
                      <a:gd name="connsiteX22" fmla="*/ 128313 w 395462"/>
                      <a:gd name="connsiteY22" fmla="*/ 266256 h 395463"/>
                      <a:gd name="connsiteX23" fmla="*/ 129680 w 395462"/>
                      <a:gd name="connsiteY23" fmla="*/ 267628 h 395463"/>
                      <a:gd name="connsiteX24" fmla="*/ 131503 w 395462"/>
                      <a:gd name="connsiteY24" fmla="*/ 272201 h 395463"/>
                      <a:gd name="connsiteX25" fmla="*/ 131503 w 395462"/>
                      <a:gd name="connsiteY25" fmla="*/ 273116 h 395463"/>
                      <a:gd name="connsiteX26" fmla="*/ 133782 w 395462"/>
                      <a:gd name="connsiteY26" fmla="*/ 319763 h 395463"/>
                      <a:gd name="connsiteX27" fmla="*/ 124210 w 395462"/>
                      <a:gd name="connsiteY27" fmla="*/ 330282 h 395463"/>
                      <a:gd name="connsiteX28" fmla="*/ 113726 w 395462"/>
                      <a:gd name="connsiteY28" fmla="*/ 320678 h 395463"/>
                      <a:gd name="connsiteX29" fmla="*/ 112358 w 395462"/>
                      <a:gd name="connsiteY29" fmla="*/ 296897 h 395463"/>
                      <a:gd name="connsiteX30" fmla="*/ 73614 w 395462"/>
                      <a:gd name="connsiteY30" fmla="*/ 335770 h 395463"/>
                      <a:gd name="connsiteX31" fmla="*/ 67688 w 395462"/>
                      <a:gd name="connsiteY31" fmla="*/ 383789 h 395463"/>
                      <a:gd name="connsiteX32" fmla="*/ 11623 w 395462"/>
                      <a:gd name="connsiteY32" fmla="*/ 383789 h 395463"/>
                      <a:gd name="connsiteX33" fmla="*/ 11623 w 395462"/>
                      <a:gd name="connsiteY33" fmla="*/ 327538 h 395463"/>
                      <a:gd name="connsiteX34" fmla="*/ 59484 w 395462"/>
                      <a:gd name="connsiteY34" fmla="*/ 321592 h 395463"/>
                      <a:gd name="connsiteX35" fmla="*/ 98228 w 395462"/>
                      <a:gd name="connsiteY35" fmla="*/ 282720 h 395463"/>
                      <a:gd name="connsiteX36" fmla="*/ 74526 w 395462"/>
                      <a:gd name="connsiteY36" fmla="*/ 281348 h 395463"/>
                      <a:gd name="connsiteX37" fmla="*/ 64953 w 395462"/>
                      <a:gd name="connsiteY37" fmla="*/ 271286 h 395463"/>
                      <a:gd name="connsiteX38" fmla="*/ 64953 w 395462"/>
                      <a:gd name="connsiteY38" fmla="*/ 270829 h 395463"/>
                      <a:gd name="connsiteX39" fmla="*/ 75437 w 395462"/>
                      <a:gd name="connsiteY39" fmla="*/ 261225 h 395463"/>
                      <a:gd name="connsiteX40" fmla="*/ 199325 w 395462"/>
                      <a:gd name="connsiteY40" fmla="*/ 115175 h 395463"/>
                      <a:gd name="connsiteX41" fmla="*/ 281875 w 395462"/>
                      <a:gd name="connsiteY41" fmla="*/ 199313 h 395463"/>
                      <a:gd name="connsiteX42" fmla="*/ 199325 w 395462"/>
                      <a:gd name="connsiteY42" fmla="*/ 283451 h 395463"/>
                      <a:gd name="connsiteX43" fmla="*/ 116775 w 395462"/>
                      <a:gd name="connsiteY43" fmla="*/ 199313 h 395463"/>
                      <a:gd name="connsiteX44" fmla="*/ 199325 w 395462"/>
                      <a:gd name="connsiteY44" fmla="*/ 115175 h 395463"/>
                      <a:gd name="connsiteX45" fmla="*/ 355675 w 395462"/>
                      <a:gd name="connsiteY45" fmla="*/ 0 h 395463"/>
                      <a:gd name="connsiteX46" fmla="*/ 383801 w 395462"/>
                      <a:gd name="connsiteY46" fmla="*/ 11662 h 395463"/>
                      <a:gd name="connsiteX47" fmla="*/ 383801 w 395462"/>
                      <a:gd name="connsiteY47" fmla="*/ 67913 h 395463"/>
                      <a:gd name="connsiteX48" fmla="*/ 335782 w 395462"/>
                      <a:gd name="connsiteY48" fmla="*/ 73859 h 395463"/>
                      <a:gd name="connsiteX49" fmla="*/ 296909 w 395462"/>
                      <a:gd name="connsiteY49" fmla="*/ 112731 h 395463"/>
                      <a:gd name="connsiteX50" fmla="*/ 320690 w 395462"/>
                      <a:gd name="connsiteY50" fmla="*/ 114103 h 395463"/>
                      <a:gd name="connsiteX51" fmla="*/ 330294 w 395462"/>
                      <a:gd name="connsiteY51" fmla="*/ 124165 h 395463"/>
                      <a:gd name="connsiteX52" fmla="*/ 330294 w 395462"/>
                      <a:gd name="connsiteY52" fmla="*/ 124622 h 395463"/>
                      <a:gd name="connsiteX53" fmla="*/ 320233 w 395462"/>
                      <a:gd name="connsiteY53" fmla="*/ 134226 h 395463"/>
                      <a:gd name="connsiteX54" fmla="*/ 319775 w 395462"/>
                      <a:gd name="connsiteY54" fmla="*/ 134226 h 395463"/>
                      <a:gd name="connsiteX55" fmla="*/ 273128 w 395462"/>
                      <a:gd name="connsiteY55" fmla="*/ 131939 h 395463"/>
                      <a:gd name="connsiteX56" fmla="*/ 266725 w 395462"/>
                      <a:gd name="connsiteY56" fmla="*/ 129196 h 395463"/>
                      <a:gd name="connsiteX57" fmla="*/ 265353 w 395462"/>
                      <a:gd name="connsiteY57" fmla="*/ 127824 h 395463"/>
                      <a:gd name="connsiteX58" fmla="*/ 263524 w 395462"/>
                      <a:gd name="connsiteY58" fmla="*/ 123250 h 395463"/>
                      <a:gd name="connsiteX59" fmla="*/ 263524 w 395462"/>
                      <a:gd name="connsiteY59" fmla="*/ 122336 h 395463"/>
                      <a:gd name="connsiteX60" fmla="*/ 261237 w 395462"/>
                      <a:gd name="connsiteY60" fmla="*/ 75688 h 395463"/>
                      <a:gd name="connsiteX61" fmla="*/ 270841 w 395462"/>
                      <a:gd name="connsiteY61" fmla="*/ 65169 h 395463"/>
                      <a:gd name="connsiteX62" fmla="*/ 281360 w 395462"/>
                      <a:gd name="connsiteY62" fmla="*/ 74773 h 395463"/>
                      <a:gd name="connsiteX63" fmla="*/ 282732 w 395462"/>
                      <a:gd name="connsiteY63" fmla="*/ 98554 h 395463"/>
                      <a:gd name="connsiteX64" fmla="*/ 321605 w 395462"/>
                      <a:gd name="connsiteY64" fmla="*/ 59681 h 395463"/>
                      <a:gd name="connsiteX65" fmla="*/ 327550 w 395462"/>
                      <a:gd name="connsiteY65" fmla="*/ 11662 h 395463"/>
                      <a:gd name="connsiteX66" fmla="*/ 355675 w 395462"/>
                      <a:gd name="connsiteY66" fmla="*/ 0 h 395463"/>
                      <a:gd name="connsiteX67" fmla="*/ 39800 w 395462"/>
                      <a:gd name="connsiteY67" fmla="*/ 0 h 395463"/>
                      <a:gd name="connsiteX68" fmla="*/ 67925 w 395462"/>
                      <a:gd name="connsiteY68" fmla="*/ 11662 h 395463"/>
                      <a:gd name="connsiteX69" fmla="*/ 73870 w 395462"/>
                      <a:gd name="connsiteY69" fmla="*/ 59681 h 395463"/>
                      <a:gd name="connsiteX70" fmla="*/ 112743 w 395462"/>
                      <a:gd name="connsiteY70" fmla="*/ 98554 h 395463"/>
                      <a:gd name="connsiteX71" fmla="*/ 114115 w 395462"/>
                      <a:gd name="connsiteY71" fmla="*/ 74773 h 395463"/>
                      <a:gd name="connsiteX72" fmla="*/ 124634 w 395462"/>
                      <a:gd name="connsiteY72" fmla="*/ 65169 h 395463"/>
                      <a:gd name="connsiteX73" fmla="*/ 134238 w 395462"/>
                      <a:gd name="connsiteY73" fmla="*/ 75231 h 395463"/>
                      <a:gd name="connsiteX74" fmla="*/ 134238 w 395462"/>
                      <a:gd name="connsiteY74" fmla="*/ 75688 h 395463"/>
                      <a:gd name="connsiteX75" fmla="*/ 131952 w 395462"/>
                      <a:gd name="connsiteY75" fmla="*/ 122336 h 395463"/>
                      <a:gd name="connsiteX76" fmla="*/ 129208 w 395462"/>
                      <a:gd name="connsiteY76" fmla="*/ 128738 h 395463"/>
                      <a:gd name="connsiteX77" fmla="*/ 127836 w 395462"/>
                      <a:gd name="connsiteY77" fmla="*/ 130110 h 395463"/>
                      <a:gd name="connsiteX78" fmla="*/ 123262 w 395462"/>
                      <a:gd name="connsiteY78" fmla="*/ 131939 h 395463"/>
                      <a:gd name="connsiteX79" fmla="*/ 122348 w 395462"/>
                      <a:gd name="connsiteY79" fmla="*/ 131939 h 395463"/>
                      <a:gd name="connsiteX80" fmla="*/ 75700 w 395462"/>
                      <a:gd name="connsiteY80" fmla="*/ 134226 h 395463"/>
                      <a:gd name="connsiteX81" fmla="*/ 75242 w 395462"/>
                      <a:gd name="connsiteY81" fmla="*/ 134226 h 395463"/>
                      <a:gd name="connsiteX82" fmla="*/ 65181 w 395462"/>
                      <a:gd name="connsiteY82" fmla="*/ 124622 h 395463"/>
                      <a:gd name="connsiteX83" fmla="*/ 74785 w 395462"/>
                      <a:gd name="connsiteY83" fmla="*/ 114103 h 395463"/>
                      <a:gd name="connsiteX84" fmla="*/ 98566 w 395462"/>
                      <a:gd name="connsiteY84" fmla="*/ 112731 h 395463"/>
                      <a:gd name="connsiteX85" fmla="*/ 59693 w 395462"/>
                      <a:gd name="connsiteY85" fmla="*/ 73859 h 395463"/>
                      <a:gd name="connsiteX86" fmla="*/ 11674 w 395462"/>
                      <a:gd name="connsiteY86" fmla="*/ 67913 h 395463"/>
                      <a:gd name="connsiteX87" fmla="*/ 11674 w 395462"/>
                      <a:gd name="connsiteY87" fmla="*/ 11662 h 395463"/>
                      <a:gd name="connsiteX88" fmla="*/ 39800 w 395462"/>
                      <a:gd name="connsiteY88" fmla="*/ 0 h 39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95462" h="395463">
                        <a:moveTo>
                          <a:pt x="319775" y="261681"/>
                        </a:moveTo>
                        <a:cubicBezTo>
                          <a:pt x="325263" y="261225"/>
                          <a:pt x="329836" y="265783"/>
                          <a:pt x="330294" y="271253"/>
                        </a:cubicBezTo>
                        <a:cubicBezTo>
                          <a:pt x="330751" y="276723"/>
                          <a:pt x="326178" y="281281"/>
                          <a:pt x="320690" y="281737"/>
                        </a:cubicBezTo>
                        <a:cubicBezTo>
                          <a:pt x="320690" y="281737"/>
                          <a:pt x="320690" y="281737"/>
                          <a:pt x="296909" y="283104"/>
                        </a:cubicBezTo>
                        <a:cubicBezTo>
                          <a:pt x="296909" y="283104"/>
                          <a:pt x="296909" y="283104"/>
                          <a:pt x="335782" y="321849"/>
                        </a:cubicBezTo>
                        <a:cubicBezTo>
                          <a:pt x="350873" y="312733"/>
                          <a:pt x="370996" y="315012"/>
                          <a:pt x="383801" y="327775"/>
                        </a:cubicBezTo>
                        <a:cubicBezTo>
                          <a:pt x="399350" y="343272"/>
                          <a:pt x="399350" y="368342"/>
                          <a:pt x="383801" y="383840"/>
                        </a:cubicBezTo>
                        <a:cubicBezTo>
                          <a:pt x="368252" y="399338"/>
                          <a:pt x="343099" y="399338"/>
                          <a:pt x="327550" y="383840"/>
                        </a:cubicBezTo>
                        <a:cubicBezTo>
                          <a:pt x="314745" y="371077"/>
                          <a:pt x="312458" y="351021"/>
                          <a:pt x="321605" y="335979"/>
                        </a:cubicBezTo>
                        <a:cubicBezTo>
                          <a:pt x="321605" y="335979"/>
                          <a:pt x="321605" y="335979"/>
                          <a:pt x="282732" y="297235"/>
                        </a:cubicBezTo>
                        <a:cubicBezTo>
                          <a:pt x="282732" y="297235"/>
                          <a:pt x="282732" y="297235"/>
                          <a:pt x="281360" y="320937"/>
                        </a:cubicBezTo>
                        <a:cubicBezTo>
                          <a:pt x="280902" y="326407"/>
                          <a:pt x="276329" y="330965"/>
                          <a:pt x="270841" y="330510"/>
                        </a:cubicBezTo>
                        <a:cubicBezTo>
                          <a:pt x="265353" y="330054"/>
                          <a:pt x="261237" y="325951"/>
                          <a:pt x="261237" y="320482"/>
                        </a:cubicBezTo>
                        <a:cubicBezTo>
                          <a:pt x="261237" y="320482"/>
                          <a:pt x="261237" y="320026"/>
                          <a:pt x="261237" y="320026"/>
                        </a:cubicBezTo>
                        <a:cubicBezTo>
                          <a:pt x="261237" y="320026"/>
                          <a:pt x="261237" y="320026"/>
                          <a:pt x="263524" y="273532"/>
                        </a:cubicBezTo>
                        <a:cubicBezTo>
                          <a:pt x="263524" y="271253"/>
                          <a:pt x="264439" y="268974"/>
                          <a:pt x="266268" y="267151"/>
                        </a:cubicBezTo>
                        <a:cubicBezTo>
                          <a:pt x="266268" y="266695"/>
                          <a:pt x="267183" y="266239"/>
                          <a:pt x="267640" y="265783"/>
                        </a:cubicBezTo>
                        <a:cubicBezTo>
                          <a:pt x="269012" y="264872"/>
                          <a:pt x="270384" y="264416"/>
                          <a:pt x="272213" y="263960"/>
                        </a:cubicBezTo>
                        <a:cubicBezTo>
                          <a:pt x="272670" y="263960"/>
                          <a:pt x="272670" y="263960"/>
                          <a:pt x="273128" y="263960"/>
                        </a:cubicBezTo>
                        <a:cubicBezTo>
                          <a:pt x="273128" y="263960"/>
                          <a:pt x="273128" y="263960"/>
                          <a:pt x="319775" y="261681"/>
                        </a:cubicBezTo>
                        <a:close/>
                        <a:moveTo>
                          <a:pt x="75437" y="261225"/>
                        </a:moveTo>
                        <a:cubicBezTo>
                          <a:pt x="75437" y="261225"/>
                          <a:pt x="75437" y="261225"/>
                          <a:pt x="121931" y="263512"/>
                        </a:cubicBezTo>
                        <a:cubicBezTo>
                          <a:pt x="124210" y="263512"/>
                          <a:pt x="126489" y="264426"/>
                          <a:pt x="128313" y="266256"/>
                        </a:cubicBezTo>
                        <a:cubicBezTo>
                          <a:pt x="128768" y="266256"/>
                          <a:pt x="129224" y="267170"/>
                          <a:pt x="129680" y="267628"/>
                        </a:cubicBezTo>
                        <a:cubicBezTo>
                          <a:pt x="130592" y="269000"/>
                          <a:pt x="131048" y="270372"/>
                          <a:pt x="131503" y="272201"/>
                        </a:cubicBezTo>
                        <a:cubicBezTo>
                          <a:pt x="131503" y="272658"/>
                          <a:pt x="131503" y="272658"/>
                          <a:pt x="131503" y="273116"/>
                        </a:cubicBezTo>
                        <a:cubicBezTo>
                          <a:pt x="131503" y="273116"/>
                          <a:pt x="131503" y="273116"/>
                          <a:pt x="133782" y="319763"/>
                        </a:cubicBezTo>
                        <a:cubicBezTo>
                          <a:pt x="134238" y="325251"/>
                          <a:pt x="129680" y="329824"/>
                          <a:pt x="124210" y="330282"/>
                        </a:cubicBezTo>
                        <a:cubicBezTo>
                          <a:pt x="118740" y="330739"/>
                          <a:pt x="114182" y="326166"/>
                          <a:pt x="113726" y="320678"/>
                        </a:cubicBezTo>
                        <a:cubicBezTo>
                          <a:pt x="113726" y="320678"/>
                          <a:pt x="113726" y="320678"/>
                          <a:pt x="112358" y="296897"/>
                        </a:cubicBezTo>
                        <a:cubicBezTo>
                          <a:pt x="112358" y="296897"/>
                          <a:pt x="112358" y="296897"/>
                          <a:pt x="73614" y="335770"/>
                        </a:cubicBezTo>
                        <a:cubicBezTo>
                          <a:pt x="82730" y="350861"/>
                          <a:pt x="80451" y="370984"/>
                          <a:pt x="67688" y="383789"/>
                        </a:cubicBezTo>
                        <a:cubicBezTo>
                          <a:pt x="52190" y="399338"/>
                          <a:pt x="27120" y="399338"/>
                          <a:pt x="11623" y="383789"/>
                        </a:cubicBezTo>
                        <a:cubicBezTo>
                          <a:pt x="-3875" y="368240"/>
                          <a:pt x="-3875" y="343087"/>
                          <a:pt x="11623" y="327538"/>
                        </a:cubicBezTo>
                        <a:cubicBezTo>
                          <a:pt x="24385" y="314732"/>
                          <a:pt x="44442" y="312446"/>
                          <a:pt x="59484" y="321592"/>
                        </a:cubicBezTo>
                        <a:cubicBezTo>
                          <a:pt x="59484" y="321592"/>
                          <a:pt x="59484" y="321592"/>
                          <a:pt x="98228" y="282720"/>
                        </a:cubicBezTo>
                        <a:cubicBezTo>
                          <a:pt x="98228" y="282720"/>
                          <a:pt x="98228" y="282720"/>
                          <a:pt x="74526" y="281348"/>
                        </a:cubicBezTo>
                        <a:cubicBezTo>
                          <a:pt x="69056" y="280890"/>
                          <a:pt x="64953" y="276774"/>
                          <a:pt x="64953" y="271286"/>
                        </a:cubicBezTo>
                        <a:cubicBezTo>
                          <a:pt x="64953" y="271286"/>
                          <a:pt x="64953" y="270829"/>
                          <a:pt x="64953" y="270829"/>
                        </a:cubicBezTo>
                        <a:cubicBezTo>
                          <a:pt x="65409" y="265341"/>
                          <a:pt x="69967" y="261225"/>
                          <a:pt x="75437" y="261225"/>
                        </a:cubicBezTo>
                        <a:close/>
                        <a:moveTo>
                          <a:pt x="199325" y="115175"/>
                        </a:moveTo>
                        <a:cubicBezTo>
                          <a:pt x="244916" y="115175"/>
                          <a:pt x="281875" y="152845"/>
                          <a:pt x="281875" y="199313"/>
                        </a:cubicBezTo>
                        <a:cubicBezTo>
                          <a:pt x="281875" y="245781"/>
                          <a:pt x="244916" y="283451"/>
                          <a:pt x="199325" y="283451"/>
                        </a:cubicBezTo>
                        <a:cubicBezTo>
                          <a:pt x="153734" y="283451"/>
                          <a:pt x="116775" y="245781"/>
                          <a:pt x="116775" y="199313"/>
                        </a:cubicBezTo>
                        <a:cubicBezTo>
                          <a:pt x="116775" y="152845"/>
                          <a:pt x="153734" y="115175"/>
                          <a:pt x="199325" y="115175"/>
                        </a:cubicBezTo>
                        <a:close/>
                        <a:moveTo>
                          <a:pt x="355675" y="0"/>
                        </a:moveTo>
                        <a:cubicBezTo>
                          <a:pt x="365851" y="0"/>
                          <a:pt x="376027" y="3888"/>
                          <a:pt x="383801" y="11662"/>
                        </a:cubicBezTo>
                        <a:cubicBezTo>
                          <a:pt x="399350" y="27211"/>
                          <a:pt x="399350" y="52364"/>
                          <a:pt x="383801" y="67913"/>
                        </a:cubicBezTo>
                        <a:cubicBezTo>
                          <a:pt x="370996" y="80719"/>
                          <a:pt x="350873" y="83005"/>
                          <a:pt x="335782" y="73859"/>
                        </a:cubicBezTo>
                        <a:cubicBezTo>
                          <a:pt x="335782" y="73859"/>
                          <a:pt x="335782" y="73859"/>
                          <a:pt x="296909" y="112731"/>
                        </a:cubicBezTo>
                        <a:cubicBezTo>
                          <a:pt x="296909" y="112731"/>
                          <a:pt x="296909" y="112731"/>
                          <a:pt x="320690" y="114103"/>
                        </a:cubicBezTo>
                        <a:cubicBezTo>
                          <a:pt x="326178" y="114561"/>
                          <a:pt x="330294" y="118677"/>
                          <a:pt x="330294" y="124165"/>
                        </a:cubicBezTo>
                        <a:cubicBezTo>
                          <a:pt x="330294" y="124165"/>
                          <a:pt x="330294" y="124622"/>
                          <a:pt x="330294" y="124622"/>
                        </a:cubicBezTo>
                        <a:cubicBezTo>
                          <a:pt x="329836" y="130110"/>
                          <a:pt x="325720" y="134226"/>
                          <a:pt x="320233" y="134226"/>
                        </a:cubicBezTo>
                        <a:cubicBezTo>
                          <a:pt x="320233" y="134226"/>
                          <a:pt x="319775" y="134226"/>
                          <a:pt x="319775" y="134226"/>
                        </a:cubicBezTo>
                        <a:cubicBezTo>
                          <a:pt x="319775" y="134226"/>
                          <a:pt x="319775" y="134226"/>
                          <a:pt x="273128" y="131939"/>
                        </a:cubicBezTo>
                        <a:cubicBezTo>
                          <a:pt x="270841" y="131939"/>
                          <a:pt x="268554" y="131025"/>
                          <a:pt x="266725" y="129196"/>
                        </a:cubicBezTo>
                        <a:cubicBezTo>
                          <a:pt x="266268" y="129196"/>
                          <a:pt x="265811" y="128281"/>
                          <a:pt x="265353" y="127824"/>
                        </a:cubicBezTo>
                        <a:cubicBezTo>
                          <a:pt x="264439" y="126452"/>
                          <a:pt x="263981" y="125080"/>
                          <a:pt x="263524" y="123250"/>
                        </a:cubicBezTo>
                        <a:cubicBezTo>
                          <a:pt x="263524" y="122793"/>
                          <a:pt x="263524" y="122793"/>
                          <a:pt x="263524" y="122336"/>
                        </a:cubicBezTo>
                        <a:cubicBezTo>
                          <a:pt x="263524" y="122336"/>
                          <a:pt x="263524" y="122336"/>
                          <a:pt x="261237" y="75688"/>
                        </a:cubicBezTo>
                        <a:cubicBezTo>
                          <a:pt x="261237" y="70200"/>
                          <a:pt x="265353" y="65627"/>
                          <a:pt x="270841" y="65169"/>
                        </a:cubicBezTo>
                        <a:cubicBezTo>
                          <a:pt x="276329" y="64712"/>
                          <a:pt x="280902" y="69285"/>
                          <a:pt x="281360" y="74773"/>
                        </a:cubicBezTo>
                        <a:cubicBezTo>
                          <a:pt x="281360" y="74773"/>
                          <a:pt x="281360" y="74773"/>
                          <a:pt x="282732" y="98554"/>
                        </a:cubicBezTo>
                        <a:cubicBezTo>
                          <a:pt x="282732" y="98554"/>
                          <a:pt x="282732" y="98554"/>
                          <a:pt x="321605" y="59681"/>
                        </a:cubicBezTo>
                        <a:cubicBezTo>
                          <a:pt x="312458" y="44590"/>
                          <a:pt x="314745" y="24467"/>
                          <a:pt x="327550" y="11662"/>
                        </a:cubicBezTo>
                        <a:cubicBezTo>
                          <a:pt x="335324" y="3888"/>
                          <a:pt x="345500" y="0"/>
                          <a:pt x="355675" y="0"/>
                        </a:cubicBezTo>
                        <a:close/>
                        <a:moveTo>
                          <a:pt x="39800" y="0"/>
                        </a:moveTo>
                        <a:cubicBezTo>
                          <a:pt x="49975" y="0"/>
                          <a:pt x="60151" y="3888"/>
                          <a:pt x="67925" y="11662"/>
                        </a:cubicBezTo>
                        <a:cubicBezTo>
                          <a:pt x="80730" y="24467"/>
                          <a:pt x="83017" y="44590"/>
                          <a:pt x="73870" y="59681"/>
                        </a:cubicBezTo>
                        <a:cubicBezTo>
                          <a:pt x="73870" y="59681"/>
                          <a:pt x="73870" y="59681"/>
                          <a:pt x="112743" y="98554"/>
                        </a:cubicBezTo>
                        <a:cubicBezTo>
                          <a:pt x="112743" y="98554"/>
                          <a:pt x="112743" y="98554"/>
                          <a:pt x="114115" y="74773"/>
                        </a:cubicBezTo>
                        <a:cubicBezTo>
                          <a:pt x="114573" y="69285"/>
                          <a:pt x="119146" y="64712"/>
                          <a:pt x="124634" y="65169"/>
                        </a:cubicBezTo>
                        <a:cubicBezTo>
                          <a:pt x="130122" y="65627"/>
                          <a:pt x="134238" y="69743"/>
                          <a:pt x="134238" y="75231"/>
                        </a:cubicBezTo>
                        <a:cubicBezTo>
                          <a:pt x="134238" y="75231"/>
                          <a:pt x="134238" y="75688"/>
                          <a:pt x="134238" y="75688"/>
                        </a:cubicBezTo>
                        <a:cubicBezTo>
                          <a:pt x="134238" y="75688"/>
                          <a:pt x="134238" y="75688"/>
                          <a:pt x="131952" y="122336"/>
                        </a:cubicBezTo>
                        <a:cubicBezTo>
                          <a:pt x="131952" y="124622"/>
                          <a:pt x="131037" y="126909"/>
                          <a:pt x="129208" y="128738"/>
                        </a:cubicBezTo>
                        <a:cubicBezTo>
                          <a:pt x="129208" y="129196"/>
                          <a:pt x="128293" y="129653"/>
                          <a:pt x="127836" y="130110"/>
                        </a:cubicBezTo>
                        <a:cubicBezTo>
                          <a:pt x="126464" y="131025"/>
                          <a:pt x="125092" y="131482"/>
                          <a:pt x="123262" y="131939"/>
                        </a:cubicBezTo>
                        <a:cubicBezTo>
                          <a:pt x="122805" y="131939"/>
                          <a:pt x="122805" y="131939"/>
                          <a:pt x="122348" y="131939"/>
                        </a:cubicBezTo>
                        <a:cubicBezTo>
                          <a:pt x="122348" y="131939"/>
                          <a:pt x="122348" y="131939"/>
                          <a:pt x="75700" y="134226"/>
                        </a:cubicBezTo>
                        <a:cubicBezTo>
                          <a:pt x="75700" y="134226"/>
                          <a:pt x="75242" y="134226"/>
                          <a:pt x="75242" y="134226"/>
                        </a:cubicBezTo>
                        <a:cubicBezTo>
                          <a:pt x="69755" y="134226"/>
                          <a:pt x="65639" y="130110"/>
                          <a:pt x="65181" y="124622"/>
                        </a:cubicBezTo>
                        <a:cubicBezTo>
                          <a:pt x="64724" y="119134"/>
                          <a:pt x="69297" y="114561"/>
                          <a:pt x="74785" y="114103"/>
                        </a:cubicBezTo>
                        <a:cubicBezTo>
                          <a:pt x="74785" y="114103"/>
                          <a:pt x="74785" y="114103"/>
                          <a:pt x="98566" y="112731"/>
                        </a:cubicBezTo>
                        <a:cubicBezTo>
                          <a:pt x="98566" y="112731"/>
                          <a:pt x="98566" y="112731"/>
                          <a:pt x="59693" y="73859"/>
                        </a:cubicBezTo>
                        <a:cubicBezTo>
                          <a:pt x="44602" y="83005"/>
                          <a:pt x="24479" y="80719"/>
                          <a:pt x="11674" y="67913"/>
                        </a:cubicBezTo>
                        <a:cubicBezTo>
                          <a:pt x="-3875" y="52364"/>
                          <a:pt x="-3875" y="27211"/>
                          <a:pt x="11674" y="11662"/>
                        </a:cubicBezTo>
                        <a:cubicBezTo>
                          <a:pt x="19449" y="3888"/>
                          <a:pt x="29624" y="0"/>
                          <a:pt x="39800"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nvGrpSpPr>
                <p:cNvPr id="59" name="Group 58">
                  <a:extLst>
                    <a:ext uri="{FF2B5EF4-FFF2-40B4-BE49-F238E27FC236}">
                      <a16:creationId xmlns:a16="http://schemas.microsoft.com/office/drawing/2014/main" id="{8C7073D8-1745-4451-A846-5B37C292806F}"/>
                    </a:ext>
                  </a:extLst>
                </p:cNvPr>
                <p:cNvGrpSpPr>
                  <a:grpSpLocks noChangeAspect="1"/>
                </p:cNvGrpSpPr>
                <p:nvPr/>
              </p:nvGrpSpPr>
              <p:grpSpPr>
                <a:xfrm>
                  <a:off x="5138326" y="2116034"/>
                  <a:ext cx="141472" cy="141472"/>
                  <a:chOff x="7324948" y="3200401"/>
                  <a:chExt cx="457198" cy="457198"/>
                </a:xfrm>
              </p:grpSpPr>
              <p:sp>
                <p:nvSpPr>
                  <p:cNvPr id="60" name="AutoShape 51">
                    <a:extLst>
                      <a:ext uri="{FF2B5EF4-FFF2-40B4-BE49-F238E27FC236}">
                        <a16:creationId xmlns:a16="http://schemas.microsoft.com/office/drawing/2014/main" id="{E3E14923-C9E5-428E-B90B-A5D012BE5CDD}"/>
                      </a:ext>
                    </a:extLst>
                  </p:cNvPr>
                  <p:cNvSpPr>
                    <a:spLocks noChangeAspect="1" noChangeArrowheads="1" noTextEdit="1"/>
                  </p:cNvSpPr>
                  <p:nvPr/>
                </p:nvSpPr>
                <p:spPr bwMode="auto">
                  <a:xfrm>
                    <a:off x="7324948" y="3200401"/>
                    <a:ext cx="457198" cy="457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1" name="Freeform 53">
                    <a:extLst>
                      <a:ext uri="{FF2B5EF4-FFF2-40B4-BE49-F238E27FC236}">
                        <a16:creationId xmlns:a16="http://schemas.microsoft.com/office/drawing/2014/main" id="{F64BBA24-9E53-421F-AB3F-DDD8EA1D1AB3}"/>
                      </a:ext>
                    </a:extLst>
                  </p:cNvPr>
                  <p:cNvSpPr>
                    <a:spLocks noEditPoints="1"/>
                  </p:cNvSpPr>
                  <p:nvPr/>
                </p:nvSpPr>
                <p:spPr bwMode="auto">
                  <a:xfrm>
                    <a:off x="7375363" y="3227918"/>
                    <a:ext cx="356945" cy="402742"/>
                  </a:xfrm>
                  <a:custGeom>
                    <a:avLst/>
                    <a:gdLst>
                      <a:gd name="T0" fmla="*/ 780 w 780"/>
                      <a:gd name="T1" fmla="*/ 870 h 880"/>
                      <a:gd name="T2" fmla="*/ 10 w 780"/>
                      <a:gd name="T3" fmla="*/ 880 h 880"/>
                      <a:gd name="T4" fmla="*/ 0 w 780"/>
                      <a:gd name="T5" fmla="*/ 815 h 880"/>
                      <a:gd name="T6" fmla="*/ 51 w 780"/>
                      <a:gd name="T7" fmla="*/ 805 h 880"/>
                      <a:gd name="T8" fmla="*/ 61 w 780"/>
                      <a:gd name="T9" fmla="*/ 774 h 880"/>
                      <a:gd name="T10" fmla="*/ 729 w 780"/>
                      <a:gd name="T11" fmla="*/ 784 h 880"/>
                      <a:gd name="T12" fmla="*/ 770 w 780"/>
                      <a:gd name="T13" fmla="*/ 805 h 880"/>
                      <a:gd name="T14" fmla="*/ 15 w 780"/>
                      <a:gd name="T15" fmla="*/ 441 h 880"/>
                      <a:gd name="T16" fmla="*/ 775 w 780"/>
                      <a:gd name="T17" fmla="*/ 431 h 880"/>
                      <a:gd name="T18" fmla="*/ 765 w 780"/>
                      <a:gd name="T19" fmla="*/ 360 h 880"/>
                      <a:gd name="T20" fmla="*/ 533 w 780"/>
                      <a:gd name="T21" fmla="*/ 237 h 880"/>
                      <a:gd name="T22" fmla="*/ 247 w 780"/>
                      <a:gd name="T23" fmla="*/ 236 h 880"/>
                      <a:gd name="T24" fmla="*/ 15 w 780"/>
                      <a:gd name="T25" fmla="*/ 360 h 880"/>
                      <a:gd name="T26" fmla="*/ 5 w 780"/>
                      <a:gd name="T27" fmla="*/ 431 h 880"/>
                      <a:gd name="T28" fmla="*/ 708 w 780"/>
                      <a:gd name="T29" fmla="*/ 474 h 880"/>
                      <a:gd name="T30" fmla="*/ 665 w 780"/>
                      <a:gd name="T31" fmla="*/ 478 h 880"/>
                      <a:gd name="T32" fmla="*/ 664 w 780"/>
                      <a:gd name="T33" fmla="*/ 750 h 880"/>
                      <a:gd name="T34" fmla="*/ 718 w 780"/>
                      <a:gd name="T35" fmla="*/ 745 h 880"/>
                      <a:gd name="T36" fmla="*/ 708 w 780"/>
                      <a:gd name="T37" fmla="*/ 474 h 880"/>
                      <a:gd name="T38" fmla="*/ 549 w 780"/>
                      <a:gd name="T39" fmla="*/ 474 h 880"/>
                      <a:gd name="T40" fmla="*/ 539 w 780"/>
                      <a:gd name="T41" fmla="*/ 745 h 880"/>
                      <a:gd name="T42" fmla="*/ 594 w 780"/>
                      <a:gd name="T43" fmla="*/ 750 h 880"/>
                      <a:gd name="T44" fmla="*/ 593 w 780"/>
                      <a:gd name="T45" fmla="*/ 478 h 880"/>
                      <a:gd name="T46" fmla="*/ 402 w 780"/>
                      <a:gd name="T47" fmla="*/ 171 h 880"/>
                      <a:gd name="T48" fmla="*/ 404 w 780"/>
                      <a:gd name="T49" fmla="*/ 90 h 880"/>
                      <a:gd name="T50" fmla="*/ 548 w 780"/>
                      <a:gd name="T51" fmla="*/ 84 h 880"/>
                      <a:gd name="T52" fmla="*/ 510 w 780"/>
                      <a:gd name="T53" fmla="*/ 43 h 880"/>
                      <a:gd name="T54" fmla="*/ 546 w 780"/>
                      <a:gd name="T55" fmla="*/ 0 h 880"/>
                      <a:gd name="T56" fmla="*/ 380 w 780"/>
                      <a:gd name="T57" fmla="*/ 0 h 880"/>
                      <a:gd name="T58" fmla="*/ 377 w 780"/>
                      <a:gd name="T59" fmla="*/ 90 h 880"/>
                      <a:gd name="T60" fmla="*/ 390 w 780"/>
                      <a:gd name="T61" fmla="*/ 171 h 880"/>
                      <a:gd name="T62" fmla="*/ 350 w 780"/>
                      <a:gd name="T63" fmla="*/ 474 h 880"/>
                      <a:gd name="T64" fmla="*/ 306 w 780"/>
                      <a:gd name="T65" fmla="*/ 478 h 880"/>
                      <a:gd name="T66" fmla="*/ 305 w 780"/>
                      <a:gd name="T67" fmla="*/ 750 h 880"/>
                      <a:gd name="T68" fmla="*/ 360 w 780"/>
                      <a:gd name="T69" fmla="*/ 745 h 880"/>
                      <a:gd name="T70" fmla="*/ 350 w 780"/>
                      <a:gd name="T71" fmla="*/ 474 h 880"/>
                      <a:gd name="T72" fmla="*/ 430 w 780"/>
                      <a:gd name="T73" fmla="*/ 474 h 880"/>
                      <a:gd name="T74" fmla="*/ 420 w 780"/>
                      <a:gd name="T75" fmla="*/ 745 h 880"/>
                      <a:gd name="T76" fmla="*/ 475 w 780"/>
                      <a:gd name="T77" fmla="*/ 750 h 880"/>
                      <a:gd name="T78" fmla="*/ 474 w 780"/>
                      <a:gd name="T79" fmla="*/ 478 h 880"/>
                      <a:gd name="T80" fmla="*/ 72 w 780"/>
                      <a:gd name="T81" fmla="*/ 474 h 880"/>
                      <a:gd name="T82" fmla="*/ 62 w 780"/>
                      <a:gd name="T83" fmla="*/ 745 h 880"/>
                      <a:gd name="T84" fmla="*/ 116 w 780"/>
                      <a:gd name="T85" fmla="*/ 750 h 880"/>
                      <a:gd name="T86" fmla="*/ 115 w 780"/>
                      <a:gd name="T87" fmla="*/ 478 h 880"/>
                      <a:gd name="T88" fmla="*/ 72 w 780"/>
                      <a:gd name="T89" fmla="*/ 474 h 880"/>
                      <a:gd name="T90" fmla="*/ 191 w 780"/>
                      <a:gd name="T91" fmla="*/ 474 h 880"/>
                      <a:gd name="T92" fmla="*/ 181 w 780"/>
                      <a:gd name="T93" fmla="*/ 745 h 880"/>
                      <a:gd name="T94" fmla="*/ 236 w 780"/>
                      <a:gd name="T95" fmla="*/ 750 h 880"/>
                      <a:gd name="T96" fmla="*/ 235 w 780"/>
                      <a:gd name="T97" fmla="*/ 4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0" h="880">
                        <a:moveTo>
                          <a:pt x="780" y="815"/>
                        </a:moveTo>
                        <a:cubicBezTo>
                          <a:pt x="780" y="815"/>
                          <a:pt x="780" y="815"/>
                          <a:pt x="780" y="870"/>
                        </a:cubicBezTo>
                        <a:cubicBezTo>
                          <a:pt x="780" y="875"/>
                          <a:pt x="776" y="880"/>
                          <a:pt x="770" y="880"/>
                        </a:cubicBezTo>
                        <a:cubicBezTo>
                          <a:pt x="770" y="880"/>
                          <a:pt x="770" y="880"/>
                          <a:pt x="10" y="880"/>
                        </a:cubicBezTo>
                        <a:cubicBezTo>
                          <a:pt x="4" y="880"/>
                          <a:pt x="0" y="875"/>
                          <a:pt x="0" y="870"/>
                        </a:cubicBezTo>
                        <a:cubicBezTo>
                          <a:pt x="0" y="870"/>
                          <a:pt x="0" y="870"/>
                          <a:pt x="0" y="815"/>
                        </a:cubicBezTo>
                        <a:cubicBezTo>
                          <a:pt x="0" y="809"/>
                          <a:pt x="4" y="805"/>
                          <a:pt x="10" y="805"/>
                        </a:cubicBezTo>
                        <a:cubicBezTo>
                          <a:pt x="10" y="805"/>
                          <a:pt x="10" y="805"/>
                          <a:pt x="51" y="805"/>
                        </a:cubicBezTo>
                        <a:cubicBezTo>
                          <a:pt x="51" y="805"/>
                          <a:pt x="51" y="805"/>
                          <a:pt x="51" y="784"/>
                        </a:cubicBezTo>
                        <a:cubicBezTo>
                          <a:pt x="51" y="779"/>
                          <a:pt x="56" y="774"/>
                          <a:pt x="61" y="774"/>
                        </a:cubicBezTo>
                        <a:cubicBezTo>
                          <a:pt x="61" y="774"/>
                          <a:pt x="61" y="774"/>
                          <a:pt x="719" y="774"/>
                        </a:cubicBezTo>
                        <a:cubicBezTo>
                          <a:pt x="724" y="774"/>
                          <a:pt x="729" y="779"/>
                          <a:pt x="729" y="784"/>
                        </a:cubicBezTo>
                        <a:cubicBezTo>
                          <a:pt x="729" y="784"/>
                          <a:pt x="729" y="784"/>
                          <a:pt x="729" y="805"/>
                        </a:cubicBezTo>
                        <a:cubicBezTo>
                          <a:pt x="729" y="805"/>
                          <a:pt x="729" y="805"/>
                          <a:pt x="770" y="805"/>
                        </a:cubicBezTo>
                        <a:cubicBezTo>
                          <a:pt x="776" y="805"/>
                          <a:pt x="780" y="809"/>
                          <a:pt x="780" y="815"/>
                        </a:cubicBezTo>
                        <a:close/>
                        <a:moveTo>
                          <a:pt x="15" y="441"/>
                        </a:moveTo>
                        <a:cubicBezTo>
                          <a:pt x="765" y="441"/>
                          <a:pt x="765" y="441"/>
                          <a:pt x="765" y="441"/>
                        </a:cubicBezTo>
                        <a:cubicBezTo>
                          <a:pt x="771" y="441"/>
                          <a:pt x="775" y="437"/>
                          <a:pt x="775" y="431"/>
                        </a:cubicBezTo>
                        <a:cubicBezTo>
                          <a:pt x="775" y="370"/>
                          <a:pt x="775" y="370"/>
                          <a:pt x="775" y="370"/>
                        </a:cubicBezTo>
                        <a:cubicBezTo>
                          <a:pt x="775" y="365"/>
                          <a:pt x="771" y="360"/>
                          <a:pt x="765" y="360"/>
                        </a:cubicBezTo>
                        <a:cubicBezTo>
                          <a:pt x="611" y="360"/>
                          <a:pt x="611" y="360"/>
                          <a:pt x="611" y="360"/>
                        </a:cubicBezTo>
                        <a:cubicBezTo>
                          <a:pt x="599" y="312"/>
                          <a:pt x="572" y="268"/>
                          <a:pt x="533" y="237"/>
                        </a:cubicBezTo>
                        <a:cubicBezTo>
                          <a:pt x="493" y="204"/>
                          <a:pt x="442" y="186"/>
                          <a:pt x="390" y="186"/>
                        </a:cubicBezTo>
                        <a:cubicBezTo>
                          <a:pt x="338" y="186"/>
                          <a:pt x="288" y="204"/>
                          <a:pt x="247" y="236"/>
                        </a:cubicBezTo>
                        <a:cubicBezTo>
                          <a:pt x="208" y="268"/>
                          <a:pt x="181" y="312"/>
                          <a:pt x="169" y="360"/>
                        </a:cubicBezTo>
                        <a:cubicBezTo>
                          <a:pt x="15" y="360"/>
                          <a:pt x="15" y="360"/>
                          <a:pt x="15" y="360"/>
                        </a:cubicBezTo>
                        <a:cubicBezTo>
                          <a:pt x="9" y="360"/>
                          <a:pt x="5" y="365"/>
                          <a:pt x="5" y="370"/>
                        </a:cubicBezTo>
                        <a:cubicBezTo>
                          <a:pt x="5" y="431"/>
                          <a:pt x="5" y="431"/>
                          <a:pt x="5" y="431"/>
                        </a:cubicBezTo>
                        <a:cubicBezTo>
                          <a:pt x="5" y="437"/>
                          <a:pt x="9" y="441"/>
                          <a:pt x="15" y="441"/>
                        </a:cubicBezTo>
                        <a:close/>
                        <a:moveTo>
                          <a:pt x="708" y="474"/>
                        </a:moveTo>
                        <a:cubicBezTo>
                          <a:pt x="669" y="474"/>
                          <a:pt x="669" y="474"/>
                          <a:pt x="669" y="474"/>
                        </a:cubicBezTo>
                        <a:cubicBezTo>
                          <a:pt x="666" y="474"/>
                          <a:pt x="665" y="476"/>
                          <a:pt x="665" y="478"/>
                        </a:cubicBezTo>
                        <a:cubicBezTo>
                          <a:pt x="659" y="745"/>
                          <a:pt x="659" y="745"/>
                          <a:pt x="659" y="745"/>
                        </a:cubicBezTo>
                        <a:cubicBezTo>
                          <a:pt x="659" y="747"/>
                          <a:pt x="661" y="750"/>
                          <a:pt x="664" y="750"/>
                        </a:cubicBezTo>
                        <a:cubicBezTo>
                          <a:pt x="714" y="750"/>
                          <a:pt x="714" y="750"/>
                          <a:pt x="714" y="750"/>
                        </a:cubicBezTo>
                        <a:cubicBezTo>
                          <a:pt x="716" y="750"/>
                          <a:pt x="718" y="747"/>
                          <a:pt x="718" y="745"/>
                        </a:cubicBezTo>
                        <a:cubicBezTo>
                          <a:pt x="713" y="478"/>
                          <a:pt x="713" y="478"/>
                          <a:pt x="713" y="478"/>
                        </a:cubicBezTo>
                        <a:cubicBezTo>
                          <a:pt x="713" y="476"/>
                          <a:pt x="711" y="474"/>
                          <a:pt x="708" y="474"/>
                        </a:cubicBezTo>
                        <a:close/>
                        <a:moveTo>
                          <a:pt x="589" y="474"/>
                        </a:moveTo>
                        <a:cubicBezTo>
                          <a:pt x="549" y="474"/>
                          <a:pt x="549" y="474"/>
                          <a:pt x="549" y="474"/>
                        </a:cubicBezTo>
                        <a:cubicBezTo>
                          <a:pt x="547" y="474"/>
                          <a:pt x="545" y="476"/>
                          <a:pt x="545" y="478"/>
                        </a:cubicBezTo>
                        <a:cubicBezTo>
                          <a:pt x="539" y="745"/>
                          <a:pt x="539" y="745"/>
                          <a:pt x="539" y="745"/>
                        </a:cubicBezTo>
                        <a:cubicBezTo>
                          <a:pt x="539" y="747"/>
                          <a:pt x="542" y="750"/>
                          <a:pt x="544" y="750"/>
                        </a:cubicBezTo>
                        <a:cubicBezTo>
                          <a:pt x="594" y="750"/>
                          <a:pt x="594" y="750"/>
                          <a:pt x="594" y="750"/>
                        </a:cubicBezTo>
                        <a:cubicBezTo>
                          <a:pt x="597" y="750"/>
                          <a:pt x="599" y="747"/>
                          <a:pt x="599" y="745"/>
                        </a:cubicBezTo>
                        <a:cubicBezTo>
                          <a:pt x="593" y="478"/>
                          <a:pt x="593" y="478"/>
                          <a:pt x="593" y="478"/>
                        </a:cubicBezTo>
                        <a:cubicBezTo>
                          <a:pt x="593" y="476"/>
                          <a:pt x="591" y="474"/>
                          <a:pt x="589" y="474"/>
                        </a:cubicBezTo>
                        <a:close/>
                        <a:moveTo>
                          <a:pt x="402" y="171"/>
                        </a:moveTo>
                        <a:cubicBezTo>
                          <a:pt x="402" y="93"/>
                          <a:pt x="402" y="93"/>
                          <a:pt x="402" y="93"/>
                        </a:cubicBezTo>
                        <a:cubicBezTo>
                          <a:pt x="402" y="91"/>
                          <a:pt x="403" y="90"/>
                          <a:pt x="404" y="90"/>
                        </a:cubicBezTo>
                        <a:cubicBezTo>
                          <a:pt x="546" y="90"/>
                          <a:pt x="546" y="90"/>
                          <a:pt x="546" y="90"/>
                        </a:cubicBezTo>
                        <a:cubicBezTo>
                          <a:pt x="549" y="90"/>
                          <a:pt x="550" y="86"/>
                          <a:pt x="548" y="84"/>
                        </a:cubicBezTo>
                        <a:cubicBezTo>
                          <a:pt x="510" y="47"/>
                          <a:pt x="510" y="47"/>
                          <a:pt x="510" y="47"/>
                        </a:cubicBezTo>
                        <a:cubicBezTo>
                          <a:pt x="509" y="46"/>
                          <a:pt x="509" y="44"/>
                          <a:pt x="510" y="43"/>
                        </a:cubicBezTo>
                        <a:cubicBezTo>
                          <a:pt x="548" y="5"/>
                          <a:pt x="548" y="5"/>
                          <a:pt x="548" y="5"/>
                        </a:cubicBezTo>
                        <a:cubicBezTo>
                          <a:pt x="550" y="3"/>
                          <a:pt x="549" y="0"/>
                          <a:pt x="546" y="0"/>
                        </a:cubicBezTo>
                        <a:cubicBezTo>
                          <a:pt x="398" y="0"/>
                          <a:pt x="398" y="0"/>
                          <a:pt x="398" y="0"/>
                        </a:cubicBezTo>
                        <a:cubicBezTo>
                          <a:pt x="380" y="0"/>
                          <a:pt x="380" y="0"/>
                          <a:pt x="380" y="0"/>
                        </a:cubicBezTo>
                        <a:cubicBezTo>
                          <a:pt x="379" y="0"/>
                          <a:pt x="377" y="2"/>
                          <a:pt x="377" y="3"/>
                        </a:cubicBezTo>
                        <a:cubicBezTo>
                          <a:pt x="377" y="90"/>
                          <a:pt x="377" y="90"/>
                          <a:pt x="377" y="90"/>
                        </a:cubicBezTo>
                        <a:cubicBezTo>
                          <a:pt x="377" y="171"/>
                          <a:pt x="377" y="171"/>
                          <a:pt x="377" y="171"/>
                        </a:cubicBezTo>
                        <a:cubicBezTo>
                          <a:pt x="382" y="171"/>
                          <a:pt x="386" y="171"/>
                          <a:pt x="390" y="171"/>
                        </a:cubicBezTo>
                        <a:cubicBezTo>
                          <a:pt x="394" y="171"/>
                          <a:pt x="397" y="171"/>
                          <a:pt x="402" y="171"/>
                        </a:cubicBezTo>
                        <a:close/>
                        <a:moveTo>
                          <a:pt x="350" y="474"/>
                        </a:moveTo>
                        <a:cubicBezTo>
                          <a:pt x="311" y="474"/>
                          <a:pt x="311" y="474"/>
                          <a:pt x="311" y="474"/>
                        </a:cubicBezTo>
                        <a:cubicBezTo>
                          <a:pt x="308" y="474"/>
                          <a:pt x="306" y="476"/>
                          <a:pt x="306" y="478"/>
                        </a:cubicBezTo>
                        <a:cubicBezTo>
                          <a:pt x="300" y="745"/>
                          <a:pt x="300" y="745"/>
                          <a:pt x="300" y="745"/>
                        </a:cubicBezTo>
                        <a:cubicBezTo>
                          <a:pt x="300" y="747"/>
                          <a:pt x="303" y="750"/>
                          <a:pt x="305" y="750"/>
                        </a:cubicBezTo>
                        <a:cubicBezTo>
                          <a:pt x="355" y="750"/>
                          <a:pt x="355" y="750"/>
                          <a:pt x="355" y="750"/>
                        </a:cubicBezTo>
                        <a:cubicBezTo>
                          <a:pt x="358" y="750"/>
                          <a:pt x="360" y="747"/>
                          <a:pt x="360" y="745"/>
                        </a:cubicBezTo>
                        <a:cubicBezTo>
                          <a:pt x="354" y="478"/>
                          <a:pt x="354" y="478"/>
                          <a:pt x="354" y="478"/>
                        </a:cubicBezTo>
                        <a:cubicBezTo>
                          <a:pt x="354" y="476"/>
                          <a:pt x="353" y="474"/>
                          <a:pt x="350" y="474"/>
                        </a:cubicBezTo>
                        <a:close/>
                        <a:moveTo>
                          <a:pt x="469" y="474"/>
                        </a:moveTo>
                        <a:cubicBezTo>
                          <a:pt x="430" y="474"/>
                          <a:pt x="430" y="474"/>
                          <a:pt x="430" y="474"/>
                        </a:cubicBezTo>
                        <a:cubicBezTo>
                          <a:pt x="427" y="474"/>
                          <a:pt x="426" y="476"/>
                          <a:pt x="426" y="478"/>
                        </a:cubicBezTo>
                        <a:cubicBezTo>
                          <a:pt x="420" y="745"/>
                          <a:pt x="420" y="745"/>
                          <a:pt x="420" y="745"/>
                        </a:cubicBezTo>
                        <a:cubicBezTo>
                          <a:pt x="420" y="747"/>
                          <a:pt x="422" y="750"/>
                          <a:pt x="425" y="750"/>
                        </a:cubicBezTo>
                        <a:cubicBezTo>
                          <a:pt x="475" y="750"/>
                          <a:pt x="475" y="750"/>
                          <a:pt x="475" y="750"/>
                        </a:cubicBezTo>
                        <a:cubicBezTo>
                          <a:pt x="477" y="750"/>
                          <a:pt x="480" y="747"/>
                          <a:pt x="480" y="745"/>
                        </a:cubicBezTo>
                        <a:cubicBezTo>
                          <a:pt x="474" y="478"/>
                          <a:pt x="474" y="478"/>
                          <a:pt x="474" y="478"/>
                        </a:cubicBezTo>
                        <a:cubicBezTo>
                          <a:pt x="474" y="476"/>
                          <a:pt x="472" y="474"/>
                          <a:pt x="469" y="474"/>
                        </a:cubicBezTo>
                        <a:close/>
                        <a:moveTo>
                          <a:pt x="72" y="474"/>
                        </a:moveTo>
                        <a:cubicBezTo>
                          <a:pt x="69" y="474"/>
                          <a:pt x="67" y="476"/>
                          <a:pt x="67" y="478"/>
                        </a:cubicBezTo>
                        <a:cubicBezTo>
                          <a:pt x="67" y="478"/>
                          <a:pt x="67" y="478"/>
                          <a:pt x="62" y="745"/>
                        </a:cubicBezTo>
                        <a:cubicBezTo>
                          <a:pt x="62" y="747"/>
                          <a:pt x="64" y="750"/>
                          <a:pt x="66" y="750"/>
                        </a:cubicBezTo>
                        <a:cubicBezTo>
                          <a:pt x="66" y="750"/>
                          <a:pt x="66" y="750"/>
                          <a:pt x="116" y="750"/>
                        </a:cubicBezTo>
                        <a:cubicBezTo>
                          <a:pt x="119" y="750"/>
                          <a:pt x="121" y="747"/>
                          <a:pt x="121" y="745"/>
                        </a:cubicBezTo>
                        <a:cubicBezTo>
                          <a:pt x="121" y="745"/>
                          <a:pt x="121" y="745"/>
                          <a:pt x="115" y="478"/>
                        </a:cubicBezTo>
                        <a:cubicBezTo>
                          <a:pt x="115" y="476"/>
                          <a:pt x="114" y="474"/>
                          <a:pt x="111" y="474"/>
                        </a:cubicBezTo>
                        <a:cubicBezTo>
                          <a:pt x="111" y="474"/>
                          <a:pt x="111" y="474"/>
                          <a:pt x="72" y="474"/>
                        </a:cubicBezTo>
                        <a:close/>
                        <a:moveTo>
                          <a:pt x="231" y="474"/>
                        </a:moveTo>
                        <a:cubicBezTo>
                          <a:pt x="191" y="474"/>
                          <a:pt x="191" y="474"/>
                          <a:pt x="191" y="474"/>
                        </a:cubicBezTo>
                        <a:cubicBezTo>
                          <a:pt x="189" y="474"/>
                          <a:pt x="187" y="476"/>
                          <a:pt x="187" y="478"/>
                        </a:cubicBezTo>
                        <a:cubicBezTo>
                          <a:pt x="181" y="745"/>
                          <a:pt x="181" y="745"/>
                          <a:pt x="181" y="745"/>
                        </a:cubicBezTo>
                        <a:cubicBezTo>
                          <a:pt x="181" y="747"/>
                          <a:pt x="183" y="750"/>
                          <a:pt x="186" y="750"/>
                        </a:cubicBezTo>
                        <a:cubicBezTo>
                          <a:pt x="236" y="750"/>
                          <a:pt x="236" y="750"/>
                          <a:pt x="236" y="750"/>
                        </a:cubicBezTo>
                        <a:cubicBezTo>
                          <a:pt x="238" y="750"/>
                          <a:pt x="241" y="747"/>
                          <a:pt x="241" y="745"/>
                        </a:cubicBezTo>
                        <a:cubicBezTo>
                          <a:pt x="235" y="478"/>
                          <a:pt x="235" y="478"/>
                          <a:pt x="235" y="478"/>
                        </a:cubicBezTo>
                        <a:cubicBezTo>
                          <a:pt x="235" y="476"/>
                          <a:pt x="233" y="474"/>
                          <a:pt x="231" y="474"/>
                        </a:cubicBezTo>
                        <a:close/>
                      </a:path>
                    </a:pathLst>
                  </a:custGeom>
                  <a:solidFill>
                    <a:srgbClr val="4C7895"/>
                  </a:solidFill>
                  <a:ln>
                    <a:noFill/>
                  </a:ln>
                </p:spPr>
                <p:txBody>
                  <a:bodyPr vert="horz" wrap="square" lIns="91440" tIns="45720" rIns="91440" bIns="45720" numCol="1" anchor="t" anchorCtr="0" compatLnSpc="1">
                    <a:prstTxWarp prst="textNoShape">
                      <a:avLst/>
                    </a:prstTxWarp>
                  </a:bodyPr>
                  <a:lstStyle/>
                  <a:p>
                    <a:endParaRPr lang="de-DE" dirty="0"/>
                  </a:p>
                </p:txBody>
              </p:sp>
            </p:grpSp>
            <p:grpSp>
              <p:nvGrpSpPr>
                <p:cNvPr id="62" name="Group 16">
                  <a:extLst>
                    <a:ext uri="{FF2B5EF4-FFF2-40B4-BE49-F238E27FC236}">
                      <a16:creationId xmlns:a16="http://schemas.microsoft.com/office/drawing/2014/main" id="{D17A76B4-539C-4055-9C7E-77F229459376}"/>
                    </a:ext>
                  </a:extLst>
                </p:cNvPr>
                <p:cNvGrpSpPr>
                  <a:grpSpLocks noChangeAspect="1"/>
                </p:cNvGrpSpPr>
                <p:nvPr/>
              </p:nvGrpSpPr>
              <p:grpSpPr bwMode="auto">
                <a:xfrm>
                  <a:off x="5311598" y="2293488"/>
                  <a:ext cx="141472" cy="141472"/>
                  <a:chOff x="1625" y="1338"/>
                  <a:chExt cx="288" cy="288"/>
                </a:xfrm>
              </p:grpSpPr>
              <p:sp>
                <p:nvSpPr>
                  <p:cNvPr id="63" name="AutoShape 15">
                    <a:extLst>
                      <a:ext uri="{FF2B5EF4-FFF2-40B4-BE49-F238E27FC236}">
                        <a16:creationId xmlns:a16="http://schemas.microsoft.com/office/drawing/2014/main" id="{6E43E8D7-B1AC-4B6F-85C5-259661F95445}"/>
                      </a:ext>
                    </a:extLst>
                  </p:cNvPr>
                  <p:cNvSpPr>
                    <a:spLocks noChangeAspect="1" noChangeArrowheads="1" noTextEdit="1"/>
                  </p:cNvSpPr>
                  <p:nvPr/>
                </p:nvSpPr>
                <p:spPr bwMode="auto">
                  <a:xfrm>
                    <a:off x="1625" y="1338"/>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4" name="Freeform 17">
                    <a:extLst>
                      <a:ext uri="{FF2B5EF4-FFF2-40B4-BE49-F238E27FC236}">
                        <a16:creationId xmlns:a16="http://schemas.microsoft.com/office/drawing/2014/main" id="{EAA1D786-A294-46B3-A836-9A591D8F3760}"/>
                      </a:ext>
                    </a:extLst>
                  </p:cNvPr>
                  <p:cNvSpPr>
                    <a:spLocks noEditPoints="1"/>
                  </p:cNvSpPr>
                  <p:nvPr/>
                </p:nvSpPr>
                <p:spPr bwMode="auto">
                  <a:xfrm>
                    <a:off x="1641" y="1401"/>
                    <a:ext cx="256" cy="161"/>
                  </a:xfrm>
                  <a:custGeom>
                    <a:avLst/>
                    <a:gdLst>
                      <a:gd name="T0" fmla="*/ 738 w 886"/>
                      <a:gd name="T1" fmla="*/ 209 h 558"/>
                      <a:gd name="T2" fmla="*/ 554 w 886"/>
                      <a:gd name="T3" fmla="*/ 370 h 558"/>
                      <a:gd name="T4" fmla="*/ 412 w 886"/>
                      <a:gd name="T5" fmla="*/ 276 h 558"/>
                      <a:gd name="T6" fmla="*/ 327 w 886"/>
                      <a:gd name="T7" fmla="*/ 337 h 558"/>
                      <a:gd name="T8" fmla="*/ 226 w 886"/>
                      <a:gd name="T9" fmla="*/ 446 h 558"/>
                      <a:gd name="T10" fmla="*/ 53 w 886"/>
                      <a:gd name="T11" fmla="*/ 508 h 558"/>
                      <a:gd name="T12" fmla="*/ 23 w 886"/>
                      <a:gd name="T13" fmla="*/ 515 h 558"/>
                      <a:gd name="T14" fmla="*/ 47 w 886"/>
                      <a:gd name="T15" fmla="*/ 558 h 558"/>
                      <a:gd name="T16" fmla="*/ 863 w 886"/>
                      <a:gd name="T17" fmla="*/ 534 h 558"/>
                      <a:gd name="T18" fmla="*/ 855 w 886"/>
                      <a:gd name="T19" fmla="*/ 116 h 558"/>
                      <a:gd name="T20" fmla="*/ 879 w 886"/>
                      <a:gd name="T21" fmla="*/ 10 h 558"/>
                      <a:gd name="T22" fmla="*/ 780 w 886"/>
                      <a:gd name="T23" fmla="*/ 63 h 558"/>
                      <a:gd name="T24" fmla="*/ 701 w 886"/>
                      <a:gd name="T25" fmla="*/ 109 h 558"/>
                      <a:gd name="T26" fmla="*/ 703 w 886"/>
                      <a:gd name="T27" fmla="*/ 124 h 558"/>
                      <a:gd name="T28" fmla="*/ 580 w 886"/>
                      <a:gd name="T29" fmla="*/ 223 h 558"/>
                      <a:gd name="T30" fmla="*/ 520 w 886"/>
                      <a:gd name="T31" fmla="*/ 229 h 558"/>
                      <a:gd name="T32" fmla="*/ 519 w 886"/>
                      <a:gd name="T33" fmla="*/ 230 h 558"/>
                      <a:gd name="T34" fmla="*/ 427 w 886"/>
                      <a:gd name="T35" fmla="*/ 184 h 558"/>
                      <a:gd name="T36" fmla="*/ 375 w 886"/>
                      <a:gd name="T37" fmla="*/ 130 h 558"/>
                      <a:gd name="T38" fmla="*/ 327 w 886"/>
                      <a:gd name="T39" fmla="*/ 202 h 558"/>
                      <a:gd name="T40" fmla="*/ 328 w 886"/>
                      <a:gd name="T41" fmla="*/ 204 h 558"/>
                      <a:gd name="T42" fmla="*/ 226 w 886"/>
                      <a:gd name="T43" fmla="*/ 293 h 558"/>
                      <a:gd name="T44" fmla="*/ 174 w 886"/>
                      <a:gd name="T45" fmla="*/ 348 h 558"/>
                      <a:gd name="T46" fmla="*/ 174 w 886"/>
                      <a:gd name="T47" fmla="*/ 349 h 558"/>
                      <a:gd name="T48" fmla="*/ 5 w 886"/>
                      <a:gd name="T49" fmla="*/ 456 h 558"/>
                      <a:gd name="T50" fmla="*/ 32 w 886"/>
                      <a:gd name="T51" fmla="*/ 465 h 558"/>
                      <a:gd name="T52" fmla="*/ 226 w 886"/>
                      <a:gd name="T53" fmla="*/ 398 h 558"/>
                      <a:gd name="T54" fmla="*/ 273 w 886"/>
                      <a:gd name="T55" fmla="*/ 323 h 558"/>
                      <a:gd name="T56" fmla="*/ 375 w 886"/>
                      <a:gd name="T57" fmla="*/ 234 h 558"/>
                      <a:gd name="T58" fmla="*/ 502 w 886"/>
                      <a:gd name="T59" fmla="*/ 265 h 558"/>
                      <a:gd name="T60" fmla="*/ 501 w 886"/>
                      <a:gd name="T61" fmla="*/ 267 h 558"/>
                      <a:gd name="T62" fmla="*/ 554 w 886"/>
                      <a:gd name="T63" fmla="*/ 321 h 558"/>
                      <a:gd name="T64" fmla="*/ 605 w 886"/>
                      <a:gd name="T65" fmla="*/ 256 h 558"/>
                      <a:gd name="T66" fmla="*/ 605 w 886"/>
                      <a:gd name="T67" fmla="*/ 254 h 558"/>
                      <a:gd name="T68" fmla="*/ 754 w 886"/>
                      <a:gd name="T69" fmla="*/ 162 h 558"/>
                      <a:gd name="T70" fmla="*/ 805 w 886"/>
                      <a:gd name="T71" fmla="*/ 96 h 558"/>
                      <a:gd name="T72" fmla="*/ 876 w 886"/>
                      <a:gd name="T73" fmla="*/ 37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6" h="558">
                        <a:moveTo>
                          <a:pt x="754" y="211"/>
                        </a:moveTo>
                        <a:cubicBezTo>
                          <a:pt x="749" y="211"/>
                          <a:pt x="744" y="210"/>
                          <a:pt x="738" y="209"/>
                        </a:cubicBezTo>
                        <a:cubicBezTo>
                          <a:pt x="655" y="276"/>
                          <a:pt x="655" y="276"/>
                          <a:pt x="655" y="276"/>
                        </a:cubicBezTo>
                        <a:cubicBezTo>
                          <a:pt x="652" y="328"/>
                          <a:pt x="608" y="370"/>
                          <a:pt x="554" y="370"/>
                        </a:cubicBezTo>
                        <a:cubicBezTo>
                          <a:pt x="509" y="370"/>
                          <a:pt x="470" y="339"/>
                          <a:pt x="457" y="298"/>
                        </a:cubicBezTo>
                        <a:cubicBezTo>
                          <a:pt x="412" y="276"/>
                          <a:pt x="412" y="276"/>
                          <a:pt x="412" y="276"/>
                        </a:cubicBezTo>
                        <a:cubicBezTo>
                          <a:pt x="400" y="280"/>
                          <a:pt x="388" y="283"/>
                          <a:pt x="376" y="283"/>
                        </a:cubicBezTo>
                        <a:cubicBezTo>
                          <a:pt x="327" y="337"/>
                          <a:pt x="327" y="337"/>
                          <a:pt x="327" y="337"/>
                        </a:cubicBezTo>
                        <a:cubicBezTo>
                          <a:pt x="327" y="340"/>
                          <a:pt x="327" y="343"/>
                          <a:pt x="327" y="346"/>
                        </a:cubicBezTo>
                        <a:cubicBezTo>
                          <a:pt x="327" y="401"/>
                          <a:pt x="282" y="446"/>
                          <a:pt x="226" y="446"/>
                        </a:cubicBezTo>
                        <a:cubicBezTo>
                          <a:pt x="214" y="446"/>
                          <a:pt x="202" y="444"/>
                          <a:pt x="191" y="440"/>
                        </a:cubicBezTo>
                        <a:cubicBezTo>
                          <a:pt x="53" y="508"/>
                          <a:pt x="53" y="508"/>
                          <a:pt x="53" y="508"/>
                        </a:cubicBezTo>
                        <a:cubicBezTo>
                          <a:pt x="44" y="513"/>
                          <a:pt x="33" y="515"/>
                          <a:pt x="23" y="515"/>
                        </a:cubicBezTo>
                        <a:cubicBezTo>
                          <a:pt x="23" y="515"/>
                          <a:pt x="23" y="515"/>
                          <a:pt x="23" y="515"/>
                        </a:cubicBezTo>
                        <a:cubicBezTo>
                          <a:pt x="23" y="534"/>
                          <a:pt x="23" y="534"/>
                          <a:pt x="23" y="534"/>
                        </a:cubicBezTo>
                        <a:cubicBezTo>
                          <a:pt x="23" y="547"/>
                          <a:pt x="34" y="558"/>
                          <a:pt x="47" y="558"/>
                        </a:cubicBezTo>
                        <a:cubicBezTo>
                          <a:pt x="839" y="558"/>
                          <a:pt x="839" y="558"/>
                          <a:pt x="839" y="558"/>
                        </a:cubicBezTo>
                        <a:cubicBezTo>
                          <a:pt x="852" y="558"/>
                          <a:pt x="863" y="547"/>
                          <a:pt x="863" y="534"/>
                        </a:cubicBezTo>
                        <a:cubicBezTo>
                          <a:pt x="863" y="110"/>
                          <a:pt x="863" y="110"/>
                          <a:pt x="863" y="110"/>
                        </a:cubicBezTo>
                        <a:cubicBezTo>
                          <a:pt x="855" y="116"/>
                          <a:pt x="855" y="116"/>
                          <a:pt x="855" y="116"/>
                        </a:cubicBezTo>
                        <a:cubicBezTo>
                          <a:pt x="852" y="169"/>
                          <a:pt x="808" y="211"/>
                          <a:pt x="754" y="211"/>
                        </a:cubicBezTo>
                        <a:close/>
                        <a:moveTo>
                          <a:pt x="879" y="10"/>
                        </a:moveTo>
                        <a:cubicBezTo>
                          <a:pt x="872" y="1"/>
                          <a:pt x="859" y="0"/>
                          <a:pt x="851" y="6"/>
                        </a:cubicBezTo>
                        <a:cubicBezTo>
                          <a:pt x="780" y="63"/>
                          <a:pt x="780" y="63"/>
                          <a:pt x="780" y="63"/>
                        </a:cubicBezTo>
                        <a:cubicBezTo>
                          <a:pt x="772" y="59"/>
                          <a:pt x="763" y="56"/>
                          <a:pt x="754" y="56"/>
                        </a:cubicBezTo>
                        <a:cubicBezTo>
                          <a:pt x="725" y="56"/>
                          <a:pt x="701" y="80"/>
                          <a:pt x="701" y="109"/>
                        </a:cubicBezTo>
                        <a:cubicBezTo>
                          <a:pt x="701" y="113"/>
                          <a:pt x="702" y="117"/>
                          <a:pt x="703" y="122"/>
                        </a:cubicBezTo>
                        <a:cubicBezTo>
                          <a:pt x="703" y="124"/>
                          <a:pt x="703" y="124"/>
                          <a:pt x="703" y="124"/>
                        </a:cubicBezTo>
                        <a:cubicBezTo>
                          <a:pt x="703" y="124"/>
                          <a:pt x="703" y="124"/>
                          <a:pt x="703" y="124"/>
                        </a:cubicBezTo>
                        <a:cubicBezTo>
                          <a:pt x="580" y="223"/>
                          <a:pt x="580" y="223"/>
                          <a:pt x="580" y="223"/>
                        </a:cubicBezTo>
                        <a:cubicBezTo>
                          <a:pt x="572" y="219"/>
                          <a:pt x="564" y="217"/>
                          <a:pt x="554" y="217"/>
                        </a:cubicBezTo>
                        <a:cubicBezTo>
                          <a:pt x="542" y="217"/>
                          <a:pt x="530" y="221"/>
                          <a:pt x="520" y="229"/>
                        </a:cubicBezTo>
                        <a:cubicBezTo>
                          <a:pt x="519" y="229"/>
                          <a:pt x="519" y="229"/>
                          <a:pt x="519" y="229"/>
                        </a:cubicBezTo>
                        <a:cubicBezTo>
                          <a:pt x="519" y="230"/>
                          <a:pt x="519" y="230"/>
                          <a:pt x="519" y="230"/>
                        </a:cubicBezTo>
                        <a:cubicBezTo>
                          <a:pt x="427" y="185"/>
                          <a:pt x="427" y="185"/>
                          <a:pt x="427" y="185"/>
                        </a:cubicBezTo>
                        <a:cubicBezTo>
                          <a:pt x="427" y="184"/>
                          <a:pt x="427" y="184"/>
                          <a:pt x="427" y="184"/>
                        </a:cubicBezTo>
                        <a:cubicBezTo>
                          <a:pt x="427" y="182"/>
                          <a:pt x="427" y="182"/>
                          <a:pt x="427" y="182"/>
                        </a:cubicBezTo>
                        <a:cubicBezTo>
                          <a:pt x="427" y="153"/>
                          <a:pt x="404" y="130"/>
                          <a:pt x="375" y="130"/>
                        </a:cubicBezTo>
                        <a:cubicBezTo>
                          <a:pt x="346" y="130"/>
                          <a:pt x="323" y="153"/>
                          <a:pt x="323" y="182"/>
                        </a:cubicBezTo>
                        <a:cubicBezTo>
                          <a:pt x="323" y="189"/>
                          <a:pt x="324" y="195"/>
                          <a:pt x="327" y="202"/>
                        </a:cubicBezTo>
                        <a:cubicBezTo>
                          <a:pt x="328" y="204"/>
                          <a:pt x="328" y="204"/>
                          <a:pt x="328" y="204"/>
                        </a:cubicBezTo>
                        <a:cubicBezTo>
                          <a:pt x="328" y="204"/>
                          <a:pt x="328" y="204"/>
                          <a:pt x="328" y="204"/>
                        </a:cubicBezTo>
                        <a:cubicBezTo>
                          <a:pt x="244" y="297"/>
                          <a:pt x="244" y="297"/>
                          <a:pt x="244" y="297"/>
                        </a:cubicBezTo>
                        <a:cubicBezTo>
                          <a:pt x="238" y="294"/>
                          <a:pt x="233" y="293"/>
                          <a:pt x="226" y="293"/>
                        </a:cubicBezTo>
                        <a:cubicBezTo>
                          <a:pt x="197" y="293"/>
                          <a:pt x="174" y="317"/>
                          <a:pt x="174" y="346"/>
                        </a:cubicBezTo>
                        <a:cubicBezTo>
                          <a:pt x="174" y="348"/>
                          <a:pt x="174" y="348"/>
                          <a:pt x="174" y="348"/>
                        </a:cubicBezTo>
                        <a:cubicBezTo>
                          <a:pt x="174" y="349"/>
                          <a:pt x="174" y="349"/>
                          <a:pt x="174" y="349"/>
                        </a:cubicBezTo>
                        <a:cubicBezTo>
                          <a:pt x="174" y="349"/>
                          <a:pt x="174" y="349"/>
                          <a:pt x="174" y="349"/>
                        </a:cubicBezTo>
                        <a:cubicBezTo>
                          <a:pt x="14" y="429"/>
                          <a:pt x="14" y="429"/>
                          <a:pt x="14" y="429"/>
                        </a:cubicBezTo>
                        <a:cubicBezTo>
                          <a:pt x="4" y="434"/>
                          <a:pt x="0" y="446"/>
                          <a:pt x="5" y="456"/>
                        </a:cubicBezTo>
                        <a:cubicBezTo>
                          <a:pt x="9" y="463"/>
                          <a:pt x="16" y="467"/>
                          <a:pt x="23" y="467"/>
                        </a:cubicBezTo>
                        <a:cubicBezTo>
                          <a:pt x="26" y="467"/>
                          <a:pt x="29" y="466"/>
                          <a:pt x="32" y="465"/>
                        </a:cubicBezTo>
                        <a:cubicBezTo>
                          <a:pt x="192" y="385"/>
                          <a:pt x="192" y="385"/>
                          <a:pt x="192" y="385"/>
                        </a:cubicBezTo>
                        <a:cubicBezTo>
                          <a:pt x="201" y="393"/>
                          <a:pt x="214" y="398"/>
                          <a:pt x="226" y="398"/>
                        </a:cubicBezTo>
                        <a:cubicBezTo>
                          <a:pt x="255" y="398"/>
                          <a:pt x="278" y="374"/>
                          <a:pt x="278" y="346"/>
                        </a:cubicBezTo>
                        <a:cubicBezTo>
                          <a:pt x="278" y="338"/>
                          <a:pt x="277" y="331"/>
                          <a:pt x="273" y="323"/>
                        </a:cubicBezTo>
                        <a:cubicBezTo>
                          <a:pt x="358" y="231"/>
                          <a:pt x="358" y="231"/>
                          <a:pt x="358" y="231"/>
                        </a:cubicBezTo>
                        <a:cubicBezTo>
                          <a:pt x="363" y="233"/>
                          <a:pt x="369" y="234"/>
                          <a:pt x="375" y="234"/>
                        </a:cubicBezTo>
                        <a:cubicBezTo>
                          <a:pt x="388" y="234"/>
                          <a:pt x="400" y="229"/>
                          <a:pt x="410" y="221"/>
                        </a:cubicBezTo>
                        <a:cubicBezTo>
                          <a:pt x="502" y="265"/>
                          <a:pt x="502" y="265"/>
                          <a:pt x="502" y="265"/>
                        </a:cubicBezTo>
                        <a:cubicBezTo>
                          <a:pt x="502" y="265"/>
                          <a:pt x="501" y="266"/>
                          <a:pt x="501" y="266"/>
                        </a:cubicBezTo>
                        <a:cubicBezTo>
                          <a:pt x="501" y="267"/>
                          <a:pt x="501" y="267"/>
                          <a:pt x="501" y="267"/>
                        </a:cubicBezTo>
                        <a:cubicBezTo>
                          <a:pt x="501" y="269"/>
                          <a:pt x="501" y="269"/>
                          <a:pt x="501" y="269"/>
                        </a:cubicBezTo>
                        <a:cubicBezTo>
                          <a:pt x="501" y="298"/>
                          <a:pt x="525" y="321"/>
                          <a:pt x="554" y="321"/>
                        </a:cubicBezTo>
                        <a:cubicBezTo>
                          <a:pt x="583" y="321"/>
                          <a:pt x="607" y="298"/>
                          <a:pt x="607" y="269"/>
                        </a:cubicBezTo>
                        <a:cubicBezTo>
                          <a:pt x="607" y="263"/>
                          <a:pt x="606" y="259"/>
                          <a:pt x="605" y="256"/>
                        </a:cubicBezTo>
                        <a:cubicBezTo>
                          <a:pt x="605" y="255"/>
                          <a:pt x="605" y="255"/>
                          <a:pt x="605" y="255"/>
                        </a:cubicBezTo>
                        <a:cubicBezTo>
                          <a:pt x="605" y="254"/>
                          <a:pt x="605" y="254"/>
                          <a:pt x="605" y="254"/>
                        </a:cubicBezTo>
                        <a:cubicBezTo>
                          <a:pt x="728" y="155"/>
                          <a:pt x="728" y="155"/>
                          <a:pt x="728" y="155"/>
                        </a:cubicBezTo>
                        <a:cubicBezTo>
                          <a:pt x="736" y="160"/>
                          <a:pt x="745" y="162"/>
                          <a:pt x="754" y="162"/>
                        </a:cubicBezTo>
                        <a:cubicBezTo>
                          <a:pt x="783" y="162"/>
                          <a:pt x="807" y="138"/>
                          <a:pt x="807" y="109"/>
                        </a:cubicBezTo>
                        <a:cubicBezTo>
                          <a:pt x="807" y="104"/>
                          <a:pt x="806" y="98"/>
                          <a:pt x="805" y="96"/>
                        </a:cubicBezTo>
                        <a:cubicBezTo>
                          <a:pt x="805" y="95"/>
                          <a:pt x="805" y="95"/>
                          <a:pt x="805" y="94"/>
                        </a:cubicBezTo>
                        <a:cubicBezTo>
                          <a:pt x="876" y="37"/>
                          <a:pt x="876" y="37"/>
                          <a:pt x="876" y="37"/>
                        </a:cubicBezTo>
                        <a:cubicBezTo>
                          <a:pt x="884" y="31"/>
                          <a:pt x="886" y="18"/>
                          <a:pt x="879" y="1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23" name="Group 22">
              <a:extLst>
                <a:ext uri="{FF2B5EF4-FFF2-40B4-BE49-F238E27FC236}">
                  <a16:creationId xmlns:a16="http://schemas.microsoft.com/office/drawing/2014/main" id="{0D2E5A69-D7C7-48AA-AF6D-FA0F8595CF9B}"/>
                </a:ext>
              </a:extLst>
            </p:cNvPr>
            <p:cNvGrpSpPr/>
            <p:nvPr/>
          </p:nvGrpSpPr>
          <p:grpSpPr>
            <a:xfrm>
              <a:off x="5023566" y="2855185"/>
              <a:ext cx="576064" cy="576064"/>
              <a:chOff x="5023566" y="2765908"/>
              <a:chExt cx="576064" cy="576064"/>
            </a:xfrm>
          </p:grpSpPr>
          <p:sp>
            <p:nvSpPr>
              <p:cNvPr id="22" name="Oval 21">
                <a:extLst>
                  <a:ext uri="{FF2B5EF4-FFF2-40B4-BE49-F238E27FC236}">
                    <a16:creationId xmlns:a16="http://schemas.microsoft.com/office/drawing/2014/main" id="{ADA806B1-493D-4495-8B92-84D589933405}"/>
                  </a:ext>
                </a:extLst>
              </p:cNvPr>
              <p:cNvSpPr/>
              <p:nvPr/>
            </p:nvSpPr>
            <p:spPr bwMode="auto">
              <a:xfrm>
                <a:off x="5023566" y="2765908"/>
                <a:ext cx="576064" cy="576064"/>
              </a:xfrm>
              <a:prstGeom prst="ellipse">
                <a:avLst/>
              </a:prstGeom>
              <a:solidFill>
                <a:srgbClr val="FFFFFF"/>
              </a:solid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100" b="1" kern="0" dirty="0">
                  <a:solidFill>
                    <a:schemeClr val="bg1">
                      <a:lumMod val="50000"/>
                    </a:schemeClr>
                  </a:solidFill>
                  <a:latin typeface="+mn-lt"/>
                  <a:cs typeface="+mn-cs"/>
                </a:endParaRPr>
              </a:p>
            </p:txBody>
          </p:sp>
          <p:grpSp>
            <p:nvGrpSpPr>
              <p:cNvPr id="66" name="Group 65">
                <a:extLst>
                  <a:ext uri="{FF2B5EF4-FFF2-40B4-BE49-F238E27FC236}">
                    <a16:creationId xmlns:a16="http://schemas.microsoft.com/office/drawing/2014/main" id="{E9223386-D5DD-4583-8970-18513D420318}"/>
                  </a:ext>
                </a:extLst>
              </p:cNvPr>
              <p:cNvGrpSpPr>
                <a:grpSpLocks noChangeAspect="1"/>
              </p:cNvGrpSpPr>
              <p:nvPr/>
            </p:nvGrpSpPr>
            <p:grpSpPr>
              <a:xfrm>
                <a:off x="5126616" y="2869137"/>
                <a:ext cx="369964" cy="369606"/>
                <a:chOff x="5273675" y="2606675"/>
                <a:chExt cx="1646238" cy="1644650"/>
              </a:xfrm>
            </p:grpSpPr>
            <p:sp>
              <p:nvSpPr>
                <p:cNvPr id="67" name="AutoShape 20">
                  <a:extLst>
                    <a:ext uri="{FF2B5EF4-FFF2-40B4-BE49-F238E27FC236}">
                      <a16:creationId xmlns:a16="http://schemas.microsoft.com/office/drawing/2014/main" id="{A8D3A1AB-A735-4AE1-8418-EA9608B15854}"/>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68" name="Group 67">
                  <a:extLst>
                    <a:ext uri="{FF2B5EF4-FFF2-40B4-BE49-F238E27FC236}">
                      <a16:creationId xmlns:a16="http://schemas.microsoft.com/office/drawing/2014/main" id="{64BFA774-BCD4-439D-BBEC-36C44C3EA2A3}"/>
                    </a:ext>
                  </a:extLst>
                </p:cNvPr>
                <p:cNvGrpSpPr/>
                <p:nvPr/>
              </p:nvGrpSpPr>
              <p:grpSpPr>
                <a:xfrm>
                  <a:off x="5343525" y="2808288"/>
                  <a:ext cx="1508125" cy="1241425"/>
                  <a:chOff x="5343525" y="2808288"/>
                  <a:chExt cx="1508125" cy="1241425"/>
                </a:xfrm>
              </p:grpSpPr>
              <p:sp>
                <p:nvSpPr>
                  <p:cNvPr id="69" name="Freeform 11">
                    <a:extLst>
                      <a:ext uri="{FF2B5EF4-FFF2-40B4-BE49-F238E27FC236}">
                        <a16:creationId xmlns:a16="http://schemas.microsoft.com/office/drawing/2014/main" id="{EEE782D9-2F48-48CE-A151-BA0656762D5A}"/>
                      </a:ext>
                    </a:extLst>
                  </p:cNvPr>
                  <p:cNvSpPr>
                    <a:spLocks/>
                  </p:cNvSpPr>
                  <p:nvPr/>
                </p:nvSpPr>
                <p:spPr bwMode="auto">
                  <a:xfrm>
                    <a:off x="5343525" y="2808288"/>
                    <a:ext cx="1508125" cy="1241425"/>
                  </a:xfrm>
                  <a:custGeom>
                    <a:avLst/>
                    <a:gdLst>
                      <a:gd name="connsiteX0" fmla="*/ 754777 w 1508125"/>
                      <a:gd name="connsiteY0" fmla="*/ 476250 h 1241425"/>
                      <a:gd name="connsiteX1" fmla="*/ 600472 w 1508125"/>
                      <a:gd name="connsiteY1" fmla="*/ 531953 h 1241425"/>
                      <a:gd name="connsiteX2" fmla="*/ 511175 w 1508125"/>
                      <a:gd name="connsiteY2" fmla="*/ 719058 h 1241425"/>
                      <a:gd name="connsiteX3" fmla="*/ 741204 w 1508125"/>
                      <a:gd name="connsiteY3" fmla="*/ 960438 h 1241425"/>
                      <a:gd name="connsiteX4" fmla="*/ 754777 w 1508125"/>
                      <a:gd name="connsiteY4" fmla="*/ 960438 h 1241425"/>
                      <a:gd name="connsiteX5" fmla="*/ 996950 w 1508125"/>
                      <a:gd name="connsiteY5" fmla="*/ 718344 h 1241425"/>
                      <a:gd name="connsiteX6" fmla="*/ 754777 w 1508125"/>
                      <a:gd name="connsiteY6" fmla="*/ 476250 h 1241425"/>
                      <a:gd name="connsiteX7" fmla="*/ 754063 w 1508125"/>
                      <a:gd name="connsiteY7" fmla="*/ 414337 h 1241425"/>
                      <a:gd name="connsiteX8" fmla="*/ 1058863 w 1508125"/>
                      <a:gd name="connsiteY8" fmla="*/ 719137 h 1241425"/>
                      <a:gd name="connsiteX9" fmla="*/ 754063 w 1508125"/>
                      <a:gd name="connsiteY9" fmla="*/ 1023937 h 1241425"/>
                      <a:gd name="connsiteX10" fmla="*/ 449263 w 1508125"/>
                      <a:gd name="connsiteY10" fmla="*/ 719137 h 1241425"/>
                      <a:gd name="connsiteX11" fmla="*/ 754063 w 1508125"/>
                      <a:gd name="connsiteY11" fmla="*/ 414337 h 1241425"/>
                      <a:gd name="connsiteX12" fmla="*/ 558554 w 1508125"/>
                      <a:gd name="connsiteY12" fmla="*/ 31750 h 1241425"/>
                      <a:gd name="connsiteX13" fmla="*/ 464329 w 1508125"/>
                      <a:gd name="connsiteY13" fmla="*/ 102340 h 1241425"/>
                      <a:gd name="connsiteX14" fmla="*/ 425069 w 1508125"/>
                      <a:gd name="connsiteY14" fmla="*/ 194321 h 1241425"/>
                      <a:gd name="connsiteX15" fmla="*/ 413648 w 1508125"/>
                      <a:gd name="connsiteY15" fmla="*/ 201451 h 1241425"/>
                      <a:gd name="connsiteX16" fmla="*/ 303718 w 1508125"/>
                      <a:gd name="connsiteY16" fmla="*/ 201451 h 1241425"/>
                      <a:gd name="connsiteX17" fmla="*/ 168805 w 1508125"/>
                      <a:gd name="connsiteY17" fmla="*/ 237816 h 1241425"/>
                      <a:gd name="connsiteX18" fmla="*/ 165950 w 1508125"/>
                      <a:gd name="connsiteY18" fmla="*/ 239242 h 1241425"/>
                      <a:gd name="connsiteX19" fmla="*/ 163808 w 1508125"/>
                      <a:gd name="connsiteY19" fmla="*/ 240668 h 1241425"/>
                      <a:gd name="connsiteX20" fmla="*/ 67442 w 1508125"/>
                      <a:gd name="connsiteY20" fmla="*/ 339779 h 1241425"/>
                      <a:gd name="connsiteX21" fmla="*/ 66014 w 1508125"/>
                      <a:gd name="connsiteY21" fmla="*/ 341918 h 1241425"/>
                      <a:gd name="connsiteX22" fmla="*/ 64586 w 1508125"/>
                      <a:gd name="connsiteY22" fmla="*/ 344770 h 1241425"/>
                      <a:gd name="connsiteX23" fmla="*/ 31750 w 1508125"/>
                      <a:gd name="connsiteY23" fmla="*/ 473116 h 1241425"/>
                      <a:gd name="connsiteX24" fmla="*/ 31750 w 1508125"/>
                      <a:gd name="connsiteY24" fmla="*/ 938724 h 1241425"/>
                      <a:gd name="connsiteX25" fmla="*/ 303718 w 1508125"/>
                      <a:gd name="connsiteY25" fmla="*/ 1209675 h 1241425"/>
                      <a:gd name="connsiteX26" fmla="*/ 1205995 w 1508125"/>
                      <a:gd name="connsiteY26" fmla="*/ 1209675 h 1241425"/>
                      <a:gd name="connsiteX27" fmla="*/ 1477963 w 1508125"/>
                      <a:gd name="connsiteY27" fmla="*/ 938724 h 1241425"/>
                      <a:gd name="connsiteX28" fmla="*/ 1477963 w 1508125"/>
                      <a:gd name="connsiteY28" fmla="*/ 473116 h 1241425"/>
                      <a:gd name="connsiteX29" fmla="*/ 1445127 w 1508125"/>
                      <a:gd name="connsiteY29" fmla="*/ 344770 h 1241425"/>
                      <a:gd name="connsiteX30" fmla="*/ 1443700 w 1508125"/>
                      <a:gd name="connsiteY30" fmla="*/ 341918 h 1241425"/>
                      <a:gd name="connsiteX31" fmla="*/ 1442986 w 1508125"/>
                      <a:gd name="connsiteY31" fmla="*/ 339779 h 1241425"/>
                      <a:gd name="connsiteX32" fmla="*/ 1345905 w 1508125"/>
                      <a:gd name="connsiteY32" fmla="*/ 240668 h 1241425"/>
                      <a:gd name="connsiteX33" fmla="*/ 1343764 w 1508125"/>
                      <a:gd name="connsiteY33" fmla="*/ 239242 h 1241425"/>
                      <a:gd name="connsiteX34" fmla="*/ 1340908 w 1508125"/>
                      <a:gd name="connsiteY34" fmla="*/ 237816 h 1241425"/>
                      <a:gd name="connsiteX35" fmla="*/ 1205995 w 1508125"/>
                      <a:gd name="connsiteY35" fmla="*/ 201451 h 1241425"/>
                      <a:gd name="connsiteX36" fmla="*/ 1096066 w 1508125"/>
                      <a:gd name="connsiteY36" fmla="*/ 201451 h 1241425"/>
                      <a:gd name="connsiteX37" fmla="*/ 1084645 w 1508125"/>
                      <a:gd name="connsiteY37" fmla="*/ 194321 h 1241425"/>
                      <a:gd name="connsiteX38" fmla="*/ 1046098 w 1508125"/>
                      <a:gd name="connsiteY38" fmla="*/ 102340 h 1241425"/>
                      <a:gd name="connsiteX39" fmla="*/ 951159 w 1508125"/>
                      <a:gd name="connsiteY39" fmla="*/ 31750 h 1241425"/>
                      <a:gd name="connsiteX40" fmla="*/ 558554 w 1508125"/>
                      <a:gd name="connsiteY40" fmla="*/ 31750 h 1241425"/>
                      <a:gd name="connsiteX41" fmla="*/ 557878 w 1508125"/>
                      <a:gd name="connsiteY41" fmla="*/ 0 h 1241425"/>
                      <a:gd name="connsiteX42" fmla="*/ 950247 w 1508125"/>
                      <a:gd name="connsiteY42" fmla="*/ 0 h 1241425"/>
                      <a:gd name="connsiteX43" fmla="*/ 1074379 w 1508125"/>
                      <a:gd name="connsiteY43" fmla="*/ 90610 h 1241425"/>
                      <a:gd name="connsiteX44" fmla="*/ 1107908 w 1508125"/>
                      <a:gd name="connsiteY44" fmla="*/ 170518 h 1241425"/>
                      <a:gd name="connsiteX45" fmla="*/ 1204931 w 1508125"/>
                      <a:gd name="connsiteY45" fmla="*/ 170518 h 1241425"/>
                      <a:gd name="connsiteX46" fmla="*/ 1418950 w 1508125"/>
                      <a:gd name="connsiteY46" fmla="*/ 259701 h 1241425"/>
                      <a:gd name="connsiteX47" fmla="*/ 1508125 w 1508125"/>
                      <a:gd name="connsiteY47" fmla="*/ 473026 h 1241425"/>
                      <a:gd name="connsiteX48" fmla="*/ 1508125 w 1508125"/>
                      <a:gd name="connsiteY48" fmla="*/ 938917 h 1241425"/>
                      <a:gd name="connsiteX49" fmla="*/ 1204931 w 1508125"/>
                      <a:gd name="connsiteY49" fmla="*/ 1241425 h 1241425"/>
                      <a:gd name="connsiteX50" fmla="*/ 303195 w 1508125"/>
                      <a:gd name="connsiteY50" fmla="*/ 1241425 h 1241425"/>
                      <a:gd name="connsiteX51" fmla="*/ 0 w 1508125"/>
                      <a:gd name="connsiteY51" fmla="*/ 938917 h 1241425"/>
                      <a:gd name="connsiteX52" fmla="*/ 0 w 1508125"/>
                      <a:gd name="connsiteY52" fmla="*/ 473026 h 1241425"/>
                      <a:gd name="connsiteX53" fmla="*/ 89175 w 1508125"/>
                      <a:gd name="connsiteY53" fmla="*/ 259701 h 1241425"/>
                      <a:gd name="connsiteX54" fmla="*/ 303195 w 1508125"/>
                      <a:gd name="connsiteY54" fmla="*/ 170518 h 1241425"/>
                      <a:gd name="connsiteX55" fmla="*/ 400217 w 1508125"/>
                      <a:gd name="connsiteY55" fmla="*/ 170518 h 1241425"/>
                      <a:gd name="connsiteX56" fmla="*/ 434460 w 1508125"/>
                      <a:gd name="connsiteY56" fmla="*/ 90610 h 1241425"/>
                      <a:gd name="connsiteX57" fmla="*/ 557878 w 1508125"/>
                      <a:gd name="connsiteY57" fmla="*/ 0 h 124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508125" h="1241425">
                        <a:moveTo>
                          <a:pt x="754777" y="476250"/>
                        </a:moveTo>
                        <a:cubicBezTo>
                          <a:pt x="696198" y="476250"/>
                          <a:pt x="642620" y="496960"/>
                          <a:pt x="600472" y="531953"/>
                        </a:cubicBezTo>
                        <a:cubicBezTo>
                          <a:pt x="546180" y="576230"/>
                          <a:pt x="511175" y="643359"/>
                          <a:pt x="511175" y="719058"/>
                        </a:cubicBezTo>
                        <a:cubicBezTo>
                          <a:pt x="511175" y="848318"/>
                          <a:pt x="613331" y="954011"/>
                          <a:pt x="741204" y="960438"/>
                        </a:cubicBezTo>
                        <a:cubicBezTo>
                          <a:pt x="746205" y="960438"/>
                          <a:pt x="750491" y="960438"/>
                          <a:pt x="754777" y="960438"/>
                        </a:cubicBezTo>
                        <a:cubicBezTo>
                          <a:pt x="888365" y="960438"/>
                          <a:pt x="996950" y="851889"/>
                          <a:pt x="996950" y="718344"/>
                        </a:cubicBezTo>
                        <a:cubicBezTo>
                          <a:pt x="996950" y="584800"/>
                          <a:pt x="888365" y="476250"/>
                          <a:pt x="754777" y="476250"/>
                        </a:cubicBezTo>
                        <a:close/>
                        <a:moveTo>
                          <a:pt x="754063" y="414337"/>
                        </a:moveTo>
                        <a:cubicBezTo>
                          <a:pt x="922399" y="414337"/>
                          <a:pt x="1058863" y="550801"/>
                          <a:pt x="1058863" y="719137"/>
                        </a:cubicBezTo>
                        <a:cubicBezTo>
                          <a:pt x="1058863" y="887473"/>
                          <a:pt x="922399" y="1023937"/>
                          <a:pt x="754063" y="1023937"/>
                        </a:cubicBezTo>
                        <a:cubicBezTo>
                          <a:pt x="585727" y="1023937"/>
                          <a:pt x="449263" y="887473"/>
                          <a:pt x="449263" y="719137"/>
                        </a:cubicBezTo>
                        <a:cubicBezTo>
                          <a:pt x="449263" y="550801"/>
                          <a:pt x="585727" y="414337"/>
                          <a:pt x="754063" y="414337"/>
                        </a:cubicBezTo>
                        <a:close/>
                        <a:moveTo>
                          <a:pt x="558554" y="31750"/>
                        </a:moveTo>
                        <a:cubicBezTo>
                          <a:pt x="513583" y="31750"/>
                          <a:pt x="487886" y="42446"/>
                          <a:pt x="464329" y="102340"/>
                        </a:cubicBezTo>
                        <a:cubicBezTo>
                          <a:pt x="464329" y="102340"/>
                          <a:pt x="464329" y="102340"/>
                          <a:pt x="425069" y="194321"/>
                        </a:cubicBezTo>
                        <a:cubicBezTo>
                          <a:pt x="422213" y="198599"/>
                          <a:pt x="417931" y="200738"/>
                          <a:pt x="413648" y="201451"/>
                        </a:cubicBezTo>
                        <a:cubicBezTo>
                          <a:pt x="413648" y="201451"/>
                          <a:pt x="413648" y="201451"/>
                          <a:pt x="303718" y="201451"/>
                        </a:cubicBezTo>
                        <a:cubicBezTo>
                          <a:pt x="255892" y="201451"/>
                          <a:pt x="209493" y="214286"/>
                          <a:pt x="168805" y="237816"/>
                        </a:cubicBezTo>
                        <a:cubicBezTo>
                          <a:pt x="168091" y="237816"/>
                          <a:pt x="166663" y="238529"/>
                          <a:pt x="165950" y="239242"/>
                        </a:cubicBezTo>
                        <a:cubicBezTo>
                          <a:pt x="165236" y="239955"/>
                          <a:pt x="164522" y="239955"/>
                          <a:pt x="163808" y="240668"/>
                        </a:cubicBezTo>
                        <a:cubicBezTo>
                          <a:pt x="123834" y="264911"/>
                          <a:pt x="90284" y="299136"/>
                          <a:pt x="67442" y="339779"/>
                        </a:cubicBezTo>
                        <a:cubicBezTo>
                          <a:pt x="66728" y="340492"/>
                          <a:pt x="66014" y="341205"/>
                          <a:pt x="66014" y="341918"/>
                        </a:cubicBezTo>
                        <a:cubicBezTo>
                          <a:pt x="65300" y="342631"/>
                          <a:pt x="64586" y="343344"/>
                          <a:pt x="64586" y="344770"/>
                        </a:cubicBezTo>
                        <a:cubicBezTo>
                          <a:pt x="43171" y="383987"/>
                          <a:pt x="31750" y="427482"/>
                          <a:pt x="31750" y="473116"/>
                        </a:cubicBezTo>
                        <a:cubicBezTo>
                          <a:pt x="31750" y="473116"/>
                          <a:pt x="31750" y="473116"/>
                          <a:pt x="31750" y="938724"/>
                        </a:cubicBezTo>
                        <a:cubicBezTo>
                          <a:pt x="31750" y="1088460"/>
                          <a:pt x="153815" y="1209675"/>
                          <a:pt x="303718" y="1209675"/>
                        </a:cubicBezTo>
                        <a:cubicBezTo>
                          <a:pt x="303718" y="1209675"/>
                          <a:pt x="303718" y="1209675"/>
                          <a:pt x="1205995" y="1209675"/>
                        </a:cubicBezTo>
                        <a:cubicBezTo>
                          <a:pt x="1355899" y="1209675"/>
                          <a:pt x="1477963" y="1088460"/>
                          <a:pt x="1477963" y="938724"/>
                        </a:cubicBezTo>
                        <a:lnTo>
                          <a:pt x="1477963" y="473116"/>
                        </a:lnTo>
                        <a:cubicBezTo>
                          <a:pt x="1477963" y="427482"/>
                          <a:pt x="1466542" y="383987"/>
                          <a:pt x="1445127" y="344770"/>
                        </a:cubicBezTo>
                        <a:cubicBezTo>
                          <a:pt x="1445127" y="344057"/>
                          <a:pt x="1444413" y="342631"/>
                          <a:pt x="1443700" y="341918"/>
                        </a:cubicBezTo>
                        <a:cubicBezTo>
                          <a:pt x="1443700" y="341205"/>
                          <a:pt x="1442986" y="340492"/>
                          <a:pt x="1442986" y="339779"/>
                        </a:cubicBezTo>
                        <a:cubicBezTo>
                          <a:pt x="1419429" y="299136"/>
                          <a:pt x="1385880" y="264911"/>
                          <a:pt x="1345905" y="240668"/>
                        </a:cubicBezTo>
                        <a:cubicBezTo>
                          <a:pt x="1345191" y="239955"/>
                          <a:pt x="1344478" y="239955"/>
                          <a:pt x="1343764" y="239242"/>
                        </a:cubicBezTo>
                        <a:cubicBezTo>
                          <a:pt x="1343050" y="238529"/>
                          <a:pt x="1341622" y="237816"/>
                          <a:pt x="1340908" y="237816"/>
                        </a:cubicBezTo>
                        <a:cubicBezTo>
                          <a:pt x="1300220" y="214286"/>
                          <a:pt x="1253822" y="201451"/>
                          <a:pt x="1205995" y="201451"/>
                        </a:cubicBezTo>
                        <a:cubicBezTo>
                          <a:pt x="1205995" y="201451"/>
                          <a:pt x="1205995" y="201451"/>
                          <a:pt x="1096066" y="201451"/>
                        </a:cubicBezTo>
                        <a:cubicBezTo>
                          <a:pt x="1091783" y="200738"/>
                          <a:pt x="1087500" y="198599"/>
                          <a:pt x="1084645" y="194321"/>
                        </a:cubicBezTo>
                        <a:cubicBezTo>
                          <a:pt x="1084645" y="194321"/>
                          <a:pt x="1084645" y="194321"/>
                          <a:pt x="1046098" y="102340"/>
                        </a:cubicBezTo>
                        <a:cubicBezTo>
                          <a:pt x="1020400" y="36741"/>
                          <a:pt x="988992" y="31750"/>
                          <a:pt x="951159" y="31750"/>
                        </a:cubicBezTo>
                        <a:cubicBezTo>
                          <a:pt x="951159" y="31750"/>
                          <a:pt x="951159" y="31750"/>
                          <a:pt x="558554" y="31750"/>
                        </a:cubicBezTo>
                        <a:close/>
                        <a:moveTo>
                          <a:pt x="557878" y="0"/>
                        </a:moveTo>
                        <a:cubicBezTo>
                          <a:pt x="557878" y="0"/>
                          <a:pt x="557878" y="0"/>
                          <a:pt x="950247" y="0"/>
                        </a:cubicBezTo>
                        <a:cubicBezTo>
                          <a:pt x="1004466" y="0"/>
                          <a:pt x="1044416" y="14983"/>
                          <a:pt x="1074379" y="90610"/>
                        </a:cubicBezTo>
                        <a:cubicBezTo>
                          <a:pt x="1074379" y="90610"/>
                          <a:pt x="1074379" y="90610"/>
                          <a:pt x="1107908" y="170518"/>
                        </a:cubicBezTo>
                        <a:cubicBezTo>
                          <a:pt x="1107908" y="170518"/>
                          <a:pt x="1107908" y="170518"/>
                          <a:pt x="1204931" y="170518"/>
                        </a:cubicBezTo>
                        <a:cubicBezTo>
                          <a:pt x="1285545" y="170518"/>
                          <a:pt x="1361878" y="201910"/>
                          <a:pt x="1418950" y="259701"/>
                        </a:cubicBezTo>
                        <a:cubicBezTo>
                          <a:pt x="1476736" y="316778"/>
                          <a:pt x="1508125" y="393118"/>
                          <a:pt x="1508125" y="473026"/>
                        </a:cubicBezTo>
                        <a:cubicBezTo>
                          <a:pt x="1508125" y="473026"/>
                          <a:pt x="1508125" y="473026"/>
                          <a:pt x="1508125" y="938917"/>
                        </a:cubicBezTo>
                        <a:cubicBezTo>
                          <a:pt x="1508125" y="1105867"/>
                          <a:pt x="1372579" y="1241425"/>
                          <a:pt x="1204931" y="1241425"/>
                        </a:cubicBezTo>
                        <a:cubicBezTo>
                          <a:pt x="1204931" y="1241425"/>
                          <a:pt x="1204931" y="1241425"/>
                          <a:pt x="303195" y="1241425"/>
                        </a:cubicBezTo>
                        <a:cubicBezTo>
                          <a:pt x="136259" y="1241425"/>
                          <a:pt x="0" y="1105867"/>
                          <a:pt x="0" y="938917"/>
                        </a:cubicBezTo>
                        <a:cubicBezTo>
                          <a:pt x="0" y="938917"/>
                          <a:pt x="0" y="938917"/>
                          <a:pt x="0" y="473026"/>
                        </a:cubicBezTo>
                        <a:cubicBezTo>
                          <a:pt x="0" y="393118"/>
                          <a:pt x="31390" y="316778"/>
                          <a:pt x="89175" y="259701"/>
                        </a:cubicBezTo>
                        <a:cubicBezTo>
                          <a:pt x="146247" y="201910"/>
                          <a:pt x="222581" y="170518"/>
                          <a:pt x="303195" y="170518"/>
                        </a:cubicBezTo>
                        <a:cubicBezTo>
                          <a:pt x="303195" y="170518"/>
                          <a:pt x="303195" y="170518"/>
                          <a:pt x="400217" y="170518"/>
                        </a:cubicBezTo>
                        <a:cubicBezTo>
                          <a:pt x="400217" y="170518"/>
                          <a:pt x="400217" y="170518"/>
                          <a:pt x="434460" y="90610"/>
                        </a:cubicBezTo>
                        <a:cubicBezTo>
                          <a:pt x="464423" y="14983"/>
                          <a:pt x="503660" y="0"/>
                          <a:pt x="557878"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70" name="Freeform 12">
                    <a:extLst>
                      <a:ext uri="{FF2B5EF4-FFF2-40B4-BE49-F238E27FC236}">
                        <a16:creationId xmlns:a16="http://schemas.microsoft.com/office/drawing/2014/main" id="{8083914F-B592-42FA-B6C5-52CF7BB479E4}"/>
                      </a:ext>
                    </a:extLst>
                  </p:cNvPr>
                  <p:cNvSpPr>
                    <a:spLocks noChangeArrowheads="1"/>
                  </p:cNvSpPr>
                  <p:nvPr/>
                </p:nvSpPr>
                <p:spPr bwMode="auto">
                  <a:xfrm>
                    <a:off x="5407025" y="2870200"/>
                    <a:ext cx="1382713" cy="1117601"/>
                  </a:xfrm>
                  <a:custGeom>
                    <a:avLst/>
                    <a:gdLst>
                      <a:gd name="connsiteX0" fmla="*/ 606426 w 1382713"/>
                      <a:gd name="connsiteY0" fmla="*/ 546100 h 1117601"/>
                      <a:gd name="connsiteX1" fmla="*/ 566738 w 1382713"/>
                      <a:gd name="connsiteY1" fmla="*/ 584994 h 1117601"/>
                      <a:gd name="connsiteX2" fmla="*/ 606426 w 1382713"/>
                      <a:gd name="connsiteY2" fmla="*/ 623888 h 1117601"/>
                      <a:gd name="connsiteX3" fmla="*/ 646114 w 1382713"/>
                      <a:gd name="connsiteY3" fmla="*/ 584994 h 1117601"/>
                      <a:gd name="connsiteX4" fmla="*/ 606426 w 1382713"/>
                      <a:gd name="connsiteY4" fmla="*/ 546100 h 1117601"/>
                      <a:gd name="connsiteX5" fmla="*/ 691357 w 1382713"/>
                      <a:gd name="connsiteY5" fmla="*/ 446088 h 1117601"/>
                      <a:gd name="connsiteX6" fmla="*/ 901701 w 1382713"/>
                      <a:gd name="connsiteY6" fmla="*/ 656432 h 1117601"/>
                      <a:gd name="connsiteX7" fmla="*/ 691357 w 1382713"/>
                      <a:gd name="connsiteY7" fmla="*/ 866776 h 1117601"/>
                      <a:gd name="connsiteX8" fmla="*/ 481013 w 1382713"/>
                      <a:gd name="connsiteY8" fmla="*/ 656432 h 1117601"/>
                      <a:gd name="connsiteX9" fmla="*/ 691357 w 1382713"/>
                      <a:gd name="connsiteY9" fmla="*/ 446088 h 1117601"/>
                      <a:gd name="connsiteX10" fmla="*/ 690563 w 1382713"/>
                      <a:gd name="connsiteY10" fmla="*/ 320675 h 1117601"/>
                      <a:gd name="connsiteX11" fmla="*/ 354013 w 1382713"/>
                      <a:gd name="connsiteY11" fmla="*/ 656432 h 1117601"/>
                      <a:gd name="connsiteX12" fmla="*/ 690563 w 1382713"/>
                      <a:gd name="connsiteY12" fmla="*/ 992189 h 1117601"/>
                      <a:gd name="connsiteX13" fmla="*/ 1027113 w 1382713"/>
                      <a:gd name="connsiteY13" fmla="*/ 656432 h 1117601"/>
                      <a:gd name="connsiteX14" fmla="*/ 690563 w 1382713"/>
                      <a:gd name="connsiteY14" fmla="*/ 320675 h 1117601"/>
                      <a:gd name="connsiteX15" fmla="*/ 202407 w 1382713"/>
                      <a:gd name="connsiteY15" fmla="*/ 276225 h 1117601"/>
                      <a:gd name="connsiteX16" fmla="*/ 142875 w 1382713"/>
                      <a:gd name="connsiteY16" fmla="*/ 334963 h 1117601"/>
                      <a:gd name="connsiteX17" fmla="*/ 202407 w 1382713"/>
                      <a:gd name="connsiteY17" fmla="*/ 393701 h 1117601"/>
                      <a:gd name="connsiteX18" fmla="*/ 261939 w 1382713"/>
                      <a:gd name="connsiteY18" fmla="*/ 334963 h 1117601"/>
                      <a:gd name="connsiteX19" fmla="*/ 202407 w 1382713"/>
                      <a:gd name="connsiteY19" fmla="*/ 276225 h 1117601"/>
                      <a:gd name="connsiteX20" fmla="*/ 240441 w 1382713"/>
                      <a:gd name="connsiteY20" fmla="*/ 169863 h 1117601"/>
                      <a:gd name="connsiteX21" fmla="*/ 368866 w 1382713"/>
                      <a:gd name="connsiteY21" fmla="*/ 169863 h 1117601"/>
                      <a:gd name="connsiteX22" fmla="*/ 1013847 w 1382713"/>
                      <a:gd name="connsiteY22" fmla="*/ 169863 h 1117601"/>
                      <a:gd name="connsiteX23" fmla="*/ 1142272 w 1382713"/>
                      <a:gd name="connsiteY23" fmla="*/ 169863 h 1117601"/>
                      <a:gd name="connsiteX24" fmla="*/ 1312079 w 1382713"/>
                      <a:gd name="connsiteY24" fmla="*/ 241337 h 1117601"/>
                      <a:gd name="connsiteX25" fmla="*/ 1382713 w 1382713"/>
                      <a:gd name="connsiteY25" fmla="*/ 410729 h 1117601"/>
                      <a:gd name="connsiteX26" fmla="*/ 1382713 w 1382713"/>
                      <a:gd name="connsiteY26" fmla="*/ 877450 h 1117601"/>
                      <a:gd name="connsiteX27" fmla="*/ 1142272 w 1382713"/>
                      <a:gd name="connsiteY27" fmla="*/ 1117601 h 1117601"/>
                      <a:gd name="connsiteX28" fmla="*/ 240441 w 1382713"/>
                      <a:gd name="connsiteY28" fmla="*/ 1117601 h 1117601"/>
                      <a:gd name="connsiteX29" fmla="*/ 0 w 1382713"/>
                      <a:gd name="connsiteY29" fmla="*/ 877450 h 1117601"/>
                      <a:gd name="connsiteX30" fmla="*/ 0 w 1382713"/>
                      <a:gd name="connsiteY30" fmla="*/ 410729 h 1117601"/>
                      <a:gd name="connsiteX31" fmla="*/ 70634 w 1382713"/>
                      <a:gd name="connsiteY31" fmla="*/ 241337 h 1117601"/>
                      <a:gd name="connsiteX32" fmla="*/ 240441 w 1382713"/>
                      <a:gd name="connsiteY32" fmla="*/ 169863 h 1117601"/>
                      <a:gd name="connsiteX33" fmla="*/ 494956 w 1382713"/>
                      <a:gd name="connsiteY33" fmla="*/ 0 h 1117601"/>
                      <a:gd name="connsiteX34" fmla="*/ 887758 w 1382713"/>
                      <a:gd name="connsiteY34" fmla="*/ 0 h 1117601"/>
                      <a:gd name="connsiteX35" fmla="*/ 953464 w 1382713"/>
                      <a:gd name="connsiteY35" fmla="*/ 51847 h 1117601"/>
                      <a:gd name="connsiteX36" fmla="*/ 954178 w 1382713"/>
                      <a:gd name="connsiteY36" fmla="*/ 51847 h 1117601"/>
                      <a:gd name="connsiteX37" fmla="*/ 990601 w 1382713"/>
                      <a:gd name="connsiteY37" fmla="*/ 139700 h 1117601"/>
                      <a:gd name="connsiteX38" fmla="*/ 392113 w 1382713"/>
                      <a:gd name="connsiteY38" fmla="*/ 139700 h 1117601"/>
                      <a:gd name="connsiteX39" fmla="*/ 429250 w 1382713"/>
                      <a:gd name="connsiteY39" fmla="*/ 52567 h 1117601"/>
                      <a:gd name="connsiteX40" fmla="*/ 429965 w 1382713"/>
                      <a:gd name="connsiteY40" fmla="*/ 51847 h 1117601"/>
                      <a:gd name="connsiteX41" fmla="*/ 494956 w 1382713"/>
                      <a:gd name="connsiteY41" fmla="*/ 0 h 111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82713" h="1117601">
                        <a:moveTo>
                          <a:pt x="606426" y="546100"/>
                        </a:moveTo>
                        <a:cubicBezTo>
                          <a:pt x="584507" y="546100"/>
                          <a:pt x="566738" y="563513"/>
                          <a:pt x="566738" y="584994"/>
                        </a:cubicBezTo>
                        <a:cubicBezTo>
                          <a:pt x="566738" y="606475"/>
                          <a:pt x="584507" y="623888"/>
                          <a:pt x="606426" y="623888"/>
                        </a:cubicBezTo>
                        <a:cubicBezTo>
                          <a:pt x="628345" y="623888"/>
                          <a:pt x="646114" y="606475"/>
                          <a:pt x="646114" y="584994"/>
                        </a:cubicBezTo>
                        <a:cubicBezTo>
                          <a:pt x="646114" y="563513"/>
                          <a:pt x="628345" y="546100"/>
                          <a:pt x="606426" y="546100"/>
                        </a:cubicBezTo>
                        <a:close/>
                        <a:moveTo>
                          <a:pt x="691357" y="446088"/>
                        </a:moveTo>
                        <a:cubicBezTo>
                          <a:pt x="807527" y="446088"/>
                          <a:pt x="901701" y="540262"/>
                          <a:pt x="901701" y="656432"/>
                        </a:cubicBezTo>
                        <a:cubicBezTo>
                          <a:pt x="901701" y="772602"/>
                          <a:pt x="807527" y="866776"/>
                          <a:pt x="691357" y="866776"/>
                        </a:cubicBezTo>
                        <a:cubicBezTo>
                          <a:pt x="575187" y="866776"/>
                          <a:pt x="481013" y="772602"/>
                          <a:pt x="481013" y="656432"/>
                        </a:cubicBezTo>
                        <a:cubicBezTo>
                          <a:pt x="481013" y="540262"/>
                          <a:pt x="575187" y="446088"/>
                          <a:pt x="691357" y="446088"/>
                        </a:cubicBezTo>
                        <a:close/>
                        <a:moveTo>
                          <a:pt x="690563" y="320675"/>
                        </a:moveTo>
                        <a:cubicBezTo>
                          <a:pt x="504692" y="320675"/>
                          <a:pt x="354013" y="470999"/>
                          <a:pt x="354013" y="656432"/>
                        </a:cubicBezTo>
                        <a:cubicBezTo>
                          <a:pt x="354013" y="841865"/>
                          <a:pt x="504692" y="992189"/>
                          <a:pt x="690563" y="992189"/>
                        </a:cubicBezTo>
                        <a:cubicBezTo>
                          <a:pt x="876434" y="992189"/>
                          <a:pt x="1027113" y="841865"/>
                          <a:pt x="1027113" y="656432"/>
                        </a:cubicBezTo>
                        <a:cubicBezTo>
                          <a:pt x="1027113" y="470999"/>
                          <a:pt x="876434" y="320675"/>
                          <a:pt x="690563" y="320675"/>
                        </a:cubicBezTo>
                        <a:close/>
                        <a:moveTo>
                          <a:pt x="202407" y="276225"/>
                        </a:moveTo>
                        <a:cubicBezTo>
                          <a:pt x="169528" y="276225"/>
                          <a:pt x="142875" y="302523"/>
                          <a:pt x="142875" y="334963"/>
                        </a:cubicBezTo>
                        <a:cubicBezTo>
                          <a:pt x="142875" y="367403"/>
                          <a:pt x="169528" y="393701"/>
                          <a:pt x="202407" y="393701"/>
                        </a:cubicBezTo>
                        <a:cubicBezTo>
                          <a:pt x="235286" y="393701"/>
                          <a:pt x="261939" y="367403"/>
                          <a:pt x="261939" y="334963"/>
                        </a:cubicBezTo>
                        <a:cubicBezTo>
                          <a:pt x="261939" y="302523"/>
                          <a:pt x="235286" y="276225"/>
                          <a:pt x="202407" y="276225"/>
                        </a:cubicBezTo>
                        <a:close/>
                        <a:moveTo>
                          <a:pt x="240441" y="169863"/>
                        </a:moveTo>
                        <a:cubicBezTo>
                          <a:pt x="240441" y="169863"/>
                          <a:pt x="240441" y="169863"/>
                          <a:pt x="368866" y="169863"/>
                        </a:cubicBezTo>
                        <a:cubicBezTo>
                          <a:pt x="368866" y="169863"/>
                          <a:pt x="368866" y="169863"/>
                          <a:pt x="1013847" y="169863"/>
                        </a:cubicBezTo>
                        <a:cubicBezTo>
                          <a:pt x="1013847" y="169863"/>
                          <a:pt x="1013847" y="169863"/>
                          <a:pt x="1142272" y="169863"/>
                        </a:cubicBezTo>
                        <a:cubicBezTo>
                          <a:pt x="1206485" y="169863"/>
                          <a:pt x="1266417" y="195594"/>
                          <a:pt x="1312079" y="241337"/>
                        </a:cubicBezTo>
                        <a:cubicBezTo>
                          <a:pt x="1357742" y="287080"/>
                          <a:pt x="1382713" y="347117"/>
                          <a:pt x="1382713" y="410729"/>
                        </a:cubicBezTo>
                        <a:cubicBezTo>
                          <a:pt x="1382713" y="410729"/>
                          <a:pt x="1382713" y="410729"/>
                          <a:pt x="1382713" y="877450"/>
                        </a:cubicBezTo>
                        <a:cubicBezTo>
                          <a:pt x="1382713" y="1009676"/>
                          <a:pt x="1274979" y="1117601"/>
                          <a:pt x="1142272" y="1117601"/>
                        </a:cubicBezTo>
                        <a:cubicBezTo>
                          <a:pt x="1142272" y="1117601"/>
                          <a:pt x="1142272" y="1117601"/>
                          <a:pt x="240441" y="1117601"/>
                        </a:cubicBezTo>
                        <a:cubicBezTo>
                          <a:pt x="107735" y="1117601"/>
                          <a:pt x="0" y="1009676"/>
                          <a:pt x="0" y="877450"/>
                        </a:cubicBezTo>
                        <a:cubicBezTo>
                          <a:pt x="0" y="877450"/>
                          <a:pt x="0" y="877450"/>
                          <a:pt x="0" y="410729"/>
                        </a:cubicBezTo>
                        <a:cubicBezTo>
                          <a:pt x="0" y="347117"/>
                          <a:pt x="24972" y="287080"/>
                          <a:pt x="70634" y="241337"/>
                        </a:cubicBezTo>
                        <a:cubicBezTo>
                          <a:pt x="116297" y="195594"/>
                          <a:pt x="176228" y="169863"/>
                          <a:pt x="240441" y="169863"/>
                        </a:cubicBezTo>
                        <a:close/>
                        <a:moveTo>
                          <a:pt x="494956" y="0"/>
                        </a:moveTo>
                        <a:cubicBezTo>
                          <a:pt x="494956" y="0"/>
                          <a:pt x="494956" y="0"/>
                          <a:pt x="887758" y="0"/>
                        </a:cubicBezTo>
                        <a:cubicBezTo>
                          <a:pt x="916326" y="0"/>
                          <a:pt x="933466" y="0"/>
                          <a:pt x="953464" y="51847"/>
                        </a:cubicBezTo>
                        <a:cubicBezTo>
                          <a:pt x="953464" y="51847"/>
                          <a:pt x="954178" y="51847"/>
                          <a:pt x="954178" y="51847"/>
                        </a:cubicBezTo>
                        <a:lnTo>
                          <a:pt x="990601" y="139700"/>
                        </a:lnTo>
                        <a:cubicBezTo>
                          <a:pt x="990601" y="139700"/>
                          <a:pt x="990601" y="139700"/>
                          <a:pt x="392113" y="139700"/>
                        </a:cubicBezTo>
                        <a:cubicBezTo>
                          <a:pt x="392113" y="139700"/>
                          <a:pt x="392113" y="139700"/>
                          <a:pt x="429250" y="52567"/>
                        </a:cubicBezTo>
                        <a:cubicBezTo>
                          <a:pt x="429250" y="51847"/>
                          <a:pt x="429250" y="51847"/>
                          <a:pt x="429965" y="51847"/>
                        </a:cubicBezTo>
                        <a:cubicBezTo>
                          <a:pt x="449248" y="2160"/>
                          <a:pt x="463531" y="0"/>
                          <a:pt x="494956"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sp>
          <p:nvSpPr>
            <p:cNvPr id="71" name="TextBox 70">
              <a:extLst>
                <a:ext uri="{FF2B5EF4-FFF2-40B4-BE49-F238E27FC236}">
                  <a16:creationId xmlns:a16="http://schemas.microsoft.com/office/drawing/2014/main" id="{34CECEDC-A6A8-4545-A9EE-8182F03090DB}"/>
                </a:ext>
              </a:extLst>
            </p:cNvPr>
            <p:cNvSpPr txBox="1"/>
            <p:nvPr/>
          </p:nvSpPr>
          <p:spPr>
            <a:xfrm>
              <a:off x="5724133" y="3747060"/>
              <a:ext cx="3001740" cy="549381"/>
            </a:xfrm>
            <a:prstGeom prst="rect">
              <a:avLst/>
            </a:prstGeom>
            <a:noFill/>
          </p:spPr>
          <p:txBody>
            <a:bodyPr wrap="square">
              <a:spAutoFit/>
            </a:bodyPr>
            <a:lstStyle/>
            <a:p>
              <a:pPr>
                <a:lnSpc>
                  <a:spcPct val="90000"/>
                </a:lnSpc>
                <a:spcAft>
                  <a:spcPts val="600"/>
                </a:spcAft>
              </a:pPr>
              <a:r>
                <a:rPr lang="de-DE" sz="1100" b="1" dirty="0">
                  <a:solidFill>
                    <a:srgbClr val="0A4E78"/>
                  </a:solidFill>
                  <a:latin typeface="+mj-lt"/>
                </a:rPr>
                <a:t>Beispielhafte Darstellungen </a:t>
              </a:r>
              <a:r>
                <a:rPr lang="de-DE" sz="1100" dirty="0">
                  <a:solidFill>
                    <a:srgbClr val="0A4E78"/>
                  </a:solidFill>
                  <a:latin typeface="+mj-lt"/>
                </a:rPr>
                <a:t>von möglichen Abläufen innerhalb des PCR-Pool-Test-Programms </a:t>
              </a:r>
            </a:p>
          </p:txBody>
        </p:sp>
        <p:grpSp>
          <p:nvGrpSpPr>
            <p:cNvPr id="24" name="Group 23">
              <a:extLst>
                <a:ext uri="{FF2B5EF4-FFF2-40B4-BE49-F238E27FC236}">
                  <a16:creationId xmlns:a16="http://schemas.microsoft.com/office/drawing/2014/main" id="{8E9FEB9E-0045-4CC3-94EE-1D19868FF103}"/>
                </a:ext>
              </a:extLst>
            </p:cNvPr>
            <p:cNvGrpSpPr/>
            <p:nvPr/>
          </p:nvGrpSpPr>
          <p:grpSpPr>
            <a:xfrm>
              <a:off x="5023566" y="3733719"/>
              <a:ext cx="576064" cy="576064"/>
              <a:chOff x="5023566" y="3511382"/>
              <a:chExt cx="576064" cy="576064"/>
            </a:xfrm>
          </p:grpSpPr>
          <p:sp>
            <p:nvSpPr>
              <p:cNvPr id="42" name="Oval 41">
                <a:extLst>
                  <a:ext uri="{FF2B5EF4-FFF2-40B4-BE49-F238E27FC236}">
                    <a16:creationId xmlns:a16="http://schemas.microsoft.com/office/drawing/2014/main" id="{F257D542-2427-41D5-AECC-FA365358A68D}"/>
                  </a:ext>
                </a:extLst>
              </p:cNvPr>
              <p:cNvSpPr/>
              <p:nvPr/>
            </p:nvSpPr>
            <p:spPr bwMode="auto">
              <a:xfrm>
                <a:off x="5023566" y="3511382"/>
                <a:ext cx="576064" cy="576064"/>
              </a:xfrm>
              <a:prstGeom prst="ellipse">
                <a:avLst/>
              </a:prstGeom>
              <a:solidFill>
                <a:srgbClr val="FFFFFF"/>
              </a:solid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100" b="1" kern="0" dirty="0">
                  <a:solidFill>
                    <a:schemeClr val="bg1">
                      <a:lumMod val="50000"/>
                    </a:schemeClr>
                  </a:solidFill>
                  <a:latin typeface="+mn-lt"/>
                  <a:cs typeface="+mn-cs"/>
                </a:endParaRPr>
              </a:p>
            </p:txBody>
          </p:sp>
          <p:grpSp>
            <p:nvGrpSpPr>
              <p:cNvPr id="72" name="Group 71">
                <a:extLst>
                  <a:ext uri="{FF2B5EF4-FFF2-40B4-BE49-F238E27FC236}">
                    <a16:creationId xmlns:a16="http://schemas.microsoft.com/office/drawing/2014/main" id="{96167DC9-6E82-4F42-BED9-B6F8BB4802E8}"/>
                  </a:ext>
                </a:extLst>
              </p:cNvPr>
              <p:cNvGrpSpPr>
                <a:grpSpLocks noChangeAspect="1"/>
              </p:cNvGrpSpPr>
              <p:nvPr/>
            </p:nvGrpSpPr>
            <p:grpSpPr>
              <a:xfrm>
                <a:off x="5074803" y="3562847"/>
                <a:ext cx="473590" cy="473134"/>
                <a:chOff x="6464300" y="2606675"/>
                <a:chExt cx="1646238" cy="1644650"/>
              </a:xfrm>
            </p:grpSpPr>
            <p:sp>
              <p:nvSpPr>
                <p:cNvPr id="73" name="AutoShape 3">
                  <a:extLst>
                    <a:ext uri="{FF2B5EF4-FFF2-40B4-BE49-F238E27FC236}">
                      <a16:creationId xmlns:a16="http://schemas.microsoft.com/office/drawing/2014/main" id="{A3CE28B9-9509-432A-8A1B-82A24C4B2AFE}"/>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74" name="Group 73">
                  <a:extLst>
                    <a:ext uri="{FF2B5EF4-FFF2-40B4-BE49-F238E27FC236}">
                      <a16:creationId xmlns:a16="http://schemas.microsoft.com/office/drawing/2014/main" id="{7A391E9F-2612-4776-B732-D2DA399BE089}"/>
                    </a:ext>
                  </a:extLst>
                </p:cNvPr>
                <p:cNvGrpSpPr/>
                <p:nvPr/>
              </p:nvGrpSpPr>
              <p:grpSpPr>
                <a:xfrm>
                  <a:off x="6634163" y="2962275"/>
                  <a:ext cx="1304925" cy="933450"/>
                  <a:chOff x="6634163" y="2962275"/>
                  <a:chExt cx="1304925" cy="933450"/>
                </a:xfrm>
              </p:grpSpPr>
              <p:sp>
                <p:nvSpPr>
                  <p:cNvPr id="75" name="Freeform 13">
                    <a:extLst>
                      <a:ext uri="{FF2B5EF4-FFF2-40B4-BE49-F238E27FC236}">
                        <a16:creationId xmlns:a16="http://schemas.microsoft.com/office/drawing/2014/main" id="{C8CA5250-FD83-4AAB-8BFA-E4FAEF8BC3E6}"/>
                      </a:ext>
                    </a:extLst>
                  </p:cNvPr>
                  <p:cNvSpPr>
                    <a:spLocks/>
                  </p:cNvSpPr>
                  <p:nvPr/>
                </p:nvSpPr>
                <p:spPr bwMode="auto">
                  <a:xfrm>
                    <a:off x="6634163" y="2962275"/>
                    <a:ext cx="1304925" cy="933450"/>
                  </a:xfrm>
                  <a:custGeom>
                    <a:avLst/>
                    <a:gdLst>
                      <a:gd name="connsiteX0" fmla="*/ 689333 w 1304925"/>
                      <a:gd name="connsiteY0" fmla="*/ 635000 h 933450"/>
                      <a:gd name="connsiteX1" fmla="*/ 723721 w 1304925"/>
                      <a:gd name="connsiteY1" fmla="*/ 645612 h 933450"/>
                      <a:gd name="connsiteX2" fmla="*/ 740199 w 1304925"/>
                      <a:gd name="connsiteY2" fmla="*/ 729801 h 933450"/>
                      <a:gd name="connsiteX3" fmla="*/ 654229 w 1304925"/>
                      <a:gd name="connsiteY3" fmla="*/ 746073 h 933450"/>
                      <a:gd name="connsiteX4" fmla="*/ 638468 w 1304925"/>
                      <a:gd name="connsiteY4" fmla="*/ 661177 h 933450"/>
                      <a:gd name="connsiteX5" fmla="*/ 689333 w 1304925"/>
                      <a:gd name="connsiteY5" fmla="*/ 635000 h 933450"/>
                      <a:gd name="connsiteX6" fmla="*/ 1083033 w 1304925"/>
                      <a:gd name="connsiteY6" fmla="*/ 274638 h 933450"/>
                      <a:gd name="connsiteX7" fmla="*/ 1117421 w 1304925"/>
                      <a:gd name="connsiteY7" fmla="*/ 285380 h 933450"/>
                      <a:gd name="connsiteX8" fmla="*/ 1133899 w 1304925"/>
                      <a:gd name="connsiteY8" fmla="*/ 370596 h 933450"/>
                      <a:gd name="connsiteX9" fmla="*/ 1047929 w 1304925"/>
                      <a:gd name="connsiteY9" fmla="*/ 387066 h 933450"/>
                      <a:gd name="connsiteX10" fmla="*/ 1032168 w 1304925"/>
                      <a:gd name="connsiteY10" fmla="*/ 301134 h 933450"/>
                      <a:gd name="connsiteX11" fmla="*/ 1083033 w 1304925"/>
                      <a:gd name="connsiteY11" fmla="*/ 274638 h 933450"/>
                      <a:gd name="connsiteX12" fmla="*/ 368300 w 1304925"/>
                      <a:gd name="connsiteY12" fmla="*/ 180975 h 933450"/>
                      <a:gd name="connsiteX13" fmla="*/ 430213 w 1304925"/>
                      <a:gd name="connsiteY13" fmla="*/ 242094 h 933450"/>
                      <a:gd name="connsiteX14" fmla="*/ 368300 w 1304925"/>
                      <a:gd name="connsiteY14" fmla="*/ 303213 h 933450"/>
                      <a:gd name="connsiteX15" fmla="*/ 306387 w 1304925"/>
                      <a:gd name="connsiteY15" fmla="*/ 242094 h 933450"/>
                      <a:gd name="connsiteX16" fmla="*/ 368300 w 1304925"/>
                      <a:gd name="connsiteY16" fmla="*/ 180975 h 933450"/>
                      <a:gd name="connsiteX17" fmla="*/ 30162 w 1304925"/>
                      <a:gd name="connsiteY17" fmla="*/ 31750 h 933450"/>
                      <a:gd name="connsiteX18" fmla="*/ 30162 w 1304925"/>
                      <a:gd name="connsiteY18" fmla="*/ 901700 h 933450"/>
                      <a:gd name="connsiteX19" fmla="*/ 1274762 w 1304925"/>
                      <a:gd name="connsiteY19" fmla="*/ 901700 h 933450"/>
                      <a:gd name="connsiteX20" fmla="*/ 1274762 w 1304925"/>
                      <a:gd name="connsiteY20" fmla="*/ 31750 h 933450"/>
                      <a:gd name="connsiteX21" fmla="*/ 30162 w 1304925"/>
                      <a:gd name="connsiteY21" fmla="*/ 31750 h 933450"/>
                      <a:gd name="connsiteX22" fmla="*/ 15705 w 1304925"/>
                      <a:gd name="connsiteY22" fmla="*/ 0 h 933450"/>
                      <a:gd name="connsiteX23" fmla="*/ 1289220 w 1304925"/>
                      <a:gd name="connsiteY23" fmla="*/ 0 h 933450"/>
                      <a:gd name="connsiteX24" fmla="*/ 1304925 w 1304925"/>
                      <a:gd name="connsiteY24" fmla="*/ 15724 h 933450"/>
                      <a:gd name="connsiteX25" fmla="*/ 1304925 w 1304925"/>
                      <a:gd name="connsiteY25" fmla="*/ 917726 h 933450"/>
                      <a:gd name="connsiteX26" fmla="*/ 1289220 w 1304925"/>
                      <a:gd name="connsiteY26" fmla="*/ 933450 h 933450"/>
                      <a:gd name="connsiteX27" fmla="*/ 15705 w 1304925"/>
                      <a:gd name="connsiteY27" fmla="*/ 933450 h 933450"/>
                      <a:gd name="connsiteX28" fmla="*/ 0 w 1304925"/>
                      <a:gd name="connsiteY28" fmla="*/ 917726 h 933450"/>
                      <a:gd name="connsiteX29" fmla="*/ 0 w 1304925"/>
                      <a:gd name="connsiteY29" fmla="*/ 15724 h 933450"/>
                      <a:gd name="connsiteX30" fmla="*/ 15705 w 1304925"/>
                      <a:gd name="connsiteY30" fmla="*/ 0 h 93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04925" h="933450">
                        <a:moveTo>
                          <a:pt x="689333" y="635000"/>
                        </a:moveTo>
                        <a:cubicBezTo>
                          <a:pt x="701512" y="635000"/>
                          <a:pt x="712975" y="638537"/>
                          <a:pt x="723721" y="645612"/>
                        </a:cubicBezTo>
                        <a:cubicBezTo>
                          <a:pt x="751661" y="664007"/>
                          <a:pt x="758825" y="702210"/>
                          <a:pt x="740199" y="729801"/>
                        </a:cubicBezTo>
                        <a:cubicBezTo>
                          <a:pt x="720856" y="757393"/>
                          <a:pt x="682169" y="765175"/>
                          <a:pt x="654229" y="746073"/>
                        </a:cubicBezTo>
                        <a:cubicBezTo>
                          <a:pt x="626289" y="726972"/>
                          <a:pt x="619125" y="688768"/>
                          <a:pt x="638468" y="661177"/>
                        </a:cubicBezTo>
                        <a:cubicBezTo>
                          <a:pt x="649931" y="644197"/>
                          <a:pt x="669274" y="635000"/>
                          <a:pt x="689333" y="635000"/>
                        </a:cubicBezTo>
                        <a:close/>
                        <a:moveTo>
                          <a:pt x="1083033" y="274638"/>
                        </a:moveTo>
                        <a:cubicBezTo>
                          <a:pt x="1095212" y="274638"/>
                          <a:pt x="1106675" y="278219"/>
                          <a:pt x="1117421" y="285380"/>
                        </a:cubicBezTo>
                        <a:cubicBezTo>
                          <a:pt x="1145361" y="303998"/>
                          <a:pt x="1152525" y="342668"/>
                          <a:pt x="1133899" y="370596"/>
                        </a:cubicBezTo>
                        <a:cubicBezTo>
                          <a:pt x="1114556" y="398524"/>
                          <a:pt x="1075869" y="406401"/>
                          <a:pt x="1047929" y="387066"/>
                        </a:cubicBezTo>
                        <a:cubicBezTo>
                          <a:pt x="1019989" y="367732"/>
                          <a:pt x="1012825" y="329062"/>
                          <a:pt x="1032168" y="301134"/>
                        </a:cubicBezTo>
                        <a:cubicBezTo>
                          <a:pt x="1043631" y="283947"/>
                          <a:pt x="1062974" y="274638"/>
                          <a:pt x="1083033" y="274638"/>
                        </a:cubicBezTo>
                        <a:close/>
                        <a:moveTo>
                          <a:pt x="368300" y="180975"/>
                        </a:moveTo>
                        <a:cubicBezTo>
                          <a:pt x="402494" y="180975"/>
                          <a:pt x="430213" y="208339"/>
                          <a:pt x="430213" y="242094"/>
                        </a:cubicBezTo>
                        <a:cubicBezTo>
                          <a:pt x="430213" y="275849"/>
                          <a:pt x="402494" y="303213"/>
                          <a:pt x="368300" y="303213"/>
                        </a:cubicBezTo>
                        <a:cubicBezTo>
                          <a:pt x="334106" y="303213"/>
                          <a:pt x="306387" y="275849"/>
                          <a:pt x="306387" y="242094"/>
                        </a:cubicBezTo>
                        <a:cubicBezTo>
                          <a:pt x="306387" y="208339"/>
                          <a:pt x="334106" y="180975"/>
                          <a:pt x="368300" y="180975"/>
                        </a:cubicBezTo>
                        <a:close/>
                        <a:moveTo>
                          <a:pt x="30162" y="31750"/>
                        </a:moveTo>
                        <a:cubicBezTo>
                          <a:pt x="30162" y="31750"/>
                          <a:pt x="30162" y="31750"/>
                          <a:pt x="30162" y="901700"/>
                        </a:cubicBezTo>
                        <a:cubicBezTo>
                          <a:pt x="30162" y="901700"/>
                          <a:pt x="30162" y="901700"/>
                          <a:pt x="1274762" y="901700"/>
                        </a:cubicBezTo>
                        <a:cubicBezTo>
                          <a:pt x="1274762" y="901700"/>
                          <a:pt x="1274762" y="901700"/>
                          <a:pt x="1274762" y="31750"/>
                        </a:cubicBezTo>
                        <a:cubicBezTo>
                          <a:pt x="1274762" y="31750"/>
                          <a:pt x="1274762" y="31750"/>
                          <a:pt x="30162" y="31750"/>
                        </a:cubicBezTo>
                        <a:close/>
                        <a:moveTo>
                          <a:pt x="15705" y="0"/>
                        </a:moveTo>
                        <a:cubicBezTo>
                          <a:pt x="15705" y="0"/>
                          <a:pt x="15705" y="0"/>
                          <a:pt x="1289220" y="0"/>
                        </a:cubicBezTo>
                        <a:cubicBezTo>
                          <a:pt x="1297787" y="0"/>
                          <a:pt x="1304925" y="6433"/>
                          <a:pt x="1304925" y="15724"/>
                        </a:cubicBezTo>
                        <a:cubicBezTo>
                          <a:pt x="1304925" y="15724"/>
                          <a:pt x="1304925" y="15724"/>
                          <a:pt x="1304925" y="917726"/>
                        </a:cubicBezTo>
                        <a:cubicBezTo>
                          <a:pt x="1304925" y="927017"/>
                          <a:pt x="1297787" y="933450"/>
                          <a:pt x="1289220" y="933450"/>
                        </a:cubicBezTo>
                        <a:cubicBezTo>
                          <a:pt x="1289220" y="933450"/>
                          <a:pt x="1289220" y="933450"/>
                          <a:pt x="15705" y="933450"/>
                        </a:cubicBezTo>
                        <a:cubicBezTo>
                          <a:pt x="7139" y="933450"/>
                          <a:pt x="0" y="927017"/>
                          <a:pt x="0" y="917726"/>
                        </a:cubicBezTo>
                        <a:cubicBezTo>
                          <a:pt x="0" y="917726"/>
                          <a:pt x="0" y="917726"/>
                          <a:pt x="0" y="15724"/>
                        </a:cubicBezTo>
                        <a:cubicBezTo>
                          <a:pt x="0" y="6433"/>
                          <a:pt x="7139" y="0"/>
                          <a:pt x="15705" y="0"/>
                        </a:cubicBezTo>
                        <a:close/>
                      </a:path>
                    </a:pathLst>
                  </a:custGeom>
                  <a:solidFill>
                    <a:srgbClr val="003B59"/>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76" name="Freeform 14">
                    <a:extLst>
                      <a:ext uri="{FF2B5EF4-FFF2-40B4-BE49-F238E27FC236}">
                        <a16:creationId xmlns:a16="http://schemas.microsoft.com/office/drawing/2014/main" id="{13EFF33E-D37B-4CB4-A4A1-540102BD9D5F}"/>
                      </a:ext>
                    </a:extLst>
                  </p:cNvPr>
                  <p:cNvSpPr>
                    <a:spLocks noChangeArrowheads="1"/>
                  </p:cNvSpPr>
                  <p:nvPr/>
                </p:nvSpPr>
                <p:spPr bwMode="auto">
                  <a:xfrm>
                    <a:off x="6696075" y="3025775"/>
                    <a:ext cx="1181100" cy="806450"/>
                  </a:xfrm>
                  <a:custGeom>
                    <a:avLst/>
                    <a:gdLst>
                      <a:gd name="connsiteX0" fmla="*/ 83732 w 1181100"/>
                      <a:gd name="connsiteY0" fmla="*/ 401488 h 806450"/>
                      <a:gd name="connsiteX1" fmla="*/ 72361 w 1181100"/>
                      <a:gd name="connsiteY1" fmla="*/ 405803 h 806450"/>
                      <a:gd name="connsiteX2" fmla="*/ 72361 w 1181100"/>
                      <a:gd name="connsiteY2" fmla="*/ 428812 h 806450"/>
                      <a:gd name="connsiteX3" fmla="*/ 105763 w 1181100"/>
                      <a:gd name="connsiteY3" fmla="*/ 461888 h 806450"/>
                      <a:gd name="connsiteX4" fmla="*/ 72361 w 1181100"/>
                      <a:gd name="connsiteY4" fmla="*/ 494964 h 806450"/>
                      <a:gd name="connsiteX5" fmla="*/ 72361 w 1181100"/>
                      <a:gd name="connsiteY5" fmla="*/ 517974 h 806450"/>
                      <a:gd name="connsiteX6" fmla="*/ 83732 w 1181100"/>
                      <a:gd name="connsiteY6" fmla="*/ 522288 h 806450"/>
                      <a:gd name="connsiteX7" fmla="*/ 95103 w 1181100"/>
                      <a:gd name="connsiteY7" fmla="*/ 517974 h 806450"/>
                      <a:gd name="connsiteX8" fmla="*/ 127794 w 1181100"/>
                      <a:gd name="connsiteY8" fmla="*/ 484179 h 806450"/>
                      <a:gd name="connsiteX9" fmla="*/ 160486 w 1181100"/>
                      <a:gd name="connsiteY9" fmla="*/ 517974 h 806450"/>
                      <a:gd name="connsiteX10" fmla="*/ 171857 w 1181100"/>
                      <a:gd name="connsiteY10" fmla="*/ 522288 h 806450"/>
                      <a:gd name="connsiteX11" fmla="*/ 183228 w 1181100"/>
                      <a:gd name="connsiteY11" fmla="*/ 517974 h 806450"/>
                      <a:gd name="connsiteX12" fmla="*/ 183228 w 1181100"/>
                      <a:gd name="connsiteY12" fmla="*/ 494964 h 806450"/>
                      <a:gd name="connsiteX13" fmla="*/ 149826 w 1181100"/>
                      <a:gd name="connsiteY13" fmla="*/ 461888 h 806450"/>
                      <a:gd name="connsiteX14" fmla="*/ 183228 w 1181100"/>
                      <a:gd name="connsiteY14" fmla="*/ 428812 h 806450"/>
                      <a:gd name="connsiteX15" fmla="*/ 183228 w 1181100"/>
                      <a:gd name="connsiteY15" fmla="*/ 405803 h 806450"/>
                      <a:gd name="connsiteX16" fmla="*/ 171857 w 1181100"/>
                      <a:gd name="connsiteY16" fmla="*/ 401488 h 806450"/>
                      <a:gd name="connsiteX17" fmla="*/ 160486 w 1181100"/>
                      <a:gd name="connsiteY17" fmla="*/ 405803 h 806450"/>
                      <a:gd name="connsiteX18" fmla="*/ 127794 w 1181100"/>
                      <a:gd name="connsiteY18" fmla="*/ 439598 h 806450"/>
                      <a:gd name="connsiteX19" fmla="*/ 95103 w 1181100"/>
                      <a:gd name="connsiteY19" fmla="*/ 405803 h 806450"/>
                      <a:gd name="connsiteX20" fmla="*/ 83732 w 1181100"/>
                      <a:gd name="connsiteY20" fmla="*/ 401488 h 806450"/>
                      <a:gd name="connsiteX21" fmla="*/ 1002874 w 1181100"/>
                      <a:gd name="connsiteY21" fmla="*/ 182462 h 806450"/>
                      <a:gd name="connsiteX22" fmla="*/ 942998 w 1181100"/>
                      <a:gd name="connsiteY22" fmla="*/ 221097 h 806450"/>
                      <a:gd name="connsiteX23" fmla="*/ 967306 w 1181100"/>
                      <a:gd name="connsiteY23" fmla="*/ 350296 h 806450"/>
                      <a:gd name="connsiteX24" fmla="*/ 1020211 w 1181100"/>
                      <a:gd name="connsiteY24" fmla="*/ 366713 h 806450"/>
                      <a:gd name="connsiteX25" fmla="*/ 1096710 w 1181100"/>
                      <a:gd name="connsiteY25" fmla="*/ 326026 h 806450"/>
                      <a:gd name="connsiteX26" fmla="*/ 1111009 w 1181100"/>
                      <a:gd name="connsiteY26" fmla="*/ 256787 h 806450"/>
                      <a:gd name="connsiteX27" fmla="*/ 1072402 w 1181100"/>
                      <a:gd name="connsiteY27" fmla="*/ 196827 h 806450"/>
                      <a:gd name="connsiteX28" fmla="*/ 1002874 w 1181100"/>
                      <a:gd name="connsiteY28" fmla="*/ 182462 h 806450"/>
                      <a:gd name="connsiteX29" fmla="*/ 824460 w 1181100"/>
                      <a:gd name="connsiteY29" fmla="*/ 181262 h 806450"/>
                      <a:gd name="connsiteX30" fmla="*/ 813653 w 1181100"/>
                      <a:gd name="connsiteY30" fmla="*/ 186527 h 806450"/>
                      <a:gd name="connsiteX31" fmla="*/ 815082 w 1181100"/>
                      <a:gd name="connsiteY31" fmla="*/ 208656 h 806450"/>
                      <a:gd name="connsiteX32" fmla="*/ 857239 w 1181100"/>
                      <a:gd name="connsiteY32" fmla="*/ 246491 h 806450"/>
                      <a:gd name="connsiteX33" fmla="*/ 637881 w 1181100"/>
                      <a:gd name="connsiteY33" fmla="*/ 350714 h 806450"/>
                      <a:gd name="connsiteX34" fmla="*/ 590723 w 1181100"/>
                      <a:gd name="connsiteY34" fmla="*/ 547024 h 806450"/>
                      <a:gd name="connsiteX35" fmla="*/ 549281 w 1181100"/>
                      <a:gd name="connsiteY35" fmla="*/ 579861 h 806450"/>
                      <a:gd name="connsiteX36" fmla="*/ 573575 w 1181100"/>
                      <a:gd name="connsiteY36" fmla="*/ 709069 h 806450"/>
                      <a:gd name="connsiteX37" fmla="*/ 626449 w 1181100"/>
                      <a:gd name="connsiteY37" fmla="*/ 725488 h 806450"/>
                      <a:gd name="connsiteX38" fmla="*/ 702903 w 1181100"/>
                      <a:gd name="connsiteY38" fmla="*/ 684798 h 806450"/>
                      <a:gd name="connsiteX39" fmla="*/ 717193 w 1181100"/>
                      <a:gd name="connsiteY39" fmla="*/ 615554 h 806450"/>
                      <a:gd name="connsiteX40" fmla="*/ 678609 w 1181100"/>
                      <a:gd name="connsiteY40" fmla="*/ 555590 h 806450"/>
                      <a:gd name="connsiteX41" fmla="*/ 622162 w 1181100"/>
                      <a:gd name="connsiteY41" fmla="*/ 539886 h 806450"/>
                      <a:gd name="connsiteX42" fmla="*/ 662890 w 1181100"/>
                      <a:gd name="connsiteY42" fmla="*/ 369988 h 806450"/>
                      <a:gd name="connsiteX43" fmla="*/ 864384 w 1181100"/>
                      <a:gd name="connsiteY43" fmla="*/ 277186 h 806450"/>
                      <a:gd name="connsiteX44" fmla="*/ 821513 w 1181100"/>
                      <a:gd name="connsiteY44" fmla="*/ 325729 h 806450"/>
                      <a:gd name="connsiteX45" fmla="*/ 822942 w 1181100"/>
                      <a:gd name="connsiteY45" fmla="*/ 347858 h 806450"/>
                      <a:gd name="connsiteX46" fmla="*/ 833660 w 1181100"/>
                      <a:gd name="connsiteY46" fmla="*/ 352141 h 806450"/>
                      <a:gd name="connsiteX47" fmla="*/ 845092 w 1181100"/>
                      <a:gd name="connsiteY47" fmla="*/ 346430 h 806450"/>
                      <a:gd name="connsiteX48" fmla="*/ 910113 w 1181100"/>
                      <a:gd name="connsiteY48" fmla="*/ 272903 h 806450"/>
                      <a:gd name="connsiteX49" fmla="*/ 914400 w 1181100"/>
                      <a:gd name="connsiteY49" fmla="*/ 261482 h 806450"/>
                      <a:gd name="connsiteX50" fmla="*/ 909399 w 1181100"/>
                      <a:gd name="connsiteY50" fmla="*/ 250774 h 806450"/>
                      <a:gd name="connsiteX51" fmla="*/ 835803 w 1181100"/>
                      <a:gd name="connsiteY51" fmla="*/ 185099 h 806450"/>
                      <a:gd name="connsiteX52" fmla="*/ 824460 w 1181100"/>
                      <a:gd name="connsiteY52" fmla="*/ 181262 h 806450"/>
                      <a:gd name="connsiteX53" fmla="*/ 306100 w 1181100"/>
                      <a:gd name="connsiteY53" fmla="*/ 85725 h 806450"/>
                      <a:gd name="connsiteX54" fmla="*/ 212725 w 1181100"/>
                      <a:gd name="connsiteY54" fmla="*/ 178632 h 806450"/>
                      <a:gd name="connsiteX55" fmla="*/ 306100 w 1181100"/>
                      <a:gd name="connsiteY55" fmla="*/ 271539 h 806450"/>
                      <a:gd name="connsiteX56" fmla="*/ 362124 w 1181100"/>
                      <a:gd name="connsiteY56" fmla="*/ 252957 h 806450"/>
                      <a:gd name="connsiteX57" fmla="*/ 424613 w 1181100"/>
                      <a:gd name="connsiteY57" fmla="*/ 416616 h 806450"/>
                      <a:gd name="connsiteX58" fmla="*/ 309691 w 1181100"/>
                      <a:gd name="connsiteY58" fmla="*/ 606718 h 806450"/>
                      <a:gd name="connsiteX59" fmla="*/ 317592 w 1181100"/>
                      <a:gd name="connsiteY59" fmla="*/ 542398 h 806450"/>
                      <a:gd name="connsiteX60" fmla="*/ 303945 w 1181100"/>
                      <a:gd name="connsiteY60" fmla="*/ 525246 h 806450"/>
                      <a:gd name="connsiteX61" fmla="*/ 286707 w 1181100"/>
                      <a:gd name="connsiteY61" fmla="*/ 538110 h 806450"/>
                      <a:gd name="connsiteX62" fmla="*/ 273778 w 1181100"/>
                      <a:gd name="connsiteY62" fmla="*/ 636734 h 806450"/>
                      <a:gd name="connsiteX63" fmla="*/ 287425 w 1181100"/>
                      <a:gd name="connsiteY63" fmla="*/ 653886 h 806450"/>
                      <a:gd name="connsiteX64" fmla="*/ 385827 w 1181100"/>
                      <a:gd name="connsiteY64" fmla="*/ 666750 h 806450"/>
                      <a:gd name="connsiteX65" fmla="*/ 387982 w 1181100"/>
                      <a:gd name="connsiteY65" fmla="*/ 666750 h 806450"/>
                      <a:gd name="connsiteX66" fmla="*/ 403784 w 1181100"/>
                      <a:gd name="connsiteY66" fmla="*/ 653171 h 806450"/>
                      <a:gd name="connsiteX67" fmla="*/ 390137 w 1181100"/>
                      <a:gd name="connsiteY67" fmla="*/ 636019 h 806450"/>
                      <a:gd name="connsiteX68" fmla="*/ 332676 w 1181100"/>
                      <a:gd name="connsiteY68" fmla="*/ 628158 h 806450"/>
                      <a:gd name="connsiteX69" fmla="*/ 456217 w 1181100"/>
                      <a:gd name="connsiteY69" fmla="*/ 418046 h 806450"/>
                      <a:gd name="connsiteX70" fmla="*/ 383672 w 1181100"/>
                      <a:gd name="connsiteY70" fmla="*/ 230088 h 806450"/>
                      <a:gd name="connsiteX71" fmla="*/ 399474 w 1181100"/>
                      <a:gd name="connsiteY71" fmla="*/ 178632 h 806450"/>
                      <a:gd name="connsiteX72" fmla="*/ 306100 w 1181100"/>
                      <a:gd name="connsiteY72" fmla="*/ 85725 h 806450"/>
                      <a:gd name="connsiteX73" fmla="*/ 591953 w 1181100"/>
                      <a:gd name="connsiteY73" fmla="*/ 80795 h 806450"/>
                      <a:gd name="connsiteX74" fmla="*/ 580435 w 1181100"/>
                      <a:gd name="connsiteY74" fmla="*/ 85053 h 806450"/>
                      <a:gd name="connsiteX75" fmla="*/ 580435 w 1181100"/>
                      <a:gd name="connsiteY75" fmla="*/ 107763 h 806450"/>
                      <a:gd name="connsiteX76" fmla="*/ 614270 w 1181100"/>
                      <a:gd name="connsiteY76" fmla="*/ 140410 h 806450"/>
                      <a:gd name="connsiteX77" fmla="*/ 580435 w 1181100"/>
                      <a:gd name="connsiteY77" fmla="*/ 173056 h 806450"/>
                      <a:gd name="connsiteX78" fmla="*/ 580435 w 1181100"/>
                      <a:gd name="connsiteY78" fmla="*/ 195767 h 806450"/>
                      <a:gd name="connsiteX79" fmla="*/ 591953 w 1181100"/>
                      <a:gd name="connsiteY79" fmla="*/ 200025 h 806450"/>
                      <a:gd name="connsiteX80" fmla="*/ 603472 w 1181100"/>
                      <a:gd name="connsiteY80" fmla="*/ 195767 h 806450"/>
                      <a:gd name="connsiteX81" fmla="*/ 636588 w 1181100"/>
                      <a:gd name="connsiteY81" fmla="*/ 162411 h 806450"/>
                      <a:gd name="connsiteX82" fmla="*/ 669704 w 1181100"/>
                      <a:gd name="connsiteY82" fmla="*/ 195767 h 806450"/>
                      <a:gd name="connsiteX83" fmla="*/ 681222 w 1181100"/>
                      <a:gd name="connsiteY83" fmla="*/ 200025 h 806450"/>
                      <a:gd name="connsiteX84" fmla="*/ 692741 w 1181100"/>
                      <a:gd name="connsiteY84" fmla="*/ 195767 h 806450"/>
                      <a:gd name="connsiteX85" fmla="*/ 692741 w 1181100"/>
                      <a:gd name="connsiteY85" fmla="*/ 173056 h 806450"/>
                      <a:gd name="connsiteX86" fmla="*/ 658905 w 1181100"/>
                      <a:gd name="connsiteY86" fmla="*/ 140410 h 806450"/>
                      <a:gd name="connsiteX87" fmla="*/ 692741 w 1181100"/>
                      <a:gd name="connsiteY87" fmla="*/ 107763 h 806450"/>
                      <a:gd name="connsiteX88" fmla="*/ 692741 w 1181100"/>
                      <a:gd name="connsiteY88" fmla="*/ 85053 h 806450"/>
                      <a:gd name="connsiteX89" fmla="*/ 681222 w 1181100"/>
                      <a:gd name="connsiteY89" fmla="*/ 80795 h 806450"/>
                      <a:gd name="connsiteX90" fmla="*/ 669704 w 1181100"/>
                      <a:gd name="connsiteY90" fmla="*/ 85053 h 806450"/>
                      <a:gd name="connsiteX91" fmla="*/ 636588 w 1181100"/>
                      <a:gd name="connsiteY91" fmla="*/ 118409 h 806450"/>
                      <a:gd name="connsiteX92" fmla="*/ 603472 w 1181100"/>
                      <a:gd name="connsiteY92" fmla="*/ 85053 h 806450"/>
                      <a:gd name="connsiteX93" fmla="*/ 591953 w 1181100"/>
                      <a:gd name="connsiteY93" fmla="*/ 80795 h 806450"/>
                      <a:gd name="connsiteX94" fmla="*/ 0 w 1181100"/>
                      <a:gd name="connsiteY94" fmla="*/ 0 h 806450"/>
                      <a:gd name="connsiteX95" fmla="*/ 1181100 w 1181100"/>
                      <a:gd name="connsiteY95" fmla="*/ 0 h 806450"/>
                      <a:gd name="connsiteX96" fmla="*/ 1181100 w 1181100"/>
                      <a:gd name="connsiteY96" fmla="*/ 806450 h 806450"/>
                      <a:gd name="connsiteX97" fmla="*/ 0 w 1181100"/>
                      <a:gd name="connsiteY97" fmla="*/ 80645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181100" h="806450">
                        <a:moveTo>
                          <a:pt x="83732" y="401488"/>
                        </a:moveTo>
                        <a:cubicBezTo>
                          <a:pt x="79645" y="401488"/>
                          <a:pt x="75559" y="402926"/>
                          <a:pt x="72361" y="405803"/>
                        </a:cubicBezTo>
                        <a:cubicBezTo>
                          <a:pt x="66675" y="412274"/>
                          <a:pt x="66675" y="422341"/>
                          <a:pt x="72361" y="428812"/>
                        </a:cubicBezTo>
                        <a:cubicBezTo>
                          <a:pt x="72361" y="428812"/>
                          <a:pt x="72361" y="428812"/>
                          <a:pt x="105763" y="461888"/>
                        </a:cubicBezTo>
                        <a:cubicBezTo>
                          <a:pt x="105763" y="461888"/>
                          <a:pt x="105763" y="461888"/>
                          <a:pt x="72361" y="494964"/>
                        </a:cubicBezTo>
                        <a:cubicBezTo>
                          <a:pt x="66675" y="501436"/>
                          <a:pt x="66675" y="511502"/>
                          <a:pt x="72361" y="517974"/>
                        </a:cubicBezTo>
                        <a:cubicBezTo>
                          <a:pt x="75914" y="520850"/>
                          <a:pt x="79468" y="522288"/>
                          <a:pt x="83732" y="522288"/>
                        </a:cubicBezTo>
                        <a:cubicBezTo>
                          <a:pt x="87996" y="522288"/>
                          <a:pt x="91549" y="520850"/>
                          <a:pt x="95103" y="517974"/>
                        </a:cubicBezTo>
                        <a:cubicBezTo>
                          <a:pt x="95103" y="517974"/>
                          <a:pt x="95103" y="517974"/>
                          <a:pt x="127794" y="484179"/>
                        </a:cubicBezTo>
                        <a:cubicBezTo>
                          <a:pt x="127794" y="484179"/>
                          <a:pt x="127794" y="484179"/>
                          <a:pt x="160486" y="517974"/>
                        </a:cubicBezTo>
                        <a:cubicBezTo>
                          <a:pt x="164039" y="520850"/>
                          <a:pt x="167593" y="522288"/>
                          <a:pt x="171857" y="522288"/>
                        </a:cubicBezTo>
                        <a:cubicBezTo>
                          <a:pt x="176121" y="522288"/>
                          <a:pt x="179674" y="520850"/>
                          <a:pt x="183228" y="517974"/>
                        </a:cubicBezTo>
                        <a:cubicBezTo>
                          <a:pt x="188913" y="511502"/>
                          <a:pt x="188913" y="501436"/>
                          <a:pt x="183228" y="494964"/>
                        </a:cubicBezTo>
                        <a:lnTo>
                          <a:pt x="149826" y="461888"/>
                        </a:lnTo>
                        <a:cubicBezTo>
                          <a:pt x="149826" y="461888"/>
                          <a:pt x="149826" y="461888"/>
                          <a:pt x="183228" y="428812"/>
                        </a:cubicBezTo>
                        <a:cubicBezTo>
                          <a:pt x="188913" y="422341"/>
                          <a:pt x="188913" y="412274"/>
                          <a:pt x="183228" y="405803"/>
                        </a:cubicBezTo>
                        <a:cubicBezTo>
                          <a:pt x="180030" y="402926"/>
                          <a:pt x="175943" y="401488"/>
                          <a:pt x="171857" y="401488"/>
                        </a:cubicBezTo>
                        <a:cubicBezTo>
                          <a:pt x="167770" y="401488"/>
                          <a:pt x="163684" y="402926"/>
                          <a:pt x="160486" y="405803"/>
                        </a:cubicBezTo>
                        <a:cubicBezTo>
                          <a:pt x="160486" y="405803"/>
                          <a:pt x="160486" y="405803"/>
                          <a:pt x="127794" y="439598"/>
                        </a:cubicBezTo>
                        <a:cubicBezTo>
                          <a:pt x="127794" y="439598"/>
                          <a:pt x="127794" y="439598"/>
                          <a:pt x="95103" y="405803"/>
                        </a:cubicBezTo>
                        <a:cubicBezTo>
                          <a:pt x="91905" y="402926"/>
                          <a:pt x="87818" y="401488"/>
                          <a:pt x="83732" y="401488"/>
                        </a:cubicBezTo>
                        <a:close/>
                        <a:moveTo>
                          <a:pt x="1002874" y="182462"/>
                        </a:moveTo>
                        <a:cubicBezTo>
                          <a:pt x="979460" y="186834"/>
                          <a:pt x="957654" y="200039"/>
                          <a:pt x="942998" y="221097"/>
                        </a:cubicBezTo>
                        <a:cubicBezTo>
                          <a:pt x="914400" y="263925"/>
                          <a:pt x="925124" y="321743"/>
                          <a:pt x="967306" y="350296"/>
                        </a:cubicBezTo>
                        <a:cubicBezTo>
                          <a:pt x="983749" y="361003"/>
                          <a:pt x="1001623" y="366713"/>
                          <a:pt x="1020211" y="366713"/>
                        </a:cubicBezTo>
                        <a:cubicBezTo>
                          <a:pt x="1049524" y="366713"/>
                          <a:pt x="1078836" y="352437"/>
                          <a:pt x="1096710" y="326026"/>
                        </a:cubicBezTo>
                        <a:cubicBezTo>
                          <a:pt x="1111009" y="305326"/>
                          <a:pt x="1116013" y="281056"/>
                          <a:pt x="1111009" y="256787"/>
                        </a:cubicBezTo>
                        <a:cubicBezTo>
                          <a:pt x="1106719" y="232518"/>
                          <a:pt x="1093135" y="211103"/>
                          <a:pt x="1072402" y="196827"/>
                        </a:cubicBezTo>
                        <a:cubicBezTo>
                          <a:pt x="1051311" y="182551"/>
                          <a:pt x="1026288" y="178090"/>
                          <a:pt x="1002874" y="182462"/>
                        </a:cubicBezTo>
                        <a:close/>
                        <a:moveTo>
                          <a:pt x="824460" y="181262"/>
                        </a:moveTo>
                        <a:cubicBezTo>
                          <a:pt x="820441" y="181530"/>
                          <a:pt x="816511" y="183314"/>
                          <a:pt x="813653" y="186527"/>
                        </a:cubicBezTo>
                        <a:cubicBezTo>
                          <a:pt x="807937" y="192951"/>
                          <a:pt x="808651" y="202945"/>
                          <a:pt x="815082" y="208656"/>
                        </a:cubicBezTo>
                        <a:cubicBezTo>
                          <a:pt x="815082" y="208656"/>
                          <a:pt x="815082" y="208656"/>
                          <a:pt x="857239" y="246491"/>
                        </a:cubicBezTo>
                        <a:cubicBezTo>
                          <a:pt x="757921" y="257198"/>
                          <a:pt x="683611" y="292177"/>
                          <a:pt x="637881" y="350714"/>
                        </a:cubicBezTo>
                        <a:cubicBezTo>
                          <a:pt x="577147" y="429238"/>
                          <a:pt x="587151" y="523467"/>
                          <a:pt x="590723" y="547024"/>
                        </a:cubicBezTo>
                        <a:cubicBezTo>
                          <a:pt x="575004" y="553449"/>
                          <a:pt x="559999" y="564870"/>
                          <a:pt x="549281" y="579861"/>
                        </a:cubicBezTo>
                        <a:cubicBezTo>
                          <a:pt x="520700" y="622693"/>
                          <a:pt x="531418" y="680515"/>
                          <a:pt x="573575" y="709069"/>
                        </a:cubicBezTo>
                        <a:cubicBezTo>
                          <a:pt x="590009" y="719777"/>
                          <a:pt x="607872" y="725488"/>
                          <a:pt x="626449" y="725488"/>
                        </a:cubicBezTo>
                        <a:cubicBezTo>
                          <a:pt x="655744" y="725488"/>
                          <a:pt x="685040" y="711211"/>
                          <a:pt x="702903" y="684798"/>
                        </a:cubicBezTo>
                        <a:cubicBezTo>
                          <a:pt x="717193" y="664097"/>
                          <a:pt x="722195" y="639825"/>
                          <a:pt x="717193" y="615554"/>
                        </a:cubicBezTo>
                        <a:cubicBezTo>
                          <a:pt x="712906" y="591283"/>
                          <a:pt x="699330" y="569867"/>
                          <a:pt x="678609" y="555590"/>
                        </a:cubicBezTo>
                        <a:cubicBezTo>
                          <a:pt x="661460" y="544169"/>
                          <a:pt x="641454" y="539172"/>
                          <a:pt x="622162" y="539886"/>
                        </a:cubicBezTo>
                        <a:cubicBezTo>
                          <a:pt x="618589" y="517756"/>
                          <a:pt x="612159" y="435663"/>
                          <a:pt x="662890" y="369988"/>
                        </a:cubicBezTo>
                        <a:cubicBezTo>
                          <a:pt x="703617" y="317162"/>
                          <a:pt x="771496" y="286467"/>
                          <a:pt x="864384" y="277186"/>
                        </a:cubicBezTo>
                        <a:cubicBezTo>
                          <a:pt x="864384" y="277186"/>
                          <a:pt x="864384" y="277186"/>
                          <a:pt x="821513" y="325729"/>
                        </a:cubicBezTo>
                        <a:cubicBezTo>
                          <a:pt x="815797" y="332153"/>
                          <a:pt x="816511" y="342147"/>
                          <a:pt x="822942" y="347858"/>
                        </a:cubicBezTo>
                        <a:cubicBezTo>
                          <a:pt x="825800" y="350714"/>
                          <a:pt x="829372" y="352141"/>
                          <a:pt x="833660" y="352141"/>
                        </a:cubicBezTo>
                        <a:cubicBezTo>
                          <a:pt x="837947" y="352141"/>
                          <a:pt x="842234" y="350000"/>
                          <a:pt x="845092" y="346430"/>
                        </a:cubicBezTo>
                        <a:cubicBezTo>
                          <a:pt x="845092" y="346430"/>
                          <a:pt x="845092" y="346430"/>
                          <a:pt x="910113" y="272903"/>
                        </a:cubicBezTo>
                        <a:cubicBezTo>
                          <a:pt x="912971" y="270048"/>
                          <a:pt x="914400" y="265765"/>
                          <a:pt x="914400" y="261482"/>
                        </a:cubicBezTo>
                        <a:cubicBezTo>
                          <a:pt x="914400" y="257912"/>
                          <a:pt x="912257" y="253629"/>
                          <a:pt x="909399" y="250774"/>
                        </a:cubicBezTo>
                        <a:cubicBezTo>
                          <a:pt x="909399" y="250774"/>
                          <a:pt x="909399" y="250774"/>
                          <a:pt x="835803" y="185099"/>
                        </a:cubicBezTo>
                        <a:cubicBezTo>
                          <a:pt x="832588" y="182244"/>
                          <a:pt x="828479" y="180994"/>
                          <a:pt x="824460" y="181262"/>
                        </a:cubicBezTo>
                        <a:close/>
                        <a:moveTo>
                          <a:pt x="306100" y="85725"/>
                        </a:moveTo>
                        <a:cubicBezTo>
                          <a:pt x="254385" y="85725"/>
                          <a:pt x="212725" y="127176"/>
                          <a:pt x="212725" y="178632"/>
                        </a:cubicBezTo>
                        <a:cubicBezTo>
                          <a:pt x="212725" y="230088"/>
                          <a:pt x="254385" y="271539"/>
                          <a:pt x="306100" y="271539"/>
                        </a:cubicBezTo>
                        <a:cubicBezTo>
                          <a:pt x="326929" y="271539"/>
                          <a:pt x="346323" y="264392"/>
                          <a:pt x="362124" y="252957"/>
                        </a:cubicBezTo>
                        <a:cubicBezTo>
                          <a:pt x="377208" y="269395"/>
                          <a:pt x="429641" y="333000"/>
                          <a:pt x="424613" y="416616"/>
                        </a:cubicBezTo>
                        <a:cubicBezTo>
                          <a:pt x="420304" y="483080"/>
                          <a:pt x="381518" y="546686"/>
                          <a:pt x="309691" y="606718"/>
                        </a:cubicBezTo>
                        <a:cubicBezTo>
                          <a:pt x="309691" y="606718"/>
                          <a:pt x="309691" y="606718"/>
                          <a:pt x="317592" y="542398"/>
                        </a:cubicBezTo>
                        <a:cubicBezTo>
                          <a:pt x="319028" y="533822"/>
                          <a:pt x="313282" y="525961"/>
                          <a:pt x="303945" y="525246"/>
                        </a:cubicBezTo>
                        <a:cubicBezTo>
                          <a:pt x="295326" y="523817"/>
                          <a:pt x="287425" y="529534"/>
                          <a:pt x="286707" y="538110"/>
                        </a:cubicBezTo>
                        <a:cubicBezTo>
                          <a:pt x="286707" y="538110"/>
                          <a:pt x="286707" y="538110"/>
                          <a:pt x="273778" y="636734"/>
                        </a:cubicBezTo>
                        <a:cubicBezTo>
                          <a:pt x="272341" y="645310"/>
                          <a:pt x="278806" y="653171"/>
                          <a:pt x="287425" y="653886"/>
                        </a:cubicBezTo>
                        <a:cubicBezTo>
                          <a:pt x="287425" y="653886"/>
                          <a:pt x="287425" y="653886"/>
                          <a:pt x="385827" y="666750"/>
                        </a:cubicBezTo>
                        <a:cubicBezTo>
                          <a:pt x="386545" y="666750"/>
                          <a:pt x="387264" y="666750"/>
                          <a:pt x="387982" y="666750"/>
                        </a:cubicBezTo>
                        <a:cubicBezTo>
                          <a:pt x="395883" y="666750"/>
                          <a:pt x="402347" y="661033"/>
                          <a:pt x="403784" y="653171"/>
                        </a:cubicBezTo>
                        <a:cubicBezTo>
                          <a:pt x="404502" y="644595"/>
                          <a:pt x="398756" y="636734"/>
                          <a:pt x="390137" y="636019"/>
                        </a:cubicBezTo>
                        <a:cubicBezTo>
                          <a:pt x="390137" y="636019"/>
                          <a:pt x="390137" y="636019"/>
                          <a:pt x="332676" y="628158"/>
                        </a:cubicBezTo>
                        <a:cubicBezTo>
                          <a:pt x="410248" y="563123"/>
                          <a:pt x="451908" y="492371"/>
                          <a:pt x="456217" y="418046"/>
                        </a:cubicBezTo>
                        <a:cubicBezTo>
                          <a:pt x="461963" y="319422"/>
                          <a:pt x="400192" y="246525"/>
                          <a:pt x="383672" y="230088"/>
                        </a:cubicBezTo>
                        <a:cubicBezTo>
                          <a:pt x="393728" y="215080"/>
                          <a:pt x="399474" y="197213"/>
                          <a:pt x="399474" y="178632"/>
                        </a:cubicBezTo>
                        <a:cubicBezTo>
                          <a:pt x="399474" y="127176"/>
                          <a:pt x="357815" y="85725"/>
                          <a:pt x="306100" y="85725"/>
                        </a:cubicBezTo>
                        <a:close/>
                        <a:moveTo>
                          <a:pt x="591953" y="80795"/>
                        </a:moveTo>
                        <a:cubicBezTo>
                          <a:pt x="587814" y="80795"/>
                          <a:pt x="583674" y="82214"/>
                          <a:pt x="580435" y="85053"/>
                        </a:cubicBezTo>
                        <a:cubicBezTo>
                          <a:pt x="574675" y="91440"/>
                          <a:pt x="574675" y="101376"/>
                          <a:pt x="580435" y="107763"/>
                        </a:cubicBezTo>
                        <a:lnTo>
                          <a:pt x="614270" y="140410"/>
                        </a:lnTo>
                        <a:cubicBezTo>
                          <a:pt x="614270" y="140410"/>
                          <a:pt x="614270" y="140410"/>
                          <a:pt x="580435" y="173056"/>
                        </a:cubicBezTo>
                        <a:cubicBezTo>
                          <a:pt x="574675" y="179444"/>
                          <a:pt x="574675" y="189380"/>
                          <a:pt x="580435" y="195767"/>
                        </a:cubicBezTo>
                        <a:cubicBezTo>
                          <a:pt x="584034" y="198606"/>
                          <a:pt x="587634" y="200025"/>
                          <a:pt x="591953" y="200025"/>
                        </a:cubicBezTo>
                        <a:cubicBezTo>
                          <a:pt x="596273" y="200025"/>
                          <a:pt x="599872" y="198606"/>
                          <a:pt x="603472" y="195767"/>
                        </a:cubicBezTo>
                        <a:cubicBezTo>
                          <a:pt x="603472" y="195767"/>
                          <a:pt x="603472" y="195767"/>
                          <a:pt x="636588" y="162411"/>
                        </a:cubicBezTo>
                        <a:cubicBezTo>
                          <a:pt x="636588" y="162411"/>
                          <a:pt x="636588" y="162411"/>
                          <a:pt x="669704" y="195767"/>
                        </a:cubicBezTo>
                        <a:cubicBezTo>
                          <a:pt x="673303" y="198606"/>
                          <a:pt x="676903" y="200025"/>
                          <a:pt x="681222" y="200025"/>
                        </a:cubicBezTo>
                        <a:cubicBezTo>
                          <a:pt x="685542" y="200025"/>
                          <a:pt x="689141" y="198606"/>
                          <a:pt x="692741" y="195767"/>
                        </a:cubicBezTo>
                        <a:cubicBezTo>
                          <a:pt x="698500" y="189380"/>
                          <a:pt x="698500" y="179444"/>
                          <a:pt x="692741" y="173056"/>
                        </a:cubicBezTo>
                        <a:cubicBezTo>
                          <a:pt x="692741" y="173056"/>
                          <a:pt x="692741" y="173056"/>
                          <a:pt x="658905" y="140410"/>
                        </a:cubicBezTo>
                        <a:cubicBezTo>
                          <a:pt x="658905" y="140410"/>
                          <a:pt x="658905" y="140410"/>
                          <a:pt x="692741" y="107763"/>
                        </a:cubicBezTo>
                        <a:cubicBezTo>
                          <a:pt x="698500" y="101376"/>
                          <a:pt x="698500" y="91440"/>
                          <a:pt x="692741" y="85053"/>
                        </a:cubicBezTo>
                        <a:cubicBezTo>
                          <a:pt x="689501" y="82214"/>
                          <a:pt x="685362" y="80795"/>
                          <a:pt x="681222" y="80795"/>
                        </a:cubicBezTo>
                        <a:cubicBezTo>
                          <a:pt x="677083" y="80795"/>
                          <a:pt x="672943" y="82214"/>
                          <a:pt x="669704" y="85053"/>
                        </a:cubicBezTo>
                        <a:cubicBezTo>
                          <a:pt x="669704" y="85053"/>
                          <a:pt x="669704" y="85053"/>
                          <a:pt x="636588" y="118409"/>
                        </a:cubicBezTo>
                        <a:cubicBezTo>
                          <a:pt x="636588" y="118409"/>
                          <a:pt x="636588" y="118409"/>
                          <a:pt x="603472" y="85053"/>
                        </a:cubicBezTo>
                        <a:cubicBezTo>
                          <a:pt x="600232" y="82214"/>
                          <a:pt x="596093" y="80795"/>
                          <a:pt x="591953" y="80795"/>
                        </a:cubicBezTo>
                        <a:close/>
                        <a:moveTo>
                          <a:pt x="0" y="0"/>
                        </a:moveTo>
                        <a:lnTo>
                          <a:pt x="1181100" y="0"/>
                        </a:lnTo>
                        <a:lnTo>
                          <a:pt x="1181100" y="806450"/>
                        </a:lnTo>
                        <a:lnTo>
                          <a:pt x="0" y="806450"/>
                        </a:ln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grpSp>
          </p:grpSp>
        </p:grpSp>
      </p:grpSp>
      <p:sp>
        <p:nvSpPr>
          <p:cNvPr id="53" name="Rectangle 52">
            <a:extLst>
              <a:ext uri="{FF2B5EF4-FFF2-40B4-BE49-F238E27FC236}">
                <a16:creationId xmlns:a16="http://schemas.microsoft.com/office/drawing/2014/main" id="{23A56CBB-7A39-4CB9-9873-B510C4130D99}"/>
              </a:ext>
            </a:extLst>
          </p:cNvPr>
          <p:cNvSpPr/>
          <p:nvPr/>
        </p:nvSpPr>
        <p:spPr bwMode="auto">
          <a:xfrm>
            <a:off x="472500" y="4169720"/>
            <a:ext cx="3883470" cy="490262"/>
          </a:xfrm>
          <a:prstGeom prst="rect">
            <a:avLst/>
          </a:prstGeom>
          <a:noFill/>
          <a:ln w="19050" cap="flat" cmpd="sng" algn="ctr">
            <a:solidFill>
              <a:srgbClr val="72BFC5"/>
            </a:solidFill>
            <a:prstDash val="sysDash"/>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Font typeface="Arial" panose="020B0604020202020204" pitchFamily="34" charset="0"/>
            </a:pPr>
            <a:r>
              <a:rPr lang="de-DE" sz="1000" b="1" dirty="0">
                <a:solidFill>
                  <a:srgbClr val="3C8C93"/>
                </a:solidFill>
                <a:latin typeface="+mn-lt"/>
                <a:cs typeface="+mn-cs"/>
              </a:rPr>
              <a:t>Piktogramme ohne Lizenz zur freien Verwendung </a:t>
            </a:r>
            <a:r>
              <a:rPr lang="de-DE" sz="1000" dirty="0">
                <a:solidFill>
                  <a:srgbClr val="3C8C93"/>
                </a:solidFill>
                <a:latin typeface="+mn-lt"/>
                <a:cs typeface="+mn-cs"/>
              </a:rPr>
              <a:t>und Ergänzung der Darstellungen nach Ihrem Bedarf finden Sie im Internet.</a:t>
            </a:r>
          </a:p>
        </p:txBody>
      </p:sp>
      <p:graphicFrame>
        <p:nvGraphicFramePr>
          <p:cNvPr id="77" name="Object 76" hidden="1">
            <a:extLst>
              <a:ext uri="{FF2B5EF4-FFF2-40B4-BE49-F238E27FC236}">
                <a16:creationId xmlns:a16="http://schemas.microsoft.com/office/drawing/2014/main" id="{18E95869-2E4D-4BF7-A514-7600E4C577D7}"/>
              </a:ext>
            </a:extLst>
          </p:cNvPr>
          <p:cNvGraphicFramePr>
            <a:graphicFrameLocks noChangeAspect="1"/>
          </p:cNvGraphicFramePr>
          <p:nvPr>
            <p:custDataLst>
              <p:tags r:id="rId3"/>
            </p:custDataLst>
            <p:extLst>
              <p:ext uri="{D42A27DB-BD31-4B8C-83A1-F6EECF244321}">
                <p14:modId xmlns:p14="http://schemas.microsoft.com/office/powerpoint/2010/main" val="3366359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5" name="think-cell Slide" r:id="rId7" imgW="328" imgH="328" progId="TCLayout.ActiveDocument.1">
                  <p:embed/>
                </p:oleObj>
              </mc:Choice>
              <mc:Fallback>
                <p:oleObj name="think-cell Slide" r:id="rId7" imgW="328" imgH="328" progId="TCLayout.ActiveDocument.1">
                  <p:embed/>
                  <p:pic>
                    <p:nvPicPr>
                      <p:cNvPr id="6" name="Object 5" hidden="1">
                        <a:extLst>
                          <a:ext uri="{FF2B5EF4-FFF2-40B4-BE49-F238E27FC236}">
                            <a16:creationId xmlns:a16="http://schemas.microsoft.com/office/drawing/2014/main" id="{9EB150BE-81DB-45D8-A3D1-1C6B9146059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78" name="Group 77">
            <a:extLst>
              <a:ext uri="{FF2B5EF4-FFF2-40B4-BE49-F238E27FC236}">
                <a16:creationId xmlns:a16="http://schemas.microsoft.com/office/drawing/2014/main" id="{A4C4AC75-2AA8-415E-9472-610DD8F4E55E}"/>
              </a:ext>
            </a:extLst>
          </p:cNvPr>
          <p:cNvGrpSpPr>
            <a:grpSpLocks noChangeAspect="1"/>
          </p:cNvGrpSpPr>
          <p:nvPr/>
        </p:nvGrpSpPr>
        <p:grpSpPr>
          <a:xfrm>
            <a:off x="4255871" y="4070134"/>
            <a:ext cx="186998" cy="186998"/>
            <a:chOff x="5961063" y="3294063"/>
            <a:chExt cx="269875" cy="269875"/>
          </a:xfrm>
        </p:grpSpPr>
        <p:sp>
          <p:nvSpPr>
            <p:cNvPr id="79" name="Oval 14">
              <a:extLst>
                <a:ext uri="{FF2B5EF4-FFF2-40B4-BE49-F238E27FC236}">
                  <a16:creationId xmlns:a16="http://schemas.microsoft.com/office/drawing/2014/main" id="{301EE414-51C7-4267-91B3-D75E396E33BC}"/>
                </a:ext>
              </a:extLst>
            </p:cNvPr>
            <p:cNvSpPr>
              <a:spLocks noChangeArrowheads="1"/>
            </p:cNvSpPr>
            <p:nvPr/>
          </p:nvSpPr>
          <p:spPr bwMode="auto">
            <a:xfrm>
              <a:off x="5961063" y="3294063"/>
              <a:ext cx="269875" cy="269875"/>
            </a:xfrm>
            <a:prstGeom prst="ellipse">
              <a:avLst/>
            </a:prstGeom>
            <a:solidFill>
              <a:srgbClr val="72BFC5"/>
            </a:solidFill>
            <a:ln>
              <a:noFill/>
            </a:ln>
          </p:spPr>
          <p:txBody>
            <a:bodyPr vert="horz" wrap="square" lIns="68580" tIns="34290" rIns="68580" bIns="34290" numCol="1" anchor="t" anchorCtr="0" compatLnSpc="1">
              <a:prstTxWarp prst="textNoShape">
                <a:avLst/>
              </a:prstTxWarp>
            </a:bodyPr>
            <a:lstStyle/>
            <a:p>
              <a:endParaRPr lang="de-DE" dirty="0"/>
            </a:p>
          </p:txBody>
        </p:sp>
        <p:sp>
          <p:nvSpPr>
            <p:cNvPr id="80" name="Freeform 15">
              <a:extLst>
                <a:ext uri="{FF2B5EF4-FFF2-40B4-BE49-F238E27FC236}">
                  <a16:creationId xmlns:a16="http://schemas.microsoft.com/office/drawing/2014/main" id="{2696976C-A9B8-4ECF-B61B-1E71C87C4536}"/>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endParaRPr lang="de-DE" dirty="0"/>
            </a:p>
          </p:txBody>
        </p:sp>
      </p:grpSp>
    </p:spTree>
    <p:extLst>
      <p:ext uri="{BB962C8B-B14F-4D97-AF65-F5344CB8AC3E}">
        <p14:creationId xmlns:p14="http://schemas.microsoft.com/office/powerpoint/2010/main" val="343620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DB3B3F-FFF7-49D3-A938-C794EE0B4975}"/>
              </a:ext>
            </a:extLst>
          </p:cNvPr>
          <p:cNvSpPr/>
          <p:nvPr>
            <p:custDataLst>
              <p:tags r:id="rId2"/>
            </p:custDataLst>
          </p:nvPr>
        </p:nvSpPr>
        <p:spPr bwMode="auto">
          <a:xfrm>
            <a:off x="914400" y="2000250"/>
            <a:ext cx="7315200" cy="2381250"/>
          </a:xfrm>
          <a:prstGeom prst="rect">
            <a:avLst/>
          </a:prstGeom>
          <a:noFill/>
          <a:ln w="9525" cmpd="sng">
            <a:solidFill>
              <a:srgbClr val="0A4E78"/>
            </a:solidFill>
            <a:prstDash val="soli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spcBef>
                <a:spcPts val="0"/>
              </a:spcBef>
              <a:spcAft>
                <a:spcPts val="0"/>
              </a:spcAft>
              <a:buFont typeface="Arial" panose="020B0604020202020204" pitchFamily="34" charset="0"/>
            </a:pPr>
            <a:r>
              <a:rPr lang="de-DE" sz="4100" i="1">
                <a:solidFill>
                  <a:srgbClr val="0A4E78"/>
                </a:solidFill>
                <a:latin typeface="+mn-lt"/>
                <a:cs typeface="+mn-cs"/>
              </a:rPr>
              <a:t>Bebilderte Übersicht zu den relevanten Institutionen, Personen und Dienstleistern</a:t>
            </a:r>
            <a:endParaRPr lang="en-US" sz="4100" i="1">
              <a:solidFill>
                <a:srgbClr val="0A4E78"/>
              </a:solidFill>
              <a:latin typeface="+mn-lt"/>
              <a:cs typeface="+mn-cs"/>
            </a:endParaRPr>
          </a:p>
        </p:txBody>
      </p:sp>
      <p:sp>
        <p:nvSpPr>
          <p:cNvPr id="2" name="Rectangle 1">
            <a:extLst>
              <a:ext uri="{FF2B5EF4-FFF2-40B4-BE49-F238E27FC236}">
                <a16:creationId xmlns:a16="http://schemas.microsoft.com/office/drawing/2014/main" id="{79C0FDC5-51C7-437B-B04B-106F4F54E60B}"/>
              </a:ext>
            </a:extLst>
          </p:cNvPr>
          <p:cNvSpPr/>
          <p:nvPr>
            <p:custDataLst>
              <p:tags r:id="rId3"/>
            </p:custDataLst>
          </p:nvPr>
        </p:nvSpPr>
        <p:spPr bwMode="auto">
          <a:xfrm>
            <a:off x="914400" y="1076325"/>
            <a:ext cx="714375" cy="714375"/>
          </a:xfrm>
          <a:prstGeom prst="rect">
            <a:avLst/>
          </a:prstGeom>
          <a:noFill/>
          <a:ln w="9525" cmpd="sng">
            <a:solidFill>
              <a:srgbClr val="0A4E78"/>
            </a:solidFill>
            <a:prstDash val="soli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buFont typeface="Arial" panose="020B0604020202020204" pitchFamily="34" charset="0"/>
            </a:pPr>
            <a:endParaRPr lang="en-US" sz="1200">
              <a:solidFill>
                <a:srgbClr val="0A4E78"/>
              </a:solidFill>
              <a:latin typeface="+mn-lt"/>
              <a:cs typeface="+mn-cs"/>
            </a:endParaRPr>
          </a:p>
        </p:txBody>
      </p:sp>
    </p:spTree>
    <p:custDataLst>
      <p:tags r:id="rId1"/>
    </p:custDataLst>
    <p:extLst>
      <p:ext uri="{BB962C8B-B14F-4D97-AF65-F5344CB8AC3E}">
        <p14:creationId xmlns:p14="http://schemas.microsoft.com/office/powerpoint/2010/main" val="277163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72E502-F527-4530-AF71-BEF99D87B339}"/>
              </a:ext>
            </a:extLst>
          </p:cNvPr>
          <p:cNvGraphicFramePr>
            <a:graphicFrameLocks noChangeAspect="1"/>
          </p:cNvGraphicFramePr>
          <p:nvPr>
            <p:custDataLst>
              <p:tags r:id="rId2"/>
            </p:custDataLst>
            <p:extLst>
              <p:ext uri="{D42A27DB-BD31-4B8C-83A1-F6EECF244321}">
                <p14:modId xmlns:p14="http://schemas.microsoft.com/office/powerpoint/2010/main" val="289664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4"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7772E502-F527-4530-AF71-BEF99D87B3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9E4D3F4-81C6-4F37-87D2-532CEF1CC43E}"/>
              </a:ext>
            </a:extLst>
          </p:cNvPr>
          <p:cNvSpPr>
            <a:spLocks noGrp="1"/>
          </p:cNvSpPr>
          <p:nvPr>
            <p:ph type="title"/>
          </p:nvPr>
        </p:nvSpPr>
        <p:spPr>
          <a:xfrm>
            <a:off x="472500" y="300174"/>
            <a:ext cx="8275964" cy="415498"/>
          </a:xfrm>
        </p:spPr>
        <p:txBody>
          <a:bodyPr vert="horz"/>
          <a:lstStyle/>
          <a:p>
            <a:r>
              <a:rPr lang="de-DE" dirty="0"/>
              <a:t>Übersicht der beteiligten Personen, Dienstleister und Institutionen</a:t>
            </a:r>
          </a:p>
        </p:txBody>
      </p:sp>
      <p:grpSp>
        <p:nvGrpSpPr>
          <p:cNvPr id="6" name="Group 5">
            <a:extLst>
              <a:ext uri="{FF2B5EF4-FFF2-40B4-BE49-F238E27FC236}">
                <a16:creationId xmlns:a16="http://schemas.microsoft.com/office/drawing/2014/main" id="{B1D3460B-5AA8-480A-B2B8-84B1199D3828}"/>
              </a:ext>
            </a:extLst>
          </p:cNvPr>
          <p:cNvGrpSpPr>
            <a:grpSpLocks noChangeAspect="1"/>
          </p:cNvGrpSpPr>
          <p:nvPr/>
        </p:nvGrpSpPr>
        <p:grpSpPr>
          <a:xfrm>
            <a:off x="975392" y="2788026"/>
            <a:ext cx="926227" cy="927085"/>
            <a:chOff x="5273801" y="2606040"/>
            <a:chExt cx="1644396" cy="1645920"/>
          </a:xfrm>
        </p:grpSpPr>
        <p:sp>
          <p:nvSpPr>
            <p:cNvPr id="7" name="AutoShape 3">
              <a:extLst>
                <a:ext uri="{FF2B5EF4-FFF2-40B4-BE49-F238E27FC236}">
                  <a16:creationId xmlns:a16="http://schemas.microsoft.com/office/drawing/2014/main" id="{75A6FB17-F8C8-49F8-9F94-B5CC4F6849C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8" name="Group 7">
              <a:extLst>
                <a:ext uri="{FF2B5EF4-FFF2-40B4-BE49-F238E27FC236}">
                  <a16:creationId xmlns:a16="http://schemas.microsoft.com/office/drawing/2014/main" id="{02C70BD1-0F1F-4BF1-8CF8-2DC560C692A5}"/>
                </a:ext>
              </a:extLst>
            </p:cNvPr>
            <p:cNvGrpSpPr/>
            <p:nvPr/>
          </p:nvGrpSpPr>
          <p:grpSpPr>
            <a:xfrm>
              <a:off x="5336392" y="2746247"/>
              <a:ext cx="1517035" cy="1335025"/>
              <a:chOff x="5336392" y="2746247"/>
              <a:chExt cx="1517035" cy="1335025"/>
            </a:xfrm>
          </p:grpSpPr>
          <p:sp>
            <p:nvSpPr>
              <p:cNvPr id="9" name="Freeform 24">
                <a:extLst>
                  <a:ext uri="{FF2B5EF4-FFF2-40B4-BE49-F238E27FC236}">
                    <a16:creationId xmlns:a16="http://schemas.microsoft.com/office/drawing/2014/main" id="{F521FE90-757A-4379-8E2C-0C977DD7CF2D}"/>
                  </a:ext>
                </a:extLst>
              </p:cNvPr>
              <p:cNvSpPr>
                <a:spLocks/>
              </p:cNvSpPr>
              <p:nvPr/>
            </p:nvSpPr>
            <p:spPr bwMode="auto">
              <a:xfrm>
                <a:off x="5456603" y="2746247"/>
                <a:ext cx="1240211" cy="1335024"/>
              </a:xfrm>
              <a:custGeom>
                <a:avLst/>
                <a:gdLst>
                  <a:gd name="connsiteX0" fmla="*/ 803963 w 1240211"/>
                  <a:gd name="connsiteY0" fmla="*/ 1194495 h 1335024"/>
                  <a:gd name="connsiteX1" fmla="*/ 933909 w 1240211"/>
                  <a:gd name="connsiteY1" fmla="*/ 1255129 h 1335024"/>
                  <a:gd name="connsiteX2" fmla="*/ 1061713 w 1240211"/>
                  <a:gd name="connsiteY2" fmla="*/ 1194495 h 1335024"/>
                  <a:gd name="connsiteX3" fmla="*/ 1239497 w 1240211"/>
                  <a:gd name="connsiteY3" fmla="*/ 1322184 h 1335024"/>
                  <a:gd name="connsiteX4" fmla="*/ 1240211 w 1240211"/>
                  <a:gd name="connsiteY4" fmla="*/ 1325037 h 1335024"/>
                  <a:gd name="connsiteX5" fmla="*/ 1230929 w 1240211"/>
                  <a:gd name="connsiteY5" fmla="*/ 1335024 h 1335024"/>
                  <a:gd name="connsiteX6" fmla="*/ 689723 w 1240211"/>
                  <a:gd name="connsiteY6" fmla="*/ 1335024 h 1335024"/>
                  <a:gd name="connsiteX7" fmla="*/ 691151 w 1240211"/>
                  <a:gd name="connsiteY7" fmla="*/ 1321471 h 1335024"/>
                  <a:gd name="connsiteX8" fmla="*/ 690437 w 1240211"/>
                  <a:gd name="connsiteY8" fmla="*/ 1318617 h 1335024"/>
                  <a:gd name="connsiteX9" fmla="*/ 661164 w 1240211"/>
                  <a:gd name="connsiteY9" fmla="*/ 1248709 h 1335024"/>
                  <a:gd name="connsiteX10" fmla="*/ 803963 w 1240211"/>
                  <a:gd name="connsiteY10" fmla="*/ 1194495 h 1335024"/>
                  <a:gd name="connsiteX11" fmla="*/ 223231 w 1240211"/>
                  <a:gd name="connsiteY11" fmla="*/ 1194495 h 1335024"/>
                  <a:gd name="connsiteX12" fmla="*/ 353214 w 1240211"/>
                  <a:gd name="connsiteY12" fmla="*/ 1255129 h 1335024"/>
                  <a:gd name="connsiteX13" fmla="*/ 481054 w 1240211"/>
                  <a:gd name="connsiteY13" fmla="*/ 1194495 h 1335024"/>
                  <a:gd name="connsiteX14" fmla="*/ 659603 w 1240211"/>
                  <a:gd name="connsiteY14" fmla="*/ 1322184 h 1335024"/>
                  <a:gd name="connsiteX15" fmla="*/ 659603 w 1240211"/>
                  <a:gd name="connsiteY15" fmla="*/ 1325037 h 1335024"/>
                  <a:gd name="connsiteX16" fmla="*/ 650318 w 1240211"/>
                  <a:gd name="connsiteY16" fmla="*/ 1335024 h 1335024"/>
                  <a:gd name="connsiteX17" fmla="*/ 57538 w 1240211"/>
                  <a:gd name="connsiteY17" fmla="*/ 1335024 h 1335024"/>
                  <a:gd name="connsiteX18" fmla="*/ 48968 w 1240211"/>
                  <a:gd name="connsiteY18" fmla="*/ 1325037 h 1335024"/>
                  <a:gd name="connsiteX19" fmla="*/ 49682 w 1240211"/>
                  <a:gd name="connsiteY19" fmla="*/ 1314337 h 1335024"/>
                  <a:gd name="connsiteX20" fmla="*/ 223231 w 1240211"/>
                  <a:gd name="connsiteY20" fmla="*/ 1194495 h 1335024"/>
                  <a:gd name="connsiteX21" fmla="*/ 562116 w 1240211"/>
                  <a:gd name="connsiteY21" fmla="*/ 806771 h 1335024"/>
                  <a:gd name="connsiteX22" fmla="*/ 708571 w 1240211"/>
                  <a:gd name="connsiteY22" fmla="*/ 887608 h 1335024"/>
                  <a:gd name="connsiteX23" fmla="*/ 680133 w 1240211"/>
                  <a:gd name="connsiteY23" fmla="*/ 1047850 h 1335024"/>
                  <a:gd name="connsiteX24" fmla="*/ 676578 w 1240211"/>
                  <a:gd name="connsiteY24" fmla="*/ 1051427 h 1335024"/>
                  <a:gd name="connsiteX25" fmla="*/ 567803 w 1240211"/>
                  <a:gd name="connsiteY25" fmla="*/ 971306 h 1335024"/>
                  <a:gd name="connsiteX26" fmla="*/ 572069 w 1240211"/>
                  <a:gd name="connsiteY26" fmla="*/ 867577 h 1335024"/>
                  <a:gd name="connsiteX27" fmla="*/ 562116 w 1240211"/>
                  <a:gd name="connsiteY27" fmla="*/ 806771 h 1335024"/>
                  <a:gd name="connsiteX28" fmla="*/ 146455 w 1240211"/>
                  <a:gd name="connsiteY28" fmla="*/ 806771 h 1335024"/>
                  <a:gd name="connsiteX29" fmla="*/ 136453 w 1240211"/>
                  <a:gd name="connsiteY29" fmla="*/ 867577 h 1335024"/>
                  <a:gd name="connsiteX30" fmla="*/ 141454 w 1240211"/>
                  <a:gd name="connsiteY30" fmla="*/ 971306 h 1335024"/>
                  <a:gd name="connsiteX31" fmla="*/ 31434 w 1240211"/>
                  <a:gd name="connsiteY31" fmla="*/ 1051427 h 1335024"/>
                  <a:gd name="connsiteX32" fmla="*/ 27862 w 1240211"/>
                  <a:gd name="connsiteY32" fmla="*/ 1047850 h 1335024"/>
                  <a:gd name="connsiteX33" fmla="*/ 0 w 1240211"/>
                  <a:gd name="connsiteY33" fmla="*/ 887608 h 1335024"/>
                  <a:gd name="connsiteX34" fmla="*/ 146455 w 1240211"/>
                  <a:gd name="connsiteY34" fmla="*/ 806771 h 1335024"/>
                  <a:gd name="connsiteX35" fmla="*/ 933890 w 1240211"/>
                  <a:gd name="connsiteY35" fmla="*/ 695025 h 1335024"/>
                  <a:gd name="connsiteX36" fmla="*/ 1119999 w 1240211"/>
                  <a:gd name="connsiteY36" fmla="*/ 869720 h 1335024"/>
                  <a:gd name="connsiteX37" fmla="*/ 1112869 w 1240211"/>
                  <a:gd name="connsiteY37" fmla="*/ 928429 h 1335024"/>
                  <a:gd name="connsiteX38" fmla="*/ 1092903 w 1240211"/>
                  <a:gd name="connsiteY38" fmla="*/ 954203 h 1335024"/>
                  <a:gd name="connsiteX39" fmla="*/ 1090051 w 1240211"/>
                  <a:gd name="connsiteY39" fmla="*/ 954919 h 1335024"/>
                  <a:gd name="connsiteX40" fmla="*/ 1082207 w 1240211"/>
                  <a:gd name="connsiteY40" fmla="*/ 954919 h 1335024"/>
                  <a:gd name="connsiteX41" fmla="*/ 1078642 w 1240211"/>
                  <a:gd name="connsiteY41" fmla="*/ 951339 h 1335024"/>
                  <a:gd name="connsiteX42" fmla="*/ 1077215 w 1240211"/>
                  <a:gd name="connsiteY42" fmla="*/ 833922 h 1335024"/>
                  <a:gd name="connsiteX43" fmla="*/ 1070798 w 1240211"/>
                  <a:gd name="connsiteY43" fmla="*/ 831058 h 1335024"/>
                  <a:gd name="connsiteX44" fmla="*/ 980239 w 1240211"/>
                  <a:gd name="connsiteY44" fmla="*/ 844661 h 1335024"/>
                  <a:gd name="connsiteX45" fmla="*/ 903228 w 1240211"/>
                  <a:gd name="connsiteY45" fmla="*/ 853969 h 1335024"/>
                  <a:gd name="connsiteX46" fmla="*/ 899663 w 1240211"/>
                  <a:gd name="connsiteY46" fmla="*/ 848957 h 1335024"/>
                  <a:gd name="connsiteX47" fmla="*/ 909646 w 1240211"/>
                  <a:gd name="connsiteY47" fmla="*/ 831058 h 1335024"/>
                  <a:gd name="connsiteX48" fmla="*/ 903941 w 1240211"/>
                  <a:gd name="connsiteY48" fmla="*/ 826762 h 1335024"/>
                  <a:gd name="connsiteX49" fmla="*/ 832635 w 1240211"/>
                  <a:gd name="connsiteY49" fmla="*/ 867572 h 1335024"/>
                  <a:gd name="connsiteX50" fmla="*/ 828356 w 1240211"/>
                  <a:gd name="connsiteY50" fmla="*/ 863992 h 1335024"/>
                  <a:gd name="connsiteX51" fmla="*/ 831922 w 1240211"/>
                  <a:gd name="connsiteY51" fmla="*/ 839649 h 1335024"/>
                  <a:gd name="connsiteX52" fmla="*/ 826217 w 1240211"/>
                  <a:gd name="connsiteY52" fmla="*/ 836785 h 1335024"/>
                  <a:gd name="connsiteX53" fmla="*/ 786999 w 1240211"/>
                  <a:gd name="connsiteY53" fmla="*/ 949191 h 1335024"/>
                  <a:gd name="connsiteX54" fmla="*/ 783433 w 1240211"/>
                  <a:gd name="connsiteY54" fmla="*/ 952055 h 1335024"/>
                  <a:gd name="connsiteX55" fmla="*/ 777016 w 1240211"/>
                  <a:gd name="connsiteY55" fmla="*/ 951339 h 1335024"/>
                  <a:gd name="connsiteX56" fmla="*/ 774163 w 1240211"/>
                  <a:gd name="connsiteY56" fmla="*/ 949907 h 1335024"/>
                  <a:gd name="connsiteX57" fmla="*/ 755624 w 1240211"/>
                  <a:gd name="connsiteY57" fmla="*/ 929860 h 1335024"/>
                  <a:gd name="connsiteX58" fmla="*/ 749206 w 1240211"/>
                  <a:gd name="connsiteY58" fmla="*/ 869720 h 1335024"/>
                  <a:gd name="connsiteX59" fmla="*/ 933890 w 1240211"/>
                  <a:gd name="connsiteY59" fmla="*/ 695025 h 1335024"/>
                  <a:gd name="connsiteX60" fmla="*/ 354708 w 1240211"/>
                  <a:gd name="connsiteY60" fmla="*/ 695025 h 1335024"/>
                  <a:gd name="connsiteX61" fmla="*/ 541084 w 1240211"/>
                  <a:gd name="connsiteY61" fmla="*/ 869328 h 1335024"/>
                  <a:gd name="connsiteX62" fmla="*/ 533943 w 1240211"/>
                  <a:gd name="connsiteY62" fmla="*/ 929334 h 1335024"/>
                  <a:gd name="connsiteX63" fmla="*/ 533943 w 1240211"/>
                  <a:gd name="connsiteY63" fmla="*/ 927905 h 1335024"/>
                  <a:gd name="connsiteX64" fmla="*/ 513949 w 1240211"/>
                  <a:gd name="connsiteY64" fmla="*/ 954336 h 1335024"/>
                  <a:gd name="connsiteX65" fmla="*/ 511806 w 1240211"/>
                  <a:gd name="connsiteY65" fmla="*/ 955765 h 1335024"/>
                  <a:gd name="connsiteX66" fmla="*/ 502523 w 1240211"/>
                  <a:gd name="connsiteY66" fmla="*/ 955765 h 1335024"/>
                  <a:gd name="connsiteX67" fmla="*/ 498953 w 1240211"/>
                  <a:gd name="connsiteY67" fmla="*/ 952193 h 1335024"/>
                  <a:gd name="connsiteX68" fmla="*/ 497525 w 1240211"/>
                  <a:gd name="connsiteY68" fmla="*/ 834325 h 1335024"/>
                  <a:gd name="connsiteX69" fmla="*/ 491812 w 1240211"/>
                  <a:gd name="connsiteY69" fmla="*/ 831467 h 1335024"/>
                  <a:gd name="connsiteX70" fmla="*/ 251166 w 1240211"/>
                  <a:gd name="connsiteY70" fmla="*/ 871471 h 1335024"/>
                  <a:gd name="connsiteX71" fmla="*/ 247596 w 1240211"/>
                  <a:gd name="connsiteY71" fmla="*/ 866471 h 1335024"/>
                  <a:gd name="connsiteX72" fmla="*/ 251166 w 1240211"/>
                  <a:gd name="connsiteY72" fmla="*/ 840754 h 1335024"/>
                  <a:gd name="connsiteX73" fmla="*/ 246168 w 1240211"/>
                  <a:gd name="connsiteY73" fmla="*/ 837182 h 1335024"/>
                  <a:gd name="connsiteX74" fmla="*/ 205465 w 1240211"/>
                  <a:gd name="connsiteY74" fmla="*/ 948622 h 1335024"/>
                  <a:gd name="connsiteX75" fmla="*/ 201895 w 1240211"/>
                  <a:gd name="connsiteY75" fmla="*/ 952908 h 1335024"/>
                  <a:gd name="connsiteX76" fmla="*/ 196182 w 1240211"/>
                  <a:gd name="connsiteY76" fmla="*/ 952193 h 1335024"/>
                  <a:gd name="connsiteX77" fmla="*/ 193326 w 1240211"/>
                  <a:gd name="connsiteY77" fmla="*/ 950765 h 1335024"/>
                  <a:gd name="connsiteX78" fmla="*/ 175474 w 1240211"/>
                  <a:gd name="connsiteY78" fmla="*/ 930763 h 1335024"/>
                  <a:gd name="connsiteX79" fmla="*/ 167619 w 1240211"/>
                  <a:gd name="connsiteY79" fmla="*/ 869328 h 1335024"/>
                  <a:gd name="connsiteX80" fmla="*/ 354708 w 1240211"/>
                  <a:gd name="connsiteY80" fmla="*/ 695025 h 1335024"/>
                  <a:gd name="connsiteX81" fmla="*/ 1182213 w 1240211"/>
                  <a:gd name="connsiteY81" fmla="*/ 437671 h 1335024"/>
                  <a:gd name="connsiteX82" fmla="*/ 1235131 w 1240211"/>
                  <a:gd name="connsiteY82" fmla="*/ 539912 h 1335024"/>
                  <a:gd name="connsiteX83" fmla="*/ 1180783 w 1240211"/>
                  <a:gd name="connsiteY83" fmla="*/ 575660 h 1335024"/>
                  <a:gd name="connsiteX84" fmla="*/ 1119999 w 1240211"/>
                  <a:gd name="connsiteY84" fmla="*/ 570655 h 1335024"/>
                  <a:gd name="connsiteX85" fmla="*/ 1119999 w 1240211"/>
                  <a:gd name="connsiteY85" fmla="*/ 557786 h 1335024"/>
                  <a:gd name="connsiteX86" fmla="*/ 1182213 w 1240211"/>
                  <a:gd name="connsiteY86" fmla="*/ 437671 h 1335024"/>
                  <a:gd name="connsiteX87" fmla="*/ 759796 w 1240211"/>
                  <a:gd name="connsiteY87" fmla="*/ 436825 h 1335024"/>
                  <a:gd name="connsiteX88" fmla="*/ 822010 w 1240211"/>
                  <a:gd name="connsiteY88" fmla="*/ 557054 h 1335024"/>
                  <a:gd name="connsiteX89" fmla="*/ 822010 w 1240211"/>
                  <a:gd name="connsiteY89" fmla="*/ 570652 h 1335024"/>
                  <a:gd name="connsiteX90" fmla="*/ 761941 w 1240211"/>
                  <a:gd name="connsiteY90" fmla="*/ 575661 h 1335024"/>
                  <a:gd name="connsiteX91" fmla="*/ 706878 w 1240211"/>
                  <a:gd name="connsiteY91" fmla="*/ 539879 h 1335024"/>
                  <a:gd name="connsiteX92" fmla="*/ 759796 w 1240211"/>
                  <a:gd name="connsiteY92" fmla="*/ 436825 h 1335024"/>
                  <a:gd name="connsiteX93" fmla="*/ 971138 w 1240211"/>
                  <a:gd name="connsiteY93" fmla="*/ 0 h 1335024"/>
                  <a:gd name="connsiteX94" fmla="*/ 1192936 w 1240211"/>
                  <a:gd name="connsiteY94" fmla="*/ 224859 h 1335024"/>
                  <a:gd name="connsiteX95" fmla="*/ 1185091 w 1240211"/>
                  <a:gd name="connsiteY95" fmla="*/ 301239 h 1335024"/>
                  <a:gd name="connsiteX96" fmla="*/ 1185091 w 1240211"/>
                  <a:gd name="connsiteY96" fmla="*/ 300525 h 1335024"/>
                  <a:gd name="connsiteX97" fmla="*/ 1160843 w 1240211"/>
                  <a:gd name="connsiteY97" fmla="*/ 334790 h 1335024"/>
                  <a:gd name="connsiteX98" fmla="*/ 1158703 w 1240211"/>
                  <a:gd name="connsiteY98" fmla="*/ 335503 h 1335024"/>
                  <a:gd name="connsiteX99" fmla="*/ 1144440 w 1240211"/>
                  <a:gd name="connsiteY99" fmla="*/ 335503 h 1335024"/>
                  <a:gd name="connsiteX100" fmla="*/ 1143014 w 1240211"/>
                  <a:gd name="connsiteY100" fmla="*/ 335503 h 1335024"/>
                  <a:gd name="connsiteX101" fmla="*/ 851324 w 1240211"/>
                  <a:gd name="connsiteY101" fmla="*/ 180601 h 1335024"/>
                  <a:gd name="connsiteX102" fmla="*/ 848471 w 1240211"/>
                  <a:gd name="connsiteY102" fmla="*/ 180601 h 1335024"/>
                  <a:gd name="connsiteX103" fmla="*/ 762176 w 1240211"/>
                  <a:gd name="connsiteY103" fmla="*/ 316944 h 1335024"/>
                  <a:gd name="connsiteX104" fmla="*/ 750052 w 1240211"/>
                  <a:gd name="connsiteY104" fmla="*/ 224859 h 1335024"/>
                  <a:gd name="connsiteX105" fmla="*/ 971138 w 1240211"/>
                  <a:gd name="connsiteY105" fmla="*/ 0 h 1335024"/>
                  <a:gd name="connsiteX106" fmla="*/ 305185 w 1240211"/>
                  <a:gd name="connsiteY106" fmla="*/ 0 h 1335024"/>
                  <a:gd name="connsiteX107" fmla="*/ 525847 w 1240211"/>
                  <a:gd name="connsiteY107" fmla="*/ 226375 h 1335024"/>
                  <a:gd name="connsiteX108" fmla="*/ 517991 w 1240211"/>
                  <a:gd name="connsiteY108" fmla="*/ 302785 h 1335024"/>
                  <a:gd name="connsiteX109" fmla="*/ 492997 w 1240211"/>
                  <a:gd name="connsiteY109" fmla="*/ 337777 h 1335024"/>
                  <a:gd name="connsiteX110" fmla="*/ 476573 w 1240211"/>
                  <a:gd name="connsiteY110" fmla="*/ 337777 h 1335024"/>
                  <a:gd name="connsiteX111" fmla="*/ 474430 w 1240211"/>
                  <a:gd name="connsiteY111" fmla="*/ 171388 h 1335024"/>
                  <a:gd name="connsiteX112" fmla="*/ 183786 w 1240211"/>
                  <a:gd name="connsiteY112" fmla="*/ 181386 h 1335024"/>
                  <a:gd name="connsiteX113" fmla="*/ 129513 w 1240211"/>
                  <a:gd name="connsiteY113" fmla="*/ 334921 h 1335024"/>
                  <a:gd name="connsiteX114" fmla="*/ 114517 w 1240211"/>
                  <a:gd name="connsiteY114" fmla="*/ 333492 h 1335024"/>
                  <a:gd name="connsiteX115" fmla="*/ 92379 w 1240211"/>
                  <a:gd name="connsiteY115" fmla="*/ 305642 h 1335024"/>
                  <a:gd name="connsiteX116" fmla="*/ 92379 w 1240211"/>
                  <a:gd name="connsiteY116" fmla="*/ 304928 h 1335024"/>
                  <a:gd name="connsiteX117" fmla="*/ 83810 w 1240211"/>
                  <a:gd name="connsiteY117" fmla="*/ 226375 h 1335024"/>
                  <a:gd name="connsiteX118" fmla="*/ 305185 w 1240211"/>
                  <a:gd name="connsiteY118" fmla="*/ 0 h 13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40211" h="1335024">
                    <a:moveTo>
                      <a:pt x="803963" y="1194495"/>
                    </a:moveTo>
                    <a:cubicBezTo>
                      <a:pt x="819670" y="1213042"/>
                      <a:pt x="855370" y="1255129"/>
                      <a:pt x="933909" y="1255129"/>
                    </a:cubicBezTo>
                    <a:cubicBezTo>
                      <a:pt x="1011734" y="1255129"/>
                      <a:pt x="1043150" y="1219462"/>
                      <a:pt x="1061713" y="1194495"/>
                    </a:cubicBezTo>
                    <a:cubicBezTo>
                      <a:pt x="1072423" y="1195208"/>
                      <a:pt x="1225931" y="1215182"/>
                      <a:pt x="1239497" y="1322184"/>
                    </a:cubicBezTo>
                    <a:cubicBezTo>
                      <a:pt x="1239497" y="1323611"/>
                      <a:pt x="1239497" y="1324324"/>
                      <a:pt x="1240211" y="1325037"/>
                    </a:cubicBezTo>
                    <a:cubicBezTo>
                      <a:pt x="1240211" y="1330744"/>
                      <a:pt x="1235927" y="1335024"/>
                      <a:pt x="1230929" y="1335024"/>
                    </a:cubicBezTo>
                    <a:cubicBezTo>
                      <a:pt x="1230929" y="1335024"/>
                      <a:pt x="1230929" y="1335024"/>
                      <a:pt x="689723" y="1335024"/>
                    </a:cubicBezTo>
                    <a:cubicBezTo>
                      <a:pt x="691151" y="1330744"/>
                      <a:pt x="691151" y="1326464"/>
                      <a:pt x="691151" y="1321471"/>
                    </a:cubicBezTo>
                    <a:cubicBezTo>
                      <a:pt x="691151" y="1321471"/>
                      <a:pt x="691151" y="1321471"/>
                      <a:pt x="690437" y="1318617"/>
                    </a:cubicBezTo>
                    <a:cubicBezTo>
                      <a:pt x="686867" y="1290083"/>
                      <a:pt x="676158" y="1267256"/>
                      <a:pt x="661164" y="1248709"/>
                    </a:cubicBezTo>
                    <a:cubicBezTo>
                      <a:pt x="709001" y="1198062"/>
                      <a:pt x="796823" y="1194495"/>
                      <a:pt x="803963" y="1194495"/>
                    </a:cubicBezTo>
                    <a:close/>
                    <a:moveTo>
                      <a:pt x="223231" y="1194495"/>
                    </a:moveTo>
                    <a:cubicBezTo>
                      <a:pt x="239657" y="1213042"/>
                      <a:pt x="275367" y="1255129"/>
                      <a:pt x="353214" y="1255129"/>
                    </a:cubicBezTo>
                    <a:cubicBezTo>
                      <a:pt x="431061" y="1255129"/>
                      <a:pt x="463200" y="1219462"/>
                      <a:pt x="481054" y="1194495"/>
                    </a:cubicBezTo>
                    <a:cubicBezTo>
                      <a:pt x="491767" y="1195208"/>
                      <a:pt x="645319" y="1215182"/>
                      <a:pt x="659603" y="1322184"/>
                    </a:cubicBezTo>
                    <a:cubicBezTo>
                      <a:pt x="659603" y="1323611"/>
                      <a:pt x="659603" y="1324324"/>
                      <a:pt x="659603" y="1325037"/>
                    </a:cubicBezTo>
                    <a:cubicBezTo>
                      <a:pt x="660317" y="1330744"/>
                      <a:pt x="656032" y="1335024"/>
                      <a:pt x="650318" y="1335024"/>
                    </a:cubicBezTo>
                    <a:lnTo>
                      <a:pt x="57538" y="1335024"/>
                    </a:lnTo>
                    <a:cubicBezTo>
                      <a:pt x="52539" y="1335024"/>
                      <a:pt x="48254" y="1330744"/>
                      <a:pt x="48968" y="1325037"/>
                    </a:cubicBezTo>
                    <a:cubicBezTo>
                      <a:pt x="48968" y="1321471"/>
                      <a:pt x="49682" y="1317904"/>
                      <a:pt x="49682" y="1314337"/>
                    </a:cubicBezTo>
                    <a:cubicBezTo>
                      <a:pt x="63252" y="1200202"/>
                      <a:pt x="213946" y="1194495"/>
                      <a:pt x="223231" y="1194495"/>
                    </a:cubicBezTo>
                    <a:close/>
                    <a:moveTo>
                      <a:pt x="562116" y="806771"/>
                    </a:moveTo>
                    <a:cubicBezTo>
                      <a:pt x="639609" y="808202"/>
                      <a:pt x="708571" y="833240"/>
                      <a:pt x="708571" y="887608"/>
                    </a:cubicBezTo>
                    <a:cubicBezTo>
                      <a:pt x="708571" y="943407"/>
                      <a:pt x="680844" y="939114"/>
                      <a:pt x="680133" y="1047850"/>
                    </a:cubicBezTo>
                    <a:cubicBezTo>
                      <a:pt x="680133" y="1049996"/>
                      <a:pt x="678711" y="1051427"/>
                      <a:pt x="676578" y="1051427"/>
                    </a:cubicBezTo>
                    <a:cubicBezTo>
                      <a:pt x="637476" y="1048566"/>
                      <a:pt x="567803" y="1018520"/>
                      <a:pt x="567803" y="971306"/>
                    </a:cubicBezTo>
                    <a:cubicBezTo>
                      <a:pt x="567803" y="924807"/>
                      <a:pt x="600507" y="874731"/>
                      <a:pt x="572069" y="867577"/>
                    </a:cubicBezTo>
                    <a:cubicBezTo>
                      <a:pt x="572069" y="846116"/>
                      <a:pt x="568514" y="826086"/>
                      <a:pt x="562116" y="806771"/>
                    </a:cubicBezTo>
                    <a:close/>
                    <a:moveTo>
                      <a:pt x="146455" y="806771"/>
                    </a:moveTo>
                    <a:cubicBezTo>
                      <a:pt x="140025" y="826086"/>
                      <a:pt x="136453" y="846116"/>
                      <a:pt x="136453" y="867577"/>
                    </a:cubicBezTo>
                    <a:cubicBezTo>
                      <a:pt x="108591" y="874731"/>
                      <a:pt x="141454" y="924807"/>
                      <a:pt x="141454" y="971306"/>
                    </a:cubicBezTo>
                    <a:cubicBezTo>
                      <a:pt x="141454" y="1018520"/>
                      <a:pt x="71441" y="1048566"/>
                      <a:pt x="31434" y="1051427"/>
                    </a:cubicBezTo>
                    <a:cubicBezTo>
                      <a:pt x="30005" y="1051427"/>
                      <a:pt x="27862" y="1049996"/>
                      <a:pt x="27862" y="1047850"/>
                    </a:cubicBezTo>
                    <a:cubicBezTo>
                      <a:pt x="27148" y="939114"/>
                      <a:pt x="0" y="943407"/>
                      <a:pt x="0" y="887608"/>
                    </a:cubicBezTo>
                    <a:cubicBezTo>
                      <a:pt x="0" y="833240"/>
                      <a:pt x="68584" y="808202"/>
                      <a:pt x="146455" y="806771"/>
                    </a:cubicBezTo>
                    <a:close/>
                    <a:moveTo>
                      <a:pt x="933890" y="695025"/>
                    </a:moveTo>
                    <a:cubicBezTo>
                      <a:pt x="1039423" y="695025"/>
                      <a:pt x="1119999" y="772349"/>
                      <a:pt x="1119999" y="869720"/>
                    </a:cubicBezTo>
                    <a:cubicBezTo>
                      <a:pt x="1119999" y="889767"/>
                      <a:pt x="1119999" y="909814"/>
                      <a:pt x="1112869" y="928429"/>
                    </a:cubicBezTo>
                    <a:cubicBezTo>
                      <a:pt x="1112156" y="928429"/>
                      <a:pt x="1109303" y="937020"/>
                      <a:pt x="1092903" y="954203"/>
                    </a:cubicBezTo>
                    <a:cubicBezTo>
                      <a:pt x="1092903" y="954919"/>
                      <a:pt x="1092190" y="954919"/>
                      <a:pt x="1090051" y="954919"/>
                    </a:cubicBezTo>
                    <a:cubicBezTo>
                      <a:pt x="1090051" y="954919"/>
                      <a:pt x="1090051" y="954919"/>
                      <a:pt x="1082207" y="954919"/>
                    </a:cubicBezTo>
                    <a:cubicBezTo>
                      <a:pt x="1080781" y="954919"/>
                      <a:pt x="1078642" y="953487"/>
                      <a:pt x="1078642" y="951339"/>
                    </a:cubicBezTo>
                    <a:cubicBezTo>
                      <a:pt x="1078642" y="943464"/>
                      <a:pt x="1077928" y="917689"/>
                      <a:pt x="1077215" y="833922"/>
                    </a:cubicBezTo>
                    <a:cubicBezTo>
                      <a:pt x="1077215" y="831058"/>
                      <a:pt x="1073650" y="829626"/>
                      <a:pt x="1070798" y="831058"/>
                    </a:cubicBezTo>
                    <a:cubicBezTo>
                      <a:pt x="1045128" y="850389"/>
                      <a:pt x="985230" y="845377"/>
                      <a:pt x="980239" y="844661"/>
                    </a:cubicBezTo>
                    <a:cubicBezTo>
                      <a:pt x="980239" y="844661"/>
                      <a:pt x="980239" y="844661"/>
                      <a:pt x="903228" y="853969"/>
                    </a:cubicBezTo>
                    <a:cubicBezTo>
                      <a:pt x="899663" y="853969"/>
                      <a:pt x="898237" y="850389"/>
                      <a:pt x="899663" y="848957"/>
                    </a:cubicBezTo>
                    <a:cubicBezTo>
                      <a:pt x="903228" y="843229"/>
                      <a:pt x="906793" y="836785"/>
                      <a:pt x="909646" y="831058"/>
                    </a:cubicBezTo>
                    <a:cubicBezTo>
                      <a:pt x="910359" y="828194"/>
                      <a:pt x="906793" y="825330"/>
                      <a:pt x="903941" y="826762"/>
                    </a:cubicBezTo>
                    <a:cubicBezTo>
                      <a:pt x="881836" y="843229"/>
                      <a:pt x="846896" y="860412"/>
                      <a:pt x="832635" y="867572"/>
                    </a:cubicBezTo>
                    <a:cubicBezTo>
                      <a:pt x="829782" y="869720"/>
                      <a:pt x="827643" y="866856"/>
                      <a:pt x="828356" y="863992"/>
                    </a:cubicBezTo>
                    <a:cubicBezTo>
                      <a:pt x="828356" y="863992"/>
                      <a:pt x="828356" y="863992"/>
                      <a:pt x="831922" y="839649"/>
                    </a:cubicBezTo>
                    <a:cubicBezTo>
                      <a:pt x="831922" y="837501"/>
                      <a:pt x="829069" y="835354"/>
                      <a:pt x="826217" y="836785"/>
                    </a:cubicBezTo>
                    <a:cubicBezTo>
                      <a:pt x="784146" y="854685"/>
                      <a:pt x="785572" y="930576"/>
                      <a:pt x="786999" y="949191"/>
                    </a:cubicBezTo>
                    <a:cubicBezTo>
                      <a:pt x="786999" y="950623"/>
                      <a:pt x="784859" y="952055"/>
                      <a:pt x="783433" y="952055"/>
                    </a:cubicBezTo>
                    <a:cubicBezTo>
                      <a:pt x="783433" y="952055"/>
                      <a:pt x="783433" y="952055"/>
                      <a:pt x="777016" y="951339"/>
                    </a:cubicBezTo>
                    <a:cubicBezTo>
                      <a:pt x="776303" y="951339"/>
                      <a:pt x="774163" y="950623"/>
                      <a:pt x="774163" y="949907"/>
                    </a:cubicBezTo>
                    <a:cubicBezTo>
                      <a:pt x="772737" y="947044"/>
                      <a:pt x="769172" y="939884"/>
                      <a:pt x="755624" y="929860"/>
                    </a:cubicBezTo>
                    <a:cubicBezTo>
                      <a:pt x="749206" y="910530"/>
                      <a:pt x="749206" y="889767"/>
                      <a:pt x="749206" y="869720"/>
                    </a:cubicBezTo>
                    <a:cubicBezTo>
                      <a:pt x="749206" y="772349"/>
                      <a:pt x="829069" y="695025"/>
                      <a:pt x="933890" y="695025"/>
                    </a:cubicBezTo>
                    <a:close/>
                    <a:moveTo>
                      <a:pt x="354708" y="695025"/>
                    </a:moveTo>
                    <a:cubicBezTo>
                      <a:pt x="460392" y="695025"/>
                      <a:pt x="541084" y="773604"/>
                      <a:pt x="541084" y="869328"/>
                    </a:cubicBezTo>
                    <a:cubicBezTo>
                      <a:pt x="541084" y="890044"/>
                      <a:pt x="541798" y="910046"/>
                      <a:pt x="533943" y="929334"/>
                    </a:cubicBezTo>
                    <a:cubicBezTo>
                      <a:pt x="533943" y="927905"/>
                      <a:pt x="533943" y="927905"/>
                      <a:pt x="533943" y="927905"/>
                    </a:cubicBezTo>
                    <a:cubicBezTo>
                      <a:pt x="533943" y="929334"/>
                      <a:pt x="530372" y="936478"/>
                      <a:pt x="513949" y="954336"/>
                    </a:cubicBezTo>
                    <a:cubicBezTo>
                      <a:pt x="513234" y="955051"/>
                      <a:pt x="512520" y="955765"/>
                      <a:pt x="511806" y="955765"/>
                    </a:cubicBezTo>
                    <a:cubicBezTo>
                      <a:pt x="511806" y="955765"/>
                      <a:pt x="511806" y="955765"/>
                      <a:pt x="502523" y="955765"/>
                    </a:cubicBezTo>
                    <a:cubicBezTo>
                      <a:pt x="501095" y="955765"/>
                      <a:pt x="498953" y="954336"/>
                      <a:pt x="498953" y="952193"/>
                    </a:cubicBezTo>
                    <a:cubicBezTo>
                      <a:pt x="498953" y="944335"/>
                      <a:pt x="498953" y="917904"/>
                      <a:pt x="497525" y="834325"/>
                    </a:cubicBezTo>
                    <a:cubicBezTo>
                      <a:pt x="497525" y="831467"/>
                      <a:pt x="494668" y="829324"/>
                      <a:pt x="491812" y="831467"/>
                    </a:cubicBezTo>
                    <a:cubicBezTo>
                      <a:pt x="454680" y="852898"/>
                      <a:pt x="281158" y="868614"/>
                      <a:pt x="251166" y="871471"/>
                    </a:cubicBezTo>
                    <a:cubicBezTo>
                      <a:pt x="248310" y="871471"/>
                      <a:pt x="246168" y="869328"/>
                      <a:pt x="247596" y="866471"/>
                    </a:cubicBezTo>
                    <a:cubicBezTo>
                      <a:pt x="247596" y="866471"/>
                      <a:pt x="247596" y="866471"/>
                      <a:pt x="251166" y="840754"/>
                    </a:cubicBezTo>
                    <a:cubicBezTo>
                      <a:pt x="251880" y="838611"/>
                      <a:pt x="249024" y="835753"/>
                      <a:pt x="246168" y="837182"/>
                    </a:cubicBezTo>
                    <a:cubicBezTo>
                      <a:pt x="203323" y="855755"/>
                      <a:pt x="204751" y="930763"/>
                      <a:pt x="205465" y="948622"/>
                    </a:cubicBezTo>
                    <a:cubicBezTo>
                      <a:pt x="206893" y="951479"/>
                      <a:pt x="204037" y="952908"/>
                      <a:pt x="201895" y="952908"/>
                    </a:cubicBezTo>
                    <a:cubicBezTo>
                      <a:pt x="201895" y="952908"/>
                      <a:pt x="201895" y="952908"/>
                      <a:pt x="196182" y="952193"/>
                    </a:cubicBezTo>
                    <a:cubicBezTo>
                      <a:pt x="194754" y="952193"/>
                      <a:pt x="194040" y="951479"/>
                      <a:pt x="193326" y="950765"/>
                    </a:cubicBezTo>
                    <a:cubicBezTo>
                      <a:pt x="192612" y="947193"/>
                      <a:pt x="188327" y="941478"/>
                      <a:pt x="175474" y="930763"/>
                    </a:cubicBezTo>
                    <a:cubicBezTo>
                      <a:pt x="167619" y="911475"/>
                      <a:pt x="167619" y="890759"/>
                      <a:pt x="167619" y="869328"/>
                    </a:cubicBezTo>
                    <a:cubicBezTo>
                      <a:pt x="167619" y="773604"/>
                      <a:pt x="249024" y="695025"/>
                      <a:pt x="354708" y="695025"/>
                    </a:cubicBezTo>
                    <a:close/>
                    <a:moveTo>
                      <a:pt x="1182213" y="437671"/>
                    </a:moveTo>
                    <a:cubicBezTo>
                      <a:pt x="1185074" y="479854"/>
                      <a:pt x="1192225" y="535622"/>
                      <a:pt x="1235131" y="539912"/>
                    </a:cubicBezTo>
                    <a:cubicBezTo>
                      <a:pt x="1216539" y="559216"/>
                      <a:pt x="1197946" y="569940"/>
                      <a:pt x="1180783" y="575660"/>
                    </a:cubicBezTo>
                    <a:cubicBezTo>
                      <a:pt x="1155755" y="572800"/>
                      <a:pt x="1132871" y="571370"/>
                      <a:pt x="1119999" y="570655"/>
                    </a:cubicBezTo>
                    <a:cubicBezTo>
                      <a:pt x="1119999" y="570655"/>
                      <a:pt x="1119999" y="570655"/>
                      <a:pt x="1119999" y="557786"/>
                    </a:cubicBezTo>
                    <a:cubicBezTo>
                      <a:pt x="1135732" y="539197"/>
                      <a:pt x="1156470" y="499158"/>
                      <a:pt x="1182213" y="437671"/>
                    </a:cubicBezTo>
                    <a:close/>
                    <a:moveTo>
                      <a:pt x="759796" y="436825"/>
                    </a:moveTo>
                    <a:cubicBezTo>
                      <a:pt x="785540" y="498371"/>
                      <a:pt x="806278" y="539163"/>
                      <a:pt x="822010" y="557054"/>
                    </a:cubicBezTo>
                    <a:lnTo>
                      <a:pt x="822010" y="570652"/>
                    </a:lnTo>
                    <a:cubicBezTo>
                      <a:pt x="809138" y="571367"/>
                      <a:pt x="786970" y="572799"/>
                      <a:pt x="761941" y="575661"/>
                    </a:cubicBezTo>
                    <a:cubicBezTo>
                      <a:pt x="744778" y="569936"/>
                      <a:pt x="726186" y="559201"/>
                      <a:pt x="706878" y="539879"/>
                    </a:cubicBezTo>
                    <a:cubicBezTo>
                      <a:pt x="750500" y="535585"/>
                      <a:pt x="757651" y="479048"/>
                      <a:pt x="759796" y="436825"/>
                    </a:cubicBezTo>
                    <a:close/>
                    <a:moveTo>
                      <a:pt x="971138" y="0"/>
                    </a:moveTo>
                    <a:cubicBezTo>
                      <a:pt x="1096657" y="0"/>
                      <a:pt x="1192936" y="100651"/>
                      <a:pt x="1192936" y="224859"/>
                    </a:cubicBezTo>
                    <a:cubicBezTo>
                      <a:pt x="1192936" y="251271"/>
                      <a:pt x="1193649" y="276969"/>
                      <a:pt x="1185091" y="301239"/>
                    </a:cubicBezTo>
                    <a:cubicBezTo>
                      <a:pt x="1185091" y="301239"/>
                      <a:pt x="1185091" y="300525"/>
                      <a:pt x="1185091" y="300525"/>
                    </a:cubicBezTo>
                    <a:cubicBezTo>
                      <a:pt x="1184378" y="301239"/>
                      <a:pt x="1180812" y="311947"/>
                      <a:pt x="1160843" y="334790"/>
                    </a:cubicBezTo>
                    <a:cubicBezTo>
                      <a:pt x="1160130" y="335503"/>
                      <a:pt x="1159417" y="335503"/>
                      <a:pt x="1158703" y="335503"/>
                    </a:cubicBezTo>
                    <a:cubicBezTo>
                      <a:pt x="1158703" y="335503"/>
                      <a:pt x="1158703" y="335503"/>
                      <a:pt x="1144440" y="335503"/>
                    </a:cubicBezTo>
                    <a:cubicBezTo>
                      <a:pt x="1143727" y="335503"/>
                      <a:pt x="1143727" y="335503"/>
                      <a:pt x="1143014" y="335503"/>
                    </a:cubicBezTo>
                    <a:cubicBezTo>
                      <a:pt x="1143014" y="335503"/>
                      <a:pt x="1143014" y="335503"/>
                      <a:pt x="851324" y="180601"/>
                    </a:cubicBezTo>
                    <a:cubicBezTo>
                      <a:pt x="850610" y="180601"/>
                      <a:pt x="849184" y="180601"/>
                      <a:pt x="848471" y="180601"/>
                    </a:cubicBezTo>
                    <a:cubicBezTo>
                      <a:pt x="783572" y="202016"/>
                      <a:pt x="784285" y="336931"/>
                      <a:pt x="762176" y="316944"/>
                    </a:cubicBezTo>
                    <a:cubicBezTo>
                      <a:pt x="752905" y="292673"/>
                      <a:pt x="750052" y="252698"/>
                      <a:pt x="750052" y="224859"/>
                    </a:cubicBezTo>
                    <a:cubicBezTo>
                      <a:pt x="750052" y="100651"/>
                      <a:pt x="846331" y="0"/>
                      <a:pt x="971138" y="0"/>
                    </a:cubicBezTo>
                    <a:close/>
                    <a:moveTo>
                      <a:pt x="305185" y="0"/>
                    </a:moveTo>
                    <a:cubicBezTo>
                      <a:pt x="430155" y="0"/>
                      <a:pt x="525847" y="101405"/>
                      <a:pt x="525847" y="226375"/>
                    </a:cubicBezTo>
                    <a:cubicBezTo>
                      <a:pt x="525847" y="253511"/>
                      <a:pt x="526561" y="279220"/>
                      <a:pt x="517991" y="302785"/>
                    </a:cubicBezTo>
                    <a:cubicBezTo>
                      <a:pt x="517277" y="302785"/>
                      <a:pt x="513707" y="314211"/>
                      <a:pt x="492997" y="337777"/>
                    </a:cubicBezTo>
                    <a:cubicBezTo>
                      <a:pt x="492997" y="337777"/>
                      <a:pt x="492997" y="337777"/>
                      <a:pt x="476573" y="337777"/>
                    </a:cubicBezTo>
                    <a:cubicBezTo>
                      <a:pt x="476573" y="337777"/>
                      <a:pt x="476573" y="329922"/>
                      <a:pt x="474430" y="171388"/>
                    </a:cubicBezTo>
                    <a:cubicBezTo>
                      <a:pt x="449436" y="298501"/>
                      <a:pt x="183786" y="181386"/>
                      <a:pt x="183786" y="181386"/>
                    </a:cubicBezTo>
                    <a:cubicBezTo>
                      <a:pt x="117373" y="202095"/>
                      <a:pt x="129513" y="334921"/>
                      <a:pt x="129513" y="334921"/>
                    </a:cubicBezTo>
                    <a:cubicBezTo>
                      <a:pt x="129513" y="334921"/>
                      <a:pt x="129513" y="334921"/>
                      <a:pt x="114517" y="333492"/>
                    </a:cubicBezTo>
                    <a:cubicBezTo>
                      <a:pt x="114517" y="333492"/>
                      <a:pt x="114517" y="325637"/>
                      <a:pt x="92379" y="305642"/>
                    </a:cubicBezTo>
                    <a:cubicBezTo>
                      <a:pt x="92379" y="305642"/>
                      <a:pt x="92379" y="305642"/>
                      <a:pt x="92379" y="304928"/>
                    </a:cubicBezTo>
                    <a:cubicBezTo>
                      <a:pt x="83810" y="280648"/>
                      <a:pt x="83810" y="254226"/>
                      <a:pt x="83810" y="226375"/>
                    </a:cubicBezTo>
                    <a:cubicBezTo>
                      <a:pt x="83810" y="101405"/>
                      <a:pt x="179501" y="0"/>
                      <a:pt x="305185" y="0"/>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10" name="Freeform 25">
                <a:extLst>
                  <a:ext uri="{FF2B5EF4-FFF2-40B4-BE49-F238E27FC236}">
                    <a16:creationId xmlns:a16="http://schemas.microsoft.com/office/drawing/2014/main" id="{BA7F2017-E6C5-4E98-8D75-F9871C97FE05}"/>
                  </a:ext>
                </a:extLst>
              </p:cNvPr>
              <p:cNvSpPr>
                <a:spLocks/>
              </p:cNvSpPr>
              <p:nvPr/>
            </p:nvSpPr>
            <p:spPr bwMode="auto">
              <a:xfrm>
                <a:off x="5336392" y="3091644"/>
                <a:ext cx="1517035" cy="989628"/>
              </a:xfrm>
              <a:custGeom>
                <a:avLst/>
                <a:gdLst>
                  <a:gd name="connsiteX0" fmla="*/ 839709 w 1517035"/>
                  <a:gd name="connsiteY0" fmla="*/ 628147 h 989628"/>
                  <a:gd name="connsiteX1" fmla="*/ 870359 w 1517035"/>
                  <a:gd name="connsiteY1" fmla="*/ 685320 h 989628"/>
                  <a:gd name="connsiteX2" fmla="*/ 915978 w 1517035"/>
                  <a:gd name="connsiteY2" fmla="*/ 788946 h 989628"/>
                  <a:gd name="connsiteX3" fmla="*/ 915978 w 1517035"/>
                  <a:gd name="connsiteY3" fmla="*/ 817532 h 989628"/>
                  <a:gd name="connsiteX4" fmla="*/ 826879 w 1517035"/>
                  <a:gd name="connsiteY4" fmla="*/ 836828 h 989628"/>
                  <a:gd name="connsiteX5" fmla="*/ 759164 w 1517035"/>
                  <a:gd name="connsiteY5" fmla="*/ 880422 h 989628"/>
                  <a:gd name="connsiteX6" fmla="*/ 613756 w 1517035"/>
                  <a:gd name="connsiteY6" fmla="*/ 818247 h 989628"/>
                  <a:gd name="connsiteX7" fmla="*/ 613756 w 1517035"/>
                  <a:gd name="connsiteY7" fmla="*/ 788946 h 989628"/>
                  <a:gd name="connsiteX8" fmla="*/ 658661 w 1517035"/>
                  <a:gd name="connsiteY8" fmla="*/ 685320 h 989628"/>
                  <a:gd name="connsiteX9" fmla="*/ 670779 w 1517035"/>
                  <a:gd name="connsiteY9" fmla="*/ 671741 h 989628"/>
                  <a:gd name="connsiteX10" fmla="*/ 794804 w 1517035"/>
                  <a:gd name="connsiteY10" fmla="*/ 736775 h 989628"/>
                  <a:gd name="connsiteX11" fmla="*/ 796229 w 1517035"/>
                  <a:gd name="connsiteY11" fmla="*/ 736775 h 989628"/>
                  <a:gd name="connsiteX12" fmla="*/ 796942 w 1517035"/>
                  <a:gd name="connsiteY12" fmla="*/ 736775 h 989628"/>
                  <a:gd name="connsiteX13" fmla="*/ 831869 w 1517035"/>
                  <a:gd name="connsiteY13" fmla="*/ 702472 h 989628"/>
                  <a:gd name="connsiteX14" fmla="*/ 839709 w 1517035"/>
                  <a:gd name="connsiteY14" fmla="*/ 628147 h 989628"/>
                  <a:gd name="connsiteX15" fmla="*/ 877036 w 1517035"/>
                  <a:gd name="connsiteY15" fmla="*/ 623914 h 989628"/>
                  <a:gd name="connsiteX16" fmla="*/ 903452 w 1517035"/>
                  <a:gd name="connsiteY16" fmla="*/ 636077 h 989628"/>
                  <a:gd name="connsiteX17" fmla="*/ 914876 w 1517035"/>
                  <a:gd name="connsiteY17" fmla="*/ 647525 h 989628"/>
                  <a:gd name="connsiteX18" fmla="*/ 919874 w 1517035"/>
                  <a:gd name="connsiteY18" fmla="*/ 652533 h 989628"/>
                  <a:gd name="connsiteX19" fmla="*/ 970565 w 1517035"/>
                  <a:gd name="connsiteY19" fmla="*/ 768441 h 989628"/>
                  <a:gd name="connsiteX20" fmla="*/ 1054813 w 1517035"/>
                  <a:gd name="connsiteY20" fmla="*/ 814947 h 989628"/>
                  <a:gd name="connsiteX21" fmla="*/ 1139062 w 1517035"/>
                  <a:gd name="connsiteY21" fmla="*/ 768441 h 989628"/>
                  <a:gd name="connsiteX22" fmla="*/ 1189753 w 1517035"/>
                  <a:gd name="connsiteY22" fmla="*/ 652533 h 989628"/>
                  <a:gd name="connsiteX23" fmla="*/ 1194037 w 1517035"/>
                  <a:gd name="connsiteY23" fmla="*/ 647525 h 989628"/>
                  <a:gd name="connsiteX24" fmla="*/ 1206174 w 1517035"/>
                  <a:gd name="connsiteY24" fmla="*/ 636793 h 989628"/>
                  <a:gd name="connsiteX25" fmla="*/ 1232591 w 1517035"/>
                  <a:gd name="connsiteY25" fmla="*/ 623914 h 989628"/>
                  <a:gd name="connsiteX26" fmla="*/ 1209030 w 1517035"/>
                  <a:gd name="connsiteY26" fmla="*/ 661835 h 989628"/>
                  <a:gd name="connsiteX27" fmla="*/ 1207602 w 1517035"/>
                  <a:gd name="connsiteY27" fmla="*/ 663266 h 989628"/>
                  <a:gd name="connsiteX28" fmla="*/ 1206888 w 1517035"/>
                  <a:gd name="connsiteY28" fmla="*/ 664697 h 989628"/>
                  <a:gd name="connsiteX29" fmla="*/ 1157625 w 1517035"/>
                  <a:gd name="connsiteY29" fmla="*/ 777027 h 989628"/>
                  <a:gd name="connsiteX30" fmla="*/ 1156197 w 1517035"/>
                  <a:gd name="connsiteY30" fmla="*/ 778458 h 989628"/>
                  <a:gd name="connsiteX31" fmla="*/ 1156197 w 1517035"/>
                  <a:gd name="connsiteY31" fmla="*/ 779889 h 989628"/>
                  <a:gd name="connsiteX32" fmla="*/ 1156197 w 1517035"/>
                  <a:gd name="connsiteY32" fmla="*/ 820671 h 989628"/>
                  <a:gd name="connsiteX33" fmla="*/ 1151913 w 1517035"/>
                  <a:gd name="connsiteY33" fmla="*/ 827111 h 989628"/>
                  <a:gd name="connsiteX34" fmla="*/ 1136206 w 1517035"/>
                  <a:gd name="connsiteY34" fmla="*/ 845713 h 989628"/>
                  <a:gd name="connsiteX35" fmla="*/ 1136206 w 1517035"/>
                  <a:gd name="connsiteY35" fmla="*/ 807793 h 989628"/>
                  <a:gd name="connsiteX36" fmla="*/ 1136206 w 1517035"/>
                  <a:gd name="connsiteY36" fmla="*/ 797060 h 989628"/>
                  <a:gd name="connsiteX37" fmla="*/ 1127638 w 1517035"/>
                  <a:gd name="connsiteY37" fmla="*/ 802784 h 989628"/>
                  <a:gd name="connsiteX38" fmla="*/ 1054813 w 1517035"/>
                  <a:gd name="connsiteY38" fmla="*/ 834981 h 989628"/>
                  <a:gd name="connsiteX39" fmla="*/ 981989 w 1517035"/>
                  <a:gd name="connsiteY39" fmla="*/ 803500 h 989628"/>
                  <a:gd name="connsiteX40" fmla="*/ 973421 w 1517035"/>
                  <a:gd name="connsiteY40" fmla="*/ 797060 h 989628"/>
                  <a:gd name="connsiteX41" fmla="*/ 973421 w 1517035"/>
                  <a:gd name="connsiteY41" fmla="*/ 807793 h 989628"/>
                  <a:gd name="connsiteX42" fmla="*/ 973421 w 1517035"/>
                  <a:gd name="connsiteY42" fmla="*/ 845713 h 989628"/>
                  <a:gd name="connsiteX43" fmla="*/ 953430 w 1517035"/>
                  <a:gd name="connsiteY43" fmla="*/ 825680 h 989628"/>
                  <a:gd name="connsiteX44" fmla="*/ 953430 w 1517035"/>
                  <a:gd name="connsiteY44" fmla="*/ 780604 h 989628"/>
                  <a:gd name="connsiteX45" fmla="*/ 953430 w 1517035"/>
                  <a:gd name="connsiteY45" fmla="*/ 778458 h 989628"/>
                  <a:gd name="connsiteX46" fmla="*/ 952002 w 1517035"/>
                  <a:gd name="connsiteY46" fmla="*/ 777027 h 989628"/>
                  <a:gd name="connsiteX47" fmla="*/ 902739 w 1517035"/>
                  <a:gd name="connsiteY47" fmla="*/ 664697 h 989628"/>
                  <a:gd name="connsiteX48" fmla="*/ 902025 w 1517035"/>
                  <a:gd name="connsiteY48" fmla="*/ 663266 h 989628"/>
                  <a:gd name="connsiteX49" fmla="*/ 900597 w 1517035"/>
                  <a:gd name="connsiteY49" fmla="*/ 661835 h 989628"/>
                  <a:gd name="connsiteX50" fmla="*/ 877036 w 1517035"/>
                  <a:gd name="connsiteY50" fmla="*/ 623914 h 989628"/>
                  <a:gd name="connsiteX51" fmla="*/ 296296 w 1517035"/>
                  <a:gd name="connsiteY51" fmla="*/ 623914 h 989628"/>
                  <a:gd name="connsiteX52" fmla="*/ 322712 w 1517035"/>
                  <a:gd name="connsiteY52" fmla="*/ 636077 h 989628"/>
                  <a:gd name="connsiteX53" fmla="*/ 334850 w 1517035"/>
                  <a:gd name="connsiteY53" fmla="*/ 647525 h 989628"/>
                  <a:gd name="connsiteX54" fmla="*/ 339134 w 1517035"/>
                  <a:gd name="connsiteY54" fmla="*/ 652533 h 989628"/>
                  <a:gd name="connsiteX55" fmla="*/ 389825 w 1517035"/>
                  <a:gd name="connsiteY55" fmla="*/ 768441 h 989628"/>
                  <a:gd name="connsiteX56" fmla="*/ 474073 w 1517035"/>
                  <a:gd name="connsiteY56" fmla="*/ 814947 h 989628"/>
                  <a:gd name="connsiteX57" fmla="*/ 558321 w 1517035"/>
                  <a:gd name="connsiteY57" fmla="*/ 768441 h 989628"/>
                  <a:gd name="connsiteX58" fmla="*/ 609013 w 1517035"/>
                  <a:gd name="connsiteY58" fmla="*/ 652533 h 989628"/>
                  <a:gd name="connsiteX59" fmla="*/ 614011 w 1517035"/>
                  <a:gd name="connsiteY59" fmla="*/ 647525 h 989628"/>
                  <a:gd name="connsiteX60" fmla="*/ 625434 w 1517035"/>
                  <a:gd name="connsiteY60" fmla="*/ 636793 h 989628"/>
                  <a:gd name="connsiteX61" fmla="*/ 651851 w 1517035"/>
                  <a:gd name="connsiteY61" fmla="*/ 623914 h 989628"/>
                  <a:gd name="connsiteX62" fmla="*/ 628290 w 1517035"/>
                  <a:gd name="connsiteY62" fmla="*/ 661835 h 989628"/>
                  <a:gd name="connsiteX63" fmla="*/ 626862 w 1517035"/>
                  <a:gd name="connsiteY63" fmla="*/ 663266 h 989628"/>
                  <a:gd name="connsiteX64" fmla="*/ 626148 w 1517035"/>
                  <a:gd name="connsiteY64" fmla="*/ 664697 h 989628"/>
                  <a:gd name="connsiteX65" fmla="*/ 576884 w 1517035"/>
                  <a:gd name="connsiteY65" fmla="*/ 777027 h 989628"/>
                  <a:gd name="connsiteX66" fmla="*/ 576170 w 1517035"/>
                  <a:gd name="connsiteY66" fmla="*/ 778458 h 989628"/>
                  <a:gd name="connsiteX67" fmla="*/ 576170 w 1517035"/>
                  <a:gd name="connsiteY67" fmla="*/ 779889 h 989628"/>
                  <a:gd name="connsiteX68" fmla="*/ 576170 w 1517035"/>
                  <a:gd name="connsiteY68" fmla="*/ 820671 h 989628"/>
                  <a:gd name="connsiteX69" fmla="*/ 571173 w 1517035"/>
                  <a:gd name="connsiteY69" fmla="*/ 827111 h 989628"/>
                  <a:gd name="connsiteX70" fmla="*/ 556179 w 1517035"/>
                  <a:gd name="connsiteY70" fmla="*/ 845713 h 989628"/>
                  <a:gd name="connsiteX71" fmla="*/ 556179 w 1517035"/>
                  <a:gd name="connsiteY71" fmla="*/ 807793 h 989628"/>
                  <a:gd name="connsiteX72" fmla="*/ 556179 w 1517035"/>
                  <a:gd name="connsiteY72" fmla="*/ 797060 h 989628"/>
                  <a:gd name="connsiteX73" fmla="*/ 546898 w 1517035"/>
                  <a:gd name="connsiteY73" fmla="*/ 802784 h 989628"/>
                  <a:gd name="connsiteX74" fmla="*/ 474073 w 1517035"/>
                  <a:gd name="connsiteY74" fmla="*/ 834981 h 989628"/>
                  <a:gd name="connsiteX75" fmla="*/ 401963 w 1517035"/>
                  <a:gd name="connsiteY75" fmla="*/ 803500 h 989628"/>
                  <a:gd name="connsiteX76" fmla="*/ 392681 w 1517035"/>
                  <a:gd name="connsiteY76" fmla="*/ 797060 h 989628"/>
                  <a:gd name="connsiteX77" fmla="*/ 392681 w 1517035"/>
                  <a:gd name="connsiteY77" fmla="*/ 807793 h 989628"/>
                  <a:gd name="connsiteX78" fmla="*/ 392681 w 1517035"/>
                  <a:gd name="connsiteY78" fmla="*/ 845713 h 989628"/>
                  <a:gd name="connsiteX79" fmla="*/ 372690 w 1517035"/>
                  <a:gd name="connsiteY79" fmla="*/ 825680 h 989628"/>
                  <a:gd name="connsiteX80" fmla="*/ 372690 w 1517035"/>
                  <a:gd name="connsiteY80" fmla="*/ 780604 h 989628"/>
                  <a:gd name="connsiteX81" fmla="*/ 372690 w 1517035"/>
                  <a:gd name="connsiteY81" fmla="*/ 778458 h 989628"/>
                  <a:gd name="connsiteX82" fmla="*/ 371976 w 1517035"/>
                  <a:gd name="connsiteY82" fmla="*/ 777027 h 989628"/>
                  <a:gd name="connsiteX83" fmla="*/ 321999 w 1517035"/>
                  <a:gd name="connsiteY83" fmla="*/ 664697 h 989628"/>
                  <a:gd name="connsiteX84" fmla="*/ 321999 w 1517035"/>
                  <a:gd name="connsiteY84" fmla="*/ 663266 h 989628"/>
                  <a:gd name="connsiteX85" fmla="*/ 319857 w 1517035"/>
                  <a:gd name="connsiteY85" fmla="*/ 661835 h 989628"/>
                  <a:gd name="connsiteX86" fmla="*/ 296296 w 1517035"/>
                  <a:gd name="connsiteY86" fmla="*/ 623914 h 989628"/>
                  <a:gd name="connsiteX87" fmla="*/ 1228184 w 1517035"/>
                  <a:gd name="connsiteY87" fmla="*/ 256508 h 989628"/>
                  <a:gd name="connsiteX88" fmla="*/ 1409789 w 1517035"/>
                  <a:gd name="connsiteY88" fmla="*/ 287204 h 989628"/>
                  <a:gd name="connsiteX89" fmla="*/ 1465557 w 1517035"/>
                  <a:gd name="connsiteY89" fmla="*/ 340742 h 989628"/>
                  <a:gd name="connsiteX90" fmla="*/ 1517035 w 1517035"/>
                  <a:gd name="connsiteY90" fmla="*/ 514920 h 989628"/>
                  <a:gd name="connsiteX91" fmla="*/ 1517035 w 1517035"/>
                  <a:gd name="connsiteY91" fmla="*/ 973924 h 989628"/>
                  <a:gd name="connsiteX92" fmla="*/ 1501306 w 1517035"/>
                  <a:gd name="connsiteY92" fmla="*/ 989628 h 989628"/>
                  <a:gd name="connsiteX93" fmla="*/ 1390484 w 1517035"/>
                  <a:gd name="connsiteY93" fmla="*/ 989628 h 989628"/>
                  <a:gd name="connsiteX94" fmla="*/ 1391199 w 1517035"/>
                  <a:gd name="connsiteY94" fmla="*/ 976065 h 989628"/>
                  <a:gd name="connsiteX95" fmla="*/ 1391199 w 1517035"/>
                  <a:gd name="connsiteY95" fmla="*/ 973210 h 989628"/>
                  <a:gd name="connsiteX96" fmla="*/ 1193150 w 1517035"/>
                  <a:gd name="connsiteY96" fmla="*/ 818305 h 989628"/>
                  <a:gd name="connsiteX97" fmla="*/ 1193150 w 1517035"/>
                  <a:gd name="connsiteY97" fmla="*/ 789037 h 989628"/>
                  <a:gd name="connsiteX98" fmla="*/ 1238194 w 1517035"/>
                  <a:gd name="connsiteY98" fmla="*/ 685530 h 989628"/>
                  <a:gd name="connsiteX99" fmla="*/ 1270368 w 1517035"/>
                  <a:gd name="connsiteY99" fmla="*/ 621997 h 989628"/>
                  <a:gd name="connsiteX100" fmla="*/ 1258213 w 1517035"/>
                  <a:gd name="connsiteY100" fmla="*/ 604865 h 989628"/>
                  <a:gd name="connsiteX101" fmla="*/ 1262503 w 1517035"/>
                  <a:gd name="connsiteY101" fmla="*/ 594157 h 989628"/>
                  <a:gd name="connsiteX102" fmla="*/ 1271798 w 1517035"/>
                  <a:gd name="connsiteY102" fmla="*/ 524200 h 989628"/>
                  <a:gd name="connsiteX103" fmla="*/ 1135237 w 1517035"/>
                  <a:gd name="connsiteY103" fmla="*/ 332890 h 989628"/>
                  <a:gd name="connsiteX104" fmla="*/ 1228184 w 1517035"/>
                  <a:gd name="connsiteY104" fmla="*/ 256508 h 989628"/>
                  <a:gd name="connsiteX105" fmla="*/ 954690 w 1517035"/>
                  <a:gd name="connsiteY105" fmla="*/ 256508 h 989628"/>
                  <a:gd name="connsiteX106" fmla="*/ 1031110 w 1517035"/>
                  <a:gd name="connsiteY106" fmla="*/ 319365 h 989628"/>
                  <a:gd name="connsiteX107" fmla="*/ 868271 w 1517035"/>
                  <a:gd name="connsiteY107" fmla="*/ 416508 h 989628"/>
                  <a:gd name="connsiteX108" fmla="*/ 824704 w 1517035"/>
                  <a:gd name="connsiteY108" fmla="*/ 323651 h 989628"/>
                  <a:gd name="connsiteX109" fmla="*/ 788994 w 1517035"/>
                  <a:gd name="connsiteY109" fmla="*/ 280794 h 989628"/>
                  <a:gd name="connsiteX110" fmla="*/ 954690 w 1517035"/>
                  <a:gd name="connsiteY110" fmla="*/ 256508 h 989628"/>
                  <a:gd name="connsiteX111" fmla="*/ 561890 w 1517035"/>
                  <a:gd name="connsiteY111" fmla="*/ 256508 h 989628"/>
                  <a:gd name="connsiteX112" fmla="*/ 744279 w 1517035"/>
                  <a:gd name="connsiteY112" fmla="*/ 287258 h 989628"/>
                  <a:gd name="connsiteX113" fmla="*/ 799353 w 1517035"/>
                  <a:gd name="connsiteY113" fmla="*/ 340891 h 989628"/>
                  <a:gd name="connsiteX114" fmla="*/ 846560 w 1517035"/>
                  <a:gd name="connsiteY114" fmla="*/ 463889 h 989628"/>
                  <a:gd name="connsiteX115" fmla="*/ 840838 w 1517035"/>
                  <a:gd name="connsiteY115" fmla="*/ 486772 h 989628"/>
                  <a:gd name="connsiteX116" fmla="*/ 678476 w 1517035"/>
                  <a:gd name="connsiteY116" fmla="*/ 429564 h 989628"/>
                  <a:gd name="connsiteX117" fmla="*/ 677761 w 1517035"/>
                  <a:gd name="connsiteY117" fmla="*/ 429564 h 989628"/>
                  <a:gd name="connsiteX118" fmla="*/ 669178 w 1517035"/>
                  <a:gd name="connsiteY118" fmla="*/ 430994 h 989628"/>
                  <a:gd name="connsiteX119" fmla="*/ 629124 w 1517035"/>
                  <a:gd name="connsiteY119" fmla="*/ 378791 h 989628"/>
                  <a:gd name="connsiteX120" fmla="*/ 474630 w 1517035"/>
                  <a:gd name="connsiteY120" fmla="*/ 318722 h 989628"/>
                  <a:gd name="connsiteX121" fmla="*/ 454603 w 1517035"/>
                  <a:gd name="connsiteY121" fmla="*/ 319437 h 989628"/>
                  <a:gd name="connsiteX122" fmla="*/ 561890 w 1517035"/>
                  <a:gd name="connsiteY122" fmla="*/ 256508 h 989628"/>
                  <a:gd name="connsiteX123" fmla="*/ 288361 w 1517035"/>
                  <a:gd name="connsiteY123" fmla="*/ 256508 h 989628"/>
                  <a:gd name="connsiteX124" fmla="*/ 425405 w 1517035"/>
                  <a:gd name="connsiteY124" fmla="*/ 322182 h 989628"/>
                  <a:gd name="connsiteX125" fmla="*/ 436825 w 1517035"/>
                  <a:gd name="connsiteY125" fmla="*/ 321468 h 989628"/>
                  <a:gd name="connsiteX126" fmla="*/ 319767 w 1517035"/>
                  <a:gd name="connsiteY126" fmla="*/ 378576 h 989628"/>
                  <a:gd name="connsiteX127" fmla="*/ 279796 w 1517035"/>
                  <a:gd name="connsiteY127" fmla="*/ 430687 h 989628"/>
                  <a:gd name="connsiteX128" fmla="*/ 270517 w 1517035"/>
                  <a:gd name="connsiteY128" fmla="*/ 429259 h 989628"/>
                  <a:gd name="connsiteX129" fmla="*/ 88507 w 1517035"/>
                  <a:gd name="connsiteY129" fmla="*/ 542047 h 989628"/>
                  <a:gd name="connsiteX130" fmla="*/ 100641 w 1517035"/>
                  <a:gd name="connsiteY130" fmla="*/ 604151 h 989628"/>
                  <a:gd name="connsiteX131" fmla="*/ 116344 w 1517035"/>
                  <a:gd name="connsiteY131" fmla="*/ 701948 h 989628"/>
                  <a:gd name="connsiteX132" fmla="*/ 151318 w 1517035"/>
                  <a:gd name="connsiteY132" fmla="*/ 736927 h 989628"/>
                  <a:gd name="connsiteX133" fmla="*/ 152746 w 1517035"/>
                  <a:gd name="connsiteY133" fmla="*/ 736927 h 989628"/>
                  <a:gd name="connsiteX134" fmla="*/ 153460 w 1517035"/>
                  <a:gd name="connsiteY134" fmla="*/ 736927 h 989628"/>
                  <a:gd name="connsiteX135" fmla="*/ 278369 w 1517035"/>
                  <a:gd name="connsiteY135" fmla="*/ 671967 h 989628"/>
                  <a:gd name="connsiteX136" fmla="*/ 290503 w 1517035"/>
                  <a:gd name="connsiteY136" fmla="*/ 685530 h 989628"/>
                  <a:gd name="connsiteX137" fmla="*/ 335470 w 1517035"/>
                  <a:gd name="connsiteY137" fmla="*/ 789037 h 989628"/>
                  <a:gd name="connsiteX138" fmla="*/ 335470 w 1517035"/>
                  <a:gd name="connsiteY138" fmla="*/ 817591 h 989628"/>
                  <a:gd name="connsiteX139" fmla="*/ 246963 w 1517035"/>
                  <a:gd name="connsiteY139" fmla="*/ 836865 h 989628"/>
                  <a:gd name="connsiteX140" fmla="*/ 139184 w 1517035"/>
                  <a:gd name="connsiteY140" fmla="*/ 965357 h 989628"/>
                  <a:gd name="connsiteX141" fmla="*/ 137757 w 1517035"/>
                  <a:gd name="connsiteY141" fmla="*/ 976065 h 989628"/>
                  <a:gd name="connsiteX142" fmla="*/ 138470 w 1517035"/>
                  <a:gd name="connsiteY142" fmla="*/ 989628 h 989628"/>
                  <a:gd name="connsiteX143" fmla="*/ 15703 w 1517035"/>
                  <a:gd name="connsiteY143" fmla="*/ 989628 h 989628"/>
                  <a:gd name="connsiteX144" fmla="*/ 0 w 1517035"/>
                  <a:gd name="connsiteY144" fmla="*/ 973924 h 989628"/>
                  <a:gd name="connsiteX145" fmla="*/ 0 w 1517035"/>
                  <a:gd name="connsiteY145" fmla="*/ 514920 h 989628"/>
                  <a:gd name="connsiteX146" fmla="*/ 51391 w 1517035"/>
                  <a:gd name="connsiteY146" fmla="*/ 340742 h 989628"/>
                  <a:gd name="connsiteX147" fmla="*/ 107065 w 1517035"/>
                  <a:gd name="connsiteY147" fmla="*/ 287204 h 989628"/>
                  <a:gd name="connsiteX148" fmla="*/ 288361 w 1517035"/>
                  <a:gd name="connsiteY148" fmla="*/ 256508 h 989628"/>
                  <a:gd name="connsiteX149" fmla="*/ 870263 w 1517035"/>
                  <a:gd name="connsiteY149" fmla="*/ 0 h 989628"/>
                  <a:gd name="connsiteX150" fmla="*/ 896642 w 1517035"/>
                  <a:gd name="connsiteY150" fmla="*/ 12152 h 989628"/>
                  <a:gd name="connsiteX151" fmla="*/ 913754 w 1517035"/>
                  <a:gd name="connsiteY151" fmla="*/ 27878 h 989628"/>
                  <a:gd name="connsiteX152" fmla="*/ 918744 w 1517035"/>
                  <a:gd name="connsiteY152" fmla="*/ 32882 h 989628"/>
                  <a:gd name="connsiteX153" fmla="*/ 985763 w 1517035"/>
                  <a:gd name="connsiteY153" fmla="*/ 175130 h 989628"/>
                  <a:gd name="connsiteX154" fmla="*/ 1091282 w 1517035"/>
                  <a:gd name="connsiteY154" fmla="*/ 228027 h 989628"/>
                  <a:gd name="connsiteX155" fmla="*/ 1197514 w 1517035"/>
                  <a:gd name="connsiteY155" fmla="*/ 175130 h 989628"/>
                  <a:gd name="connsiteX156" fmla="*/ 1264533 w 1517035"/>
                  <a:gd name="connsiteY156" fmla="*/ 32882 h 989628"/>
                  <a:gd name="connsiteX157" fmla="*/ 1269523 w 1517035"/>
                  <a:gd name="connsiteY157" fmla="*/ 27878 h 989628"/>
                  <a:gd name="connsiteX158" fmla="*/ 1286635 w 1517035"/>
                  <a:gd name="connsiteY158" fmla="*/ 12152 h 989628"/>
                  <a:gd name="connsiteX159" fmla="*/ 1313014 w 1517035"/>
                  <a:gd name="connsiteY159" fmla="*/ 0 h 989628"/>
                  <a:gd name="connsiteX160" fmla="*/ 1283783 w 1517035"/>
                  <a:gd name="connsiteY160" fmla="*/ 42889 h 989628"/>
                  <a:gd name="connsiteX161" fmla="*/ 1281644 w 1517035"/>
                  <a:gd name="connsiteY161" fmla="*/ 43604 h 989628"/>
                  <a:gd name="connsiteX162" fmla="*/ 1280931 w 1517035"/>
                  <a:gd name="connsiteY162" fmla="*/ 45748 h 989628"/>
                  <a:gd name="connsiteX163" fmla="*/ 1210347 w 1517035"/>
                  <a:gd name="connsiteY163" fmla="*/ 190142 h 989628"/>
                  <a:gd name="connsiteX164" fmla="*/ 1205357 w 1517035"/>
                  <a:gd name="connsiteY164" fmla="*/ 193716 h 989628"/>
                  <a:gd name="connsiteX165" fmla="*/ 1203218 w 1517035"/>
                  <a:gd name="connsiteY165" fmla="*/ 195860 h 989628"/>
                  <a:gd name="connsiteX166" fmla="*/ 1203218 w 1517035"/>
                  <a:gd name="connsiteY166" fmla="*/ 198719 h 989628"/>
                  <a:gd name="connsiteX167" fmla="*/ 1203218 w 1517035"/>
                  <a:gd name="connsiteY167" fmla="*/ 228742 h 989628"/>
                  <a:gd name="connsiteX168" fmla="*/ 1183255 w 1517035"/>
                  <a:gd name="connsiteY168" fmla="*/ 245183 h 989628"/>
                  <a:gd name="connsiteX169" fmla="*/ 1183255 w 1517035"/>
                  <a:gd name="connsiteY169" fmla="*/ 220879 h 989628"/>
                  <a:gd name="connsiteX170" fmla="*/ 1183255 w 1517035"/>
                  <a:gd name="connsiteY170" fmla="*/ 210156 h 989628"/>
                  <a:gd name="connsiteX171" fmla="*/ 1174699 w 1517035"/>
                  <a:gd name="connsiteY171" fmla="*/ 215875 h 989628"/>
                  <a:gd name="connsiteX172" fmla="*/ 1091282 w 1517035"/>
                  <a:gd name="connsiteY172" fmla="*/ 248042 h 989628"/>
                  <a:gd name="connsiteX173" fmla="*/ 1008578 w 1517035"/>
                  <a:gd name="connsiteY173" fmla="*/ 215875 h 989628"/>
                  <a:gd name="connsiteX174" fmla="*/ 999309 w 1517035"/>
                  <a:gd name="connsiteY174" fmla="*/ 210156 h 989628"/>
                  <a:gd name="connsiteX175" fmla="*/ 999309 w 1517035"/>
                  <a:gd name="connsiteY175" fmla="*/ 220164 h 989628"/>
                  <a:gd name="connsiteX176" fmla="*/ 999309 w 1517035"/>
                  <a:gd name="connsiteY176" fmla="*/ 245183 h 989628"/>
                  <a:gd name="connsiteX177" fmla="*/ 979346 w 1517035"/>
                  <a:gd name="connsiteY177" fmla="*/ 228742 h 989628"/>
                  <a:gd name="connsiteX178" fmla="*/ 979346 w 1517035"/>
                  <a:gd name="connsiteY178" fmla="*/ 198005 h 989628"/>
                  <a:gd name="connsiteX179" fmla="*/ 979346 w 1517035"/>
                  <a:gd name="connsiteY179" fmla="*/ 195860 h 989628"/>
                  <a:gd name="connsiteX180" fmla="*/ 977207 w 1517035"/>
                  <a:gd name="connsiteY180" fmla="*/ 193716 h 989628"/>
                  <a:gd name="connsiteX181" fmla="*/ 972930 w 1517035"/>
                  <a:gd name="connsiteY181" fmla="*/ 190142 h 989628"/>
                  <a:gd name="connsiteX182" fmla="*/ 901633 w 1517035"/>
                  <a:gd name="connsiteY182" fmla="*/ 45748 h 989628"/>
                  <a:gd name="connsiteX183" fmla="*/ 901633 w 1517035"/>
                  <a:gd name="connsiteY183" fmla="*/ 43604 h 989628"/>
                  <a:gd name="connsiteX184" fmla="*/ 899494 w 1517035"/>
                  <a:gd name="connsiteY184" fmla="*/ 42889 h 989628"/>
                  <a:gd name="connsiteX185" fmla="*/ 870263 w 1517035"/>
                  <a:gd name="connsiteY185" fmla="*/ 0 h 989628"/>
                  <a:gd name="connsiteX186" fmla="*/ 203174 w 1517035"/>
                  <a:gd name="connsiteY186" fmla="*/ 0 h 989628"/>
                  <a:gd name="connsiteX187" fmla="*/ 229604 w 1517035"/>
                  <a:gd name="connsiteY187" fmla="*/ 12130 h 989628"/>
                  <a:gd name="connsiteX188" fmla="*/ 246748 w 1517035"/>
                  <a:gd name="connsiteY188" fmla="*/ 27827 h 989628"/>
                  <a:gd name="connsiteX189" fmla="*/ 251748 w 1517035"/>
                  <a:gd name="connsiteY189" fmla="*/ 32822 h 989628"/>
                  <a:gd name="connsiteX190" fmla="*/ 318895 w 1517035"/>
                  <a:gd name="connsiteY190" fmla="*/ 174814 h 989628"/>
                  <a:gd name="connsiteX191" fmla="*/ 424615 w 1517035"/>
                  <a:gd name="connsiteY191" fmla="*/ 227615 h 989628"/>
                  <a:gd name="connsiteX192" fmla="*/ 531050 w 1517035"/>
                  <a:gd name="connsiteY192" fmla="*/ 174814 h 989628"/>
                  <a:gd name="connsiteX193" fmla="*/ 598197 w 1517035"/>
                  <a:gd name="connsiteY193" fmla="*/ 32822 h 989628"/>
                  <a:gd name="connsiteX194" fmla="*/ 603197 w 1517035"/>
                  <a:gd name="connsiteY194" fmla="*/ 27827 h 989628"/>
                  <a:gd name="connsiteX195" fmla="*/ 619626 w 1517035"/>
                  <a:gd name="connsiteY195" fmla="*/ 12843 h 989628"/>
                  <a:gd name="connsiteX196" fmla="*/ 646771 w 1517035"/>
                  <a:gd name="connsiteY196" fmla="*/ 0 h 989628"/>
                  <a:gd name="connsiteX197" fmla="*/ 617483 w 1517035"/>
                  <a:gd name="connsiteY197" fmla="*/ 42812 h 989628"/>
                  <a:gd name="connsiteX198" fmla="*/ 615340 w 1517035"/>
                  <a:gd name="connsiteY198" fmla="*/ 43525 h 989628"/>
                  <a:gd name="connsiteX199" fmla="*/ 614626 w 1517035"/>
                  <a:gd name="connsiteY199" fmla="*/ 45666 h 989628"/>
                  <a:gd name="connsiteX200" fmla="*/ 543908 w 1517035"/>
                  <a:gd name="connsiteY200" fmla="*/ 189798 h 989628"/>
                  <a:gd name="connsiteX201" fmla="*/ 539622 w 1517035"/>
                  <a:gd name="connsiteY201" fmla="*/ 193366 h 989628"/>
                  <a:gd name="connsiteX202" fmla="*/ 537479 w 1517035"/>
                  <a:gd name="connsiteY202" fmla="*/ 195507 h 989628"/>
                  <a:gd name="connsiteX203" fmla="*/ 537479 w 1517035"/>
                  <a:gd name="connsiteY203" fmla="*/ 197647 h 989628"/>
                  <a:gd name="connsiteX204" fmla="*/ 537479 w 1517035"/>
                  <a:gd name="connsiteY204" fmla="*/ 226902 h 989628"/>
                  <a:gd name="connsiteX205" fmla="*/ 531764 w 1517035"/>
                  <a:gd name="connsiteY205" fmla="*/ 234751 h 989628"/>
                  <a:gd name="connsiteX206" fmla="*/ 517478 w 1517035"/>
                  <a:gd name="connsiteY206" fmla="*/ 249735 h 989628"/>
                  <a:gd name="connsiteX207" fmla="*/ 517478 w 1517035"/>
                  <a:gd name="connsiteY207" fmla="*/ 219767 h 989628"/>
                  <a:gd name="connsiteX208" fmla="*/ 517478 w 1517035"/>
                  <a:gd name="connsiteY208" fmla="*/ 209777 h 989628"/>
                  <a:gd name="connsiteX209" fmla="*/ 508191 w 1517035"/>
                  <a:gd name="connsiteY209" fmla="*/ 215485 h 989628"/>
                  <a:gd name="connsiteX210" fmla="*/ 424615 w 1517035"/>
                  <a:gd name="connsiteY210" fmla="*/ 247594 h 989628"/>
                  <a:gd name="connsiteX211" fmla="*/ 341753 w 1517035"/>
                  <a:gd name="connsiteY211" fmla="*/ 215485 h 989628"/>
                  <a:gd name="connsiteX212" fmla="*/ 333181 w 1517035"/>
                  <a:gd name="connsiteY212" fmla="*/ 209777 h 989628"/>
                  <a:gd name="connsiteX213" fmla="*/ 333181 w 1517035"/>
                  <a:gd name="connsiteY213" fmla="*/ 220480 h 989628"/>
                  <a:gd name="connsiteX214" fmla="*/ 333181 w 1517035"/>
                  <a:gd name="connsiteY214" fmla="*/ 249735 h 989628"/>
                  <a:gd name="connsiteX215" fmla="*/ 318180 w 1517035"/>
                  <a:gd name="connsiteY215" fmla="*/ 234751 h 989628"/>
                  <a:gd name="connsiteX216" fmla="*/ 313180 w 1517035"/>
                  <a:gd name="connsiteY216" fmla="*/ 226902 h 989628"/>
                  <a:gd name="connsiteX217" fmla="*/ 313180 w 1517035"/>
                  <a:gd name="connsiteY217" fmla="*/ 198361 h 989628"/>
                  <a:gd name="connsiteX218" fmla="*/ 313180 w 1517035"/>
                  <a:gd name="connsiteY218" fmla="*/ 195507 h 989628"/>
                  <a:gd name="connsiteX219" fmla="*/ 311037 w 1517035"/>
                  <a:gd name="connsiteY219" fmla="*/ 193366 h 989628"/>
                  <a:gd name="connsiteX220" fmla="*/ 306037 w 1517035"/>
                  <a:gd name="connsiteY220" fmla="*/ 189798 h 989628"/>
                  <a:gd name="connsiteX221" fmla="*/ 235318 w 1517035"/>
                  <a:gd name="connsiteY221" fmla="*/ 45666 h 989628"/>
                  <a:gd name="connsiteX222" fmla="*/ 234604 w 1517035"/>
                  <a:gd name="connsiteY222" fmla="*/ 43525 h 989628"/>
                  <a:gd name="connsiteX223" fmla="*/ 232461 w 1517035"/>
                  <a:gd name="connsiteY223" fmla="*/ 42812 h 989628"/>
                  <a:gd name="connsiteX224" fmla="*/ 203174 w 1517035"/>
                  <a:gd name="connsiteY224" fmla="*/ 0 h 98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517035" h="989628">
                    <a:moveTo>
                      <a:pt x="839709" y="628147"/>
                    </a:moveTo>
                    <a:cubicBezTo>
                      <a:pt x="843986" y="651016"/>
                      <a:pt x="854678" y="671027"/>
                      <a:pt x="870359" y="685320"/>
                    </a:cubicBezTo>
                    <a:cubicBezTo>
                      <a:pt x="891743" y="742493"/>
                      <a:pt x="905999" y="772508"/>
                      <a:pt x="915978" y="788946"/>
                    </a:cubicBezTo>
                    <a:cubicBezTo>
                      <a:pt x="915978" y="788946"/>
                      <a:pt x="915978" y="788946"/>
                      <a:pt x="915978" y="817532"/>
                    </a:cubicBezTo>
                    <a:cubicBezTo>
                      <a:pt x="900296" y="818247"/>
                      <a:pt x="864657" y="822535"/>
                      <a:pt x="826879" y="836828"/>
                    </a:cubicBezTo>
                    <a:cubicBezTo>
                      <a:pt x="799793" y="847548"/>
                      <a:pt x="776984" y="862556"/>
                      <a:pt x="759164" y="880422"/>
                    </a:cubicBezTo>
                    <a:cubicBezTo>
                      <a:pt x="709269" y="836828"/>
                      <a:pt x="637991" y="822535"/>
                      <a:pt x="613756" y="818247"/>
                    </a:cubicBezTo>
                    <a:cubicBezTo>
                      <a:pt x="613756" y="818247"/>
                      <a:pt x="613756" y="818247"/>
                      <a:pt x="613756" y="788946"/>
                    </a:cubicBezTo>
                    <a:cubicBezTo>
                      <a:pt x="623022" y="772508"/>
                      <a:pt x="637991" y="742493"/>
                      <a:pt x="658661" y="685320"/>
                    </a:cubicBezTo>
                    <a:cubicBezTo>
                      <a:pt x="662938" y="681032"/>
                      <a:pt x="667215" y="676744"/>
                      <a:pt x="670779" y="671741"/>
                    </a:cubicBezTo>
                    <a:cubicBezTo>
                      <a:pt x="697865" y="713192"/>
                      <a:pt x="758452" y="734631"/>
                      <a:pt x="794804" y="736775"/>
                    </a:cubicBezTo>
                    <a:cubicBezTo>
                      <a:pt x="794804" y="736775"/>
                      <a:pt x="794804" y="736775"/>
                      <a:pt x="796229" y="736775"/>
                    </a:cubicBezTo>
                    <a:cubicBezTo>
                      <a:pt x="796229" y="736775"/>
                      <a:pt x="796229" y="736775"/>
                      <a:pt x="796942" y="736775"/>
                    </a:cubicBezTo>
                    <a:cubicBezTo>
                      <a:pt x="816187" y="736775"/>
                      <a:pt x="831869" y="721053"/>
                      <a:pt x="831869" y="702472"/>
                    </a:cubicBezTo>
                    <a:cubicBezTo>
                      <a:pt x="832582" y="666024"/>
                      <a:pt x="835433" y="644584"/>
                      <a:pt x="839709" y="628147"/>
                    </a:cubicBezTo>
                    <a:close/>
                    <a:moveTo>
                      <a:pt x="877036" y="623914"/>
                    </a:moveTo>
                    <a:cubicBezTo>
                      <a:pt x="877036" y="623914"/>
                      <a:pt x="877036" y="623914"/>
                      <a:pt x="903452" y="636077"/>
                    </a:cubicBezTo>
                    <a:cubicBezTo>
                      <a:pt x="906308" y="641086"/>
                      <a:pt x="910592" y="644663"/>
                      <a:pt x="914876" y="647525"/>
                    </a:cubicBezTo>
                    <a:cubicBezTo>
                      <a:pt x="917018" y="648956"/>
                      <a:pt x="919160" y="650387"/>
                      <a:pt x="919874" y="652533"/>
                    </a:cubicBezTo>
                    <a:cubicBezTo>
                      <a:pt x="933439" y="691885"/>
                      <a:pt x="959856" y="757709"/>
                      <a:pt x="970565" y="768441"/>
                    </a:cubicBezTo>
                    <a:cubicBezTo>
                      <a:pt x="989842" y="787044"/>
                      <a:pt x="1032680" y="814947"/>
                      <a:pt x="1054813" y="814947"/>
                    </a:cubicBezTo>
                    <a:cubicBezTo>
                      <a:pt x="1076232" y="814947"/>
                      <a:pt x="1119784" y="787044"/>
                      <a:pt x="1139062" y="768441"/>
                    </a:cubicBezTo>
                    <a:cubicBezTo>
                      <a:pt x="1149771" y="757709"/>
                      <a:pt x="1175474" y="691885"/>
                      <a:pt x="1189753" y="652533"/>
                    </a:cubicBezTo>
                    <a:cubicBezTo>
                      <a:pt x="1190467" y="650387"/>
                      <a:pt x="1191895" y="648956"/>
                      <a:pt x="1194037" y="647525"/>
                    </a:cubicBezTo>
                    <a:cubicBezTo>
                      <a:pt x="1199035" y="644663"/>
                      <a:pt x="1202605" y="641086"/>
                      <a:pt x="1206174" y="636793"/>
                    </a:cubicBezTo>
                    <a:cubicBezTo>
                      <a:pt x="1206174" y="636793"/>
                      <a:pt x="1206174" y="636793"/>
                      <a:pt x="1232591" y="623914"/>
                    </a:cubicBezTo>
                    <a:cubicBezTo>
                      <a:pt x="1229735" y="634646"/>
                      <a:pt x="1224024" y="651102"/>
                      <a:pt x="1209030" y="661835"/>
                    </a:cubicBezTo>
                    <a:cubicBezTo>
                      <a:pt x="1209030" y="661835"/>
                      <a:pt x="1209030" y="661835"/>
                      <a:pt x="1207602" y="663266"/>
                    </a:cubicBezTo>
                    <a:cubicBezTo>
                      <a:pt x="1207602" y="663266"/>
                      <a:pt x="1207602" y="663266"/>
                      <a:pt x="1206888" y="664697"/>
                    </a:cubicBezTo>
                    <a:cubicBezTo>
                      <a:pt x="1197607" y="690454"/>
                      <a:pt x="1174046" y="753416"/>
                      <a:pt x="1157625" y="777027"/>
                    </a:cubicBezTo>
                    <a:cubicBezTo>
                      <a:pt x="1157625" y="777027"/>
                      <a:pt x="1157625" y="777027"/>
                      <a:pt x="1156197" y="778458"/>
                    </a:cubicBezTo>
                    <a:cubicBezTo>
                      <a:pt x="1156197" y="778458"/>
                      <a:pt x="1156197" y="778458"/>
                      <a:pt x="1156197" y="779889"/>
                    </a:cubicBezTo>
                    <a:cubicBezTo>
                      <a:pt x="1156197" y="779889"/>
                      <a:pt x="1156197" y="779889"/>
                      <a:pt x="1156197" y="820671"/>
                    </a:cubicBezTo>
                    <a:lnTo>
                      <a:pt x="1151913" y="827111"/>
                    </a:lnTo>
                    <a:cubicBezTo>
                      <a:pt x="1148343" y="832834"/>
                      <a:pt x="1143346" y="839274"/>
                      <a:pt x="1136206" y="845713"/>
                    </a:cubicBezTo>
                    <a:cubicBezTo>
                      <a:pt x="1136206" y="845713"/>
                      <a:pt x="1136206" y="845713"/>
                      <a:pt x="1136206" y="807793"/>
                    </a:cubicBezTo>
                    <a:cubicBezTo>
                      <a:pt x="1136206" y="807793"/>
                      <a:pt x="1136206" y="807793"/>
                      <a:pt x="1136206" y="797060"/>
                    </a:cubicBezTo>
                    <a:cubicBezTo>
                      <a:pt x="1136206" y="797060"/>
                      <a:pt x="1136206" y="797060"/>
                      <a:pt x="1127638" y="802784"/>
                    </a:cubicBezTo>
                    <a:cubicBezTo>
                      <a:pt x="1099079" y="823533"/>
                      <a:pt x="1072662" y="834981"/>
                      <a:pt x="1054813" y="834981"/>
                    </a:cubicBezTo>
                    <a:cubicBezTo>
                      <a:pt x="1036964" y="834981"/>
                      <a:pt x="1010547" y="823533"/>
                      <a:pt x="981989" y="803500"/>
                    </a:cubicBezTo>
                    <a:cubicBezTo>
                      <a:pt x="981989" y="803500"/>
                      <a:pt x="981989" y="803500"/>
                      <a:pt x="973421" y="797060"/>
                    </a:cubicBezTo>
                    <a:cubicBezTo>
                      <a:pt x="973421" y="797060"/>
                      <a:pt x="973421" y="797060"/>
                      <a:pt x="973421" y="807793"/>
                    </a:cubicBezTo>
                    <a:cubicBezTo>
                      <a:pt x="973421" y="807793"/>
                      <a:pt x="973421" y="807793"/>
                      <a:pt x="973421" y="845713"/>
                    </a:cubicBezTo>
                    <a:cubicBezTo>
                      <a:pt x="964854" y="839274"/>
                      <a:pt x="958428" y="831404"/>
                      <a:pt x="953430" y="825680"/>
                    </a:cubicBezTo>
                    <a:cubicBezTo>
                      <a:pt x="953430" y="825680"/>
                      <a:pt x="953430" y="825680"/>
                      <a:pt x="953430" y="780604"/>
                    </a:cubicBezTo>
                    <a:cubicBezTo>
                      <a:pt x="953430" y="780604"/>
                      <a:pt x="953430" y="780604"/>
                      <a:pt x="953430" y="778458"/>
                    </a:cubicBezTo>
                    <a:cubicBezTo>
                      <a:pt x="953430" y="778458"/>
                      <a:pt x="953430" y="778458"/>
                      <a:pt x="952002" y="777027"/>
                    </a:cubicBezTo>
                    <a:cubicBezTo>
                      <a:pt x="935581" y="753416"/>
                      <a:pt x="912020" y="690454"/>
                      <a:pt x="902739" y="664697"/>
                    </a:cubicBezTo>
                    <a:cubicBezTo>
                      <a:pt x="902739" y="664697"/>
                      <a:pt x="902739" y="664697"/>
                      <a:pt x="902025" y="663266"/>
                    </a:cubicBezTo>
                    <a:cubicBezTo>
                      <a:pt x="902025" y="663266"/>
                      <a:pt x="902025" y="663266"/>
                      <a:pt x="900597" y="661835"/>
                    </a:cubicBezTo>
                    <a:cubicBezTo>
                      <a:pt x="885603" y="651102"/>
                      <a:pt x="879178" y="635362"/>
                      <a:pt x="877036" y="623914"/>
                    </a:cubicBezTo>
                    <a:close/>
                    <a:moveTo>
                      <a:pt x="296296" y="623914"/>
                    </a:moveTo>
                    <a:cubicBezTo>
                      <a:pt x="296296" y="623914"/>
                      <a:pt x="296296" y="623914"/>
                      <a:pt x="322712" y="636077"/>
                    </a:cubicBezTo>
                    <a:cubicBezTo>
                      <a:pt x="326282" y="641086"/>
                      <a:pt x="329852" y="644663"/>
                      <a:pt x="334850" y="647525"/>
                    </a:cubicBezTo>
                    <a:cubicBezTo>
                      <a:pt x="336992" y="648956"/>
                      <a:pt x="338420" y="650387"/>
                      <a:pt x="339134" y="652533"/>
                    </a:cubicBezTo>
                    <a:cubicBezTo>
                      <a:pt x="353413" y="691885"/>
                      <a:pt x="379116" y="757709"/>
                      <a:pt x="389825" y="768441"/>
                    </a:cubicBezTo>
                    <a:cubicBezTo>
                      <a:pt x="409102" y="787044"/>
                      <a:pt x="452654" y="814947"/>
                      <a:pt x="474073" y="814947"/>
                    </a:cubicBezTo>
                    <a:cubicBezTo>
                      <a:pt x="496206" y="814947"/>
                      <a:pt x="539044" y="787044"/>
                      <a:pt x="558321" y="768441"/>
                    </a:cubicBezTo>
                    <a:cubicBezTo>
                      <a:pt x="569031" y="757709"/>
                      <a:pt x="595447" y="691885"/>
                      <a:pt x="609013" y="652533"/>
                    </a:cubicBezTo>
                    <a:cubicBezTo>
                      <a:pt x="609727" y="650387"/>
                      <a:pt x="611869" y="648956"/>
                      <a:pt x="614011" y="647525"/>
                    </a:cubicBezTo>
                    <a:cubicBezTo>
                      <a:pt x="618294" y="644663"/>
                      <a:pt x="621864" y="641086"/>
                      <a:pt x="625434" y="636793"/>
                    </a:cubicBezTo>
                    <a:cubicBezTo>
                      <a:pt x="625434" y="636793"/>
                      <a:pt x="625434" y="636793"/>
                      <a:pt x="651851" y="623914"/>
                    </a:cubicBezTo>
                    <a:cubicBezTo>
                      <a:pt x="649709" y="634646"/>
                      <a:pt x="643283" y="651102"/>
                      <a:pt x="628290" y="661835"/>
                    </a:cubicBezTo>
                    <a:cubicBezTo>
                      <a:pt x="628290" y="661835"/>
                      <a:pt x="628290" y="661835"/>
                      <a:pt x="626862" y="663266"/>
                    </a:cubicBezTo>
                    <a:cubicBezTo>
                      <a:pt x="626862" y="663266"/>
                      <a:pt x="626862" y="663266"/>
                      <a:pt x="626148" y="664697"/>
                    </a:cubicBezTo>
                    <a:cubicBezTo>
                      <a:pt x="616866" y="690454"/>
                      <a:pt x="593306" y="753416"/>
                      <a:pt x="576884" y="777027"/>
                    </a:cubicBezTo>
                    <a:cubicBezTo>
                      <a:pt x="576884" y="777027"/>
                      <a:pt x="576884" y="777027"/>
                      <a:pt x="576170" y="778458"/>
                    </a:cubicBezTo>
                    <a:cubicBezTo>
                      <a:pt x="576170" y="778458"/>
                      <a:pt x="576170" y="778458"/>
                      <a:pt x="576170" y="779889"/>
                    </a:cubicBezTo>
                    <a:cubicBezTo>
                      <a:pt x="576170" y="779889"/>
                      <a:pt x="576170" y="779889"/>
                      <a:pt x="576170" y="820671"/>
                    </a:cubicBezTo>
                    <a:lnTo>
                      <a:pt x="571173" y="827111"/>
                    </a:lnTo>
                    <a:cubicBezTo>
                      <a:pt x="567603" y="832834"/>
                      <a:pt x="562605" y="839274"/>
                      <a:pt x="556179" y="845713"/>
                    </a:cubicBezTo>
                    <a:cubicBezTo>
                      <a:pt x="556179" y="845713"/>
                      <a:pt x="556179" y="845713"/>
                      <a:pt x="556179" y="807793"/>
                    </a:cubicBezTo>
                    <a:cubicBezTo>
                      <a:pt x="556179" y="807793"/>
                      <a:pt x="556179" y="807793"/>
                      <a:pt x="556179" y="797060"/>
                    </a:cubicBezTo>
                    <a:cubicBezTo>
                      <a:pt x="556179" y="797060"/>
                      <a:pt x="556179" y="797060"/>
                      <a:pt x="546898" y="802784"/>
                    </a:cubicBezTo>
                    <a:cubicBezTo>
                      <a:pt x="518339" y="823533"/>
                      <a:pt x="491922" y="834981"/>
                      <a:pt x="474073" y="834981"/>
                    </a:cubicBezTo>
                    <a:cubicBezTo>
                      <a:pt x="456224" y="834981"/>
                      <a:pt x="429807" y="823533"/>
                      <a:pt x="401963" y="803500"/>
                    </a:cubicBezTo>
                    <a:cubicBezTo>
                      <a:pt x="401963" y="803500"/>
                      <a:pt x="401963" y="803500"/>
                      <a:pt x="392681" y="797060"/>
                    </a:cubicBezTo>
                    <a:cubicBezTo>
                      <a:pt x="392681" y="797060"/>
                      <a:pt x="392681" y="797060"/>
                      <a:pt x="392681" y="807793"/>
                    </a:cubicBezTo>
                    <a:cubicBezTo>
                      <a:pt x="392681" y="807793"/>
                      <a:pt x="392681" y="807793"/>
                      <a:pt x="392681" y="845713"/>
                    </a:cubicBezTo>
                    <a:cubicBezTo>
                      <a:pt x="384114" y="839274"/>
                      <a:pt x="377688" y="831404"/>
                      <a:pt x="372690" y="825680"/>
                    </a:cubicBezTo>
                    <a:cubicBezTo>
                      <a:pt x="372690" y="825680"/>
                      <a:pt x="372690" y="825680"/>
                      <a:pt x="372690" y="780604"/>
                    </a:cubicBezTo>
                    <a:cubicBezTo>
                      <a:pt x="372690" y="780604"/>
                      <a:pt x="372690" y="780604"/>
                      <a:pt x="372690" y="778458"/>
                    </a:cubicBezTo>
                    <a:cubicBezTo>
                      <a:pt x="372690" y="778458"/>
                      <a:pt x="372690" y="778458"/>
                      <a:pt x="371976" y="777027"/>
                    </a:cubicBezTo>
                    <a:cubicBezTo>
                      <a:pt x="355555" y="753416"/>
                      <a:pt x="331994" y="690454"/>
                      <a:pt x="321999" y="664697"/>
                    </a:cubicBezTo>
                    <a:cubicBezTo>
                      <a:pt x="321999" y="664697"/>
                      <a:pt x="321999" y="664697"/>
                      <a:pt x="321999" y="663266"/>
                    </a:cubicBezTo>
                    <a:cubicBezTo>
                      <a:pt x="321999" y="663266"/>
                      <a:pt x="321999" y="663266"/>
                      <a:pt x="319857" y="661835"/>
                    </a:cubicBezTo>
                    <a:cubicBezTo>
                      <a:pt x="304863" y="651102"/>
                      <a:pt x="299152" y="635362"/>
                      <a:pt x="296296" y="623914"/>
                    </a:cubicBezTo>
                    <a:close/>
                    <a:moveTo>
                      <a:pt x="1228184" y="256508"/>
                    </a:moveTo>
                    <a:cubicBezTo>
                      <a:pt x="1228184" y="256508"/>
                      <a:pt x="1346156" y="257936"/>
                      <a:pt x="1409789" y="287204"/>
                    </a:cubicBezTo>
                    <a:cubicBezTo>
                      <a:pt x="1431238" y="297197"/>
                      <a:pt x="1449827" y="317185"/>
                      <a:pt x="1465557" y="340742"/>
                    </a:cubicBezTo>
                    <a:cubicBezTo>
                      <a:pt x="1499876" y="392139"/>
                      <a:pt x="1517035" y="452816"/>
                      <a:pt x="1517035" y="514920"/>
                    </a:cubicBezTo>
                    <a:cubicBezTo>
                      <a:pt x="1517035" y="514920"/>
                      <a:pt x="1517035" y="514920"/>
                      <a:pt x="1517035" y="973924"/>
                    </a:cubicBezTo>
                    <a:cubicBezTo>
                      <a:pt x="1517035" y="982490"/>
                      <a:pt x="1509885" y="989628"/>
                      <a:pt x="1501306" y="989628"/>
                    </a:cubicBezTo>
                    <a:cubicBezTo>
                      <a:pt x="1501306" y="989628"/>
                      <a:pt x="1501306" y="989628"/>
                      <a:pt x="1390484" y="989628"/>
                    </a:cubicBezTo>
                    <a:cubicBezTo>
                      <a:pt x="1391914" y="985345"/>
                      <a:pt x="1391914" y="981062"/>
                      <a:pt x="1391199" y="976065"/>
                    </a:cubicBezTo>
                    <a:cubicBezTo>
                      <a:pt x="1391199" y="976065"/>
                      <a:pt x="1391199" y="976065"/>
                      <a:pt x="1391199" y="973210"/>
                    </a:cubicBezTo>
                    <a:cubicBezTo>
                      <a:pt x="1375470" y="853997"/>
                      <a:pt x="1231044" y="824730"/>
                      <a:pt x="1193150" y="818305"/>
                    </a:cubicBezTo>
                    <a:cubicBezTo>
                      <a:pt x="1193150" y="818305"/>
                      <a:pt x="1193150" y="818305"/>
                      <a:pt x="1193150" y="789037"/>
                    </a:cubicBezTo>
                    <a:cubicBezTo>
                      <a:pt x="1203160" y="772619"/>
                      <a:pt x="1217460" y="742637"/>
                      <a:pt x="1238194" y="685530"/>
                    </a:cubicBezTo>
                    <a:cubicBezTo>
                      <a:pt x="1255353" y="669825"/>
                      <a:pt x="1266793" y="647696"/>
                      <a:pt x="1270368" y="621997"/>
                    </a:cubicBezTo>
                    <a:cubicBezTo>
                      <a:pt x="1271798" y="614145"/>
                      <a:pt x="1266078" y="607007"/>
                      <a:pt x="1258213" y="604865"/>
                    </a:cubicBezTo>
                    <a:cubicBezTo>
                      <a:pt x="1258213" y="604865"/>
                      <a:pt x="1258213" y="604865"/>
                      <a:pt x="1262503" y="594157"/>
                    </a:cubicBezTo>
                    <a:cubicBezTo>
                      <a:pt x="1271798" y="570600"/>
                      <a:pt x="1271798" y="546330"/>
                      <a:pt x="1271798" y="524200"/>
                    </a:cubicBezTo>
                    <a:cubicBezTo>
                      <a:pt x="1271798" y="435684"/>
                      <a:pt x="1216030" y="362871"/>
                      <a:pt x="1135237" y="332890"/>
                    </a:cubicBezTo>
                    <a:cubicBezTo>
                      <a:pt x="1183141" y="294342"/>
                      <a:pt x="1228184" y="256508"/>
                      <a:pt x="1228184" y="256508"/>
                    </a:cubicBezTo>
                    <a:close/>
                    <a:moveTo>
                      <a:pt x="954690" y="256508"/>
                    </a:moveTo>
                    <a:cubicBezTo>
                      <a:pt x="954690" y="256508"/>
                      <a:pt x="992543" y="287937"/>
                      <a:pt x="1031110" y="319365"/>
                    </a:cubicBezTo>
                    <a:cubicBezTo>
                      <a:pt x="961118" y="326508"/>
                      <a:pt x="901838" y="362937"/>
                      <a:pt x="868271" y="416508"/>
                    </a:cubicBezTo>
                    <a:cubicBezTo>
                      <a:pt x="858272" y="383651"/>
                      <a:pt x="843988" y="352222"/>
                      <a:pt x="824704" y="323651"/>
                    </a:cubicBezTo>
                    <a:cubicBezTo>
                      <a:pt x="813277" y="306508"/>
                      <a:pt x="801849" y="292222"/>
                      <a:pt x="788994" y="280794"/>
                    </a:cubicBezTo>
                    <a:cubicBezTo>
                      <a:pt x="854701" y="257937"/>
                      <a:pt x="954690" y="256508"/>
                      <a:pt x="954690" y="256508"/>
                    </a:cubicBezTo>
                    <a:close/>
                    <a:moveTo>
                      <a:pt x="561890" y="256508"/>
                    </a:moveTo>
                    <a:cubicBezTo>
                      <a:pt x="561890" y="256508"/>
                      <a:pt x="679907" y="257938"/>
                      <a:pt x="744279" y="287258"/>
                    </a:cubicBezTo>
                    <a:cubicBezTo>
                      <a:pt x="765021" y="297269"/>
                      <a:pt x="783618" y="317292"/>
                      <a:pt x="799353" y="340891"/>
                    </a:cubicBezTo>
                    <a:cubicBezTo>
                      <a:pt x="823672" y="378076"/>
                      <a:pt x="840123" y="420267"/>
                      <a:pt x="846560" y="463889"/>
                    </a:cubicBezTo>
                    <a:cubicBezTo>
                      <a:pt x="844414" y="471040"/>
                      <a:pt x="842984" y="478906"/>
                      <a:pt x="840838" y="486772"/>
                    </a:cubicBezTo>
                    <a:cubicBezTo>
                      <a:pt x="812943" y="451732"/>
                      <a:pt x="755723" y="430994"/>
                      <a:pt x="678476" y="429564"/>
                    </a:cubicBezTo>
                    <a:cubicBezTo>
                      <a:pt x="678476" y="429564"/>
                      <a:pt x="678476" y="429564"/>
                      <a:pt x="677761" y="429564"/>
                    </a:cubicBezTo>
                    <a:cubicBezTo>
                      <a:pt x="674900" y="429564"/>
                      <a:pt x="672039" y="430279"/>
                      <a:pt x="669178" y="430994"/>
                    </a:cubicBezTo>
                    <a:cubicBezTo>
                      <a:pt x="659164" y="411686"/>
                      <a:pt x="645575" y="393808"/>
                      <a:pt x="629124" y="378791"/>
                    </a:cubicBezTo>
                    <a:cubicBezTo>
                      <a:pt x="588355" y="340175"/>
                      <a:pt x="533280" y="318722"/>
                      <a:pt x="474630" y="318722"/>
                    </a:cubicBezTo>
                    <a:cubicBezTo>
                      <a:pt x="467477" y="318722"/>
                      <a:pt x="461040" y="318722"/>
                      <a:pt x="454603" y="319437"/>
                    </a:cubicBezTo>
                    <a:cubicBezTo>
                      <a:pt x="526128" y="307281"/>
                      <a:pt x="561890" y="256508"/>
                      <a:pt x="561890" y="256508"/>
                    </a:cubicBezTo>
                    <a:close/>
                    <a:moveTo>
                      <a:pt x="288361" y="256508"/>
                    </a:moveTo>
                    <a:cubicBezTo>
                      <a:pt x="288361" y="256508"/>
                      <a:pt x="334042" y="320754"/>
                      <a:pt x="425405" y="322182"/>
                    </a:cubicBezTo>
                    <a:cubicBezTo>
                      <a:pt x="428973" y="322182"/>
                      <a:pt x="433256" y="321468"/>
                      <a:pt x="436825" y="321468"/>
                    </a:cubicBezTo>
                    <a:cubicBezTo>
                      <a:pt x="392571" y="328607"/>
                      <a:pt x="351887" y="347880"/>
                      <a:pt x="319767" y="378576"/>
                    </a:cubicBezTo>
                    <a:cubicBezTo>
                      <a:pt x="303350" y="393567"/>
                      <a:pt x="289789" y="411413"/>
                      <a:pt x="279796" y="430687"/>
                    </a:cubicBezTo>
                    <a:cubicBezTo>
                      <a:pt x="276941" y="429973"/>
                      <a:pt x="274086" y="429259"/>
                      <a:pt x="270517" y="429259"/>
                    </a:cubicBezTo>
                    <a:cubicBezTo>
                      <a:pt x="158456" y="430687"/>
                      <a:pt x="88507" y="474231"/>
                      <a:pt x="88507" y="542047"/>
                    </a:cubicBezTo>
                    <a:cubicBezTo>
                      <a:pt x="88507" y="571314"/>
                      <a:pt x="94931" y="588447"/>
                      <a:pt x="100641" y="604151"/>
                    </a:cubicBezTo>
                    <a:cubicBezTo>
                      <a:pt x="107778" y="623425"/>
                      <a:pt x="116344" y="644840"/>
                      <a:pt x="116344" y="701948"/>
                    </a:cubicBezTo>
                    <a:cubicBezTo>
                      <a:pt x="116344" y="721222"/>
                      <a:pt x="132047" y="736927"/>
                      <a:pt x="151318" y="736927"/>
                    </a:cubicBezTo>
                    <a:cubicBezTo>
                      <a:pt x="151318" y="736927"/>
                      <a:pt x="151318" y="736927"/>
                      <a:pt x="152746" y="736927"/>
                    </a:cubicBezTo>
                    <a:cubicBezTo>
                      <a:pt x="152746" y="736927"/>
                      <a:pt x="152746" y="736927"/>
                      <a:pt x="153460" y="736927"/>
                    </a:cubicBezTo>
                    <a:cubicBezTo>
                      <a:pt x="189862" y="734785"/>
                      <a:pt x="250532" y="713370"/>
                      <a:pt x="278369" y="671967"/>
                    </a:cubicBezTo>
                    <a:cubicBezTo>
                      <a:pt x="281937" y="676964"/>
                      <a:pt x="285506" y="681247"/>
                      <a:pt x="290503" y="685530"/>
                    </a:cubicBezTo>
                    <a:cubicBezTo>
                      <a:pt x="311202" y="742637"/>
                      <a:pt x="325477" y="772619"/>
                      <a:pt x="335470" y="789037"/>
                    </a:cubicBezTo>
                    <a:cubicBezTo>
                      <a:pt x="335470" y="789037"/>
                      <a:pt x="335470" y="789037"/>
                      <a:pt x="335470" y="817591"/>
                    </a:cubicBezTo>
                    <a:cubicBezTo>
                      <a:pt x="319767" y="818305"/>
                      <a:pt x="284079" y="822588"/>
                      <a:pt x="246963" y="836865"/>
                    </a:cubicBezTo>
                    <a:cubicBezTo>
                      <a:pt x="182724" y="861850"/>
                      <a:pt x="145608" y="906108"/>
                      <a:pt x="139184" y="965357"/>
                    </a:cubicBezTo>
                    <a:cubicBezTo>
                      <a:pt x="138470" y="968927"/>
                      <a:pt x="138470" y="972496"/>
                      <a:pt x="137757" y="976065"/>
                    </a:cubicBezTo>
                    <a:cubicBezTo>
                      <a:pt x="137043" y="981062"/>
                      <a:pt x="137757" y="985345"/>
                      <a:pt x="138470" y="989628"/>
                    </a:cubicBezTo>
                    <a:cubicBezTo>
                      <a:pt x="138470" y="989628"/>
                      <a:pt x="138470" y="989628"/>
                      <a:pt x="15703" y="989628"/>
                    </a:cubicBezTo>
                    <a:cubicBezTo>
                      <a:pt x="7137" y="989628"/>
                      <a:pt x="0" y="982490"/>
                      <a:pt x="0" y="973924"/>
                    </a:cubicBezTo>
                    <a:cubicBezTo>
                      <a:pt x="0" y="973924"/>
                      <a:pt x="0" y="973924"/>
                      <a:pt x="0" y="514920"/>
                    </a:cubicBezTo>
                    <a:cubicBezTo>
                      <a:pt x="0" y="452816"/>
                      <a:pt x="17130" y="392139"/>
                      <a:pt x="51391" y="340742"/>
                    </a:cubicBezTo>
                    <a:cubicBezTo>
                      <a:pt x="67094" y="317185"/>
                      <a:pt x="85652" y="297197"/>
                      <a:pt x="107065" y="287204"/>
                    </a:cubicBezTo>
                    <a:cubicBezTo>
                      <a:pt x="170590" y="257936"/>
                      <a:pt x="288361" y="256508"/>
                      <a:pt x="288361" y="256508"/>
                    </a:cubicBezTo>
                    <a:close/>
                    <a:moveTo>
                      <a:pt x="870263" y="0"/>
                    </a:moveTo>
                    <a:cubicBezTo>
                      <a:pt x="870263" y="0"/>
                      <a:pt x="870263" y="0"/>
                      <a:pt x="896642" y="12152"/>
                    </a:cubicBezTo>
                    <a:cubicBezTo>
                      <a:pt x="900920" y="19300"/>
                      <a:pt x="906624" y="24304"/>
                      <a:pt x="913754" y="27878"/>
                    </a:cubicBezTo>
                    <a:cubicBezTo>
                      <a:pt x="915892" y="29307"/>
                      <a:pt x="917318" y="30737"/>
                      <a:pt x="918744" y="32882"/>
                    </a:cubicBezTo>
                    <a:cubicBezTo>
                      <a:pt x="937281" y="81489"/>
                      <a:pt x="972217" y="162978"/>
                      <a:pt x="985763" y="175130"/>
                    </a:cubicBezTo>
                    <a:cubicBezTo>
                      <a:pt x="1006439" y="193001"/>
                      <a:pt x="1061337" y="228027"/>
                      <a:pt x="1091282" y="228027"/>
                    </a:cubicBezTo>
                    <a:cubicBezTo>
                      <a:pt x="1121939" y="228027"/>
                      <a:pt x="1176838" y="193001"/>
                      <a:pt x="1197514" y="175130"/>
                    </a:cubicBezTo>
                    <a:cubicBezTo>
                      <a:pt x="1211060" y="162978"/>
                      <a:pt x="1245996" y="81489"/>
                      <a:pt x="1264533" y="32882"/>
                    </a:cubicBezTo>
                    <a:cubicBezTo>
                      <a:pt x="1265246" y="30737"/>
                      <a:pt x="1267385" y="29307"/>
                      <a:pt x="1269523" y="27878"/>
                    </a:cubicBezTo>
                    <a:cubicBezTo>
                      <a:pt x="1276653" y="24304"/>
                      <a:pt x="1281644" y="19300"/>
                      <a:pt x="1286635" y="12152"/>
                    </a:cubicBezTo>
                    <a:cubicBezTo>
                      <a:pt x="1286635" y="12152"/>
                      <a:pt x="1286635" y="12152"/>
                      <a:pt x="1313014" y="0"/>
                    </a:cubicBezTo>
                    <a:cubicBezTo>
                      <a:pt x="1310162" y="12152"/>
                      <a:pt x="1302320" y="30737"/>
                      <a:pt x="1283783" y="42889"/>
                    </a:cubicBezTo>
                    <a:cubicBezTo>
                      <a:pt x="1283783" y="42889"/>
                      <a:pt x="1283783" y="42889"/>
                      <a:pt x="1281644" y="43604"/>
                    </a:cubicBezTo>
                    <a:cubicBezTo>
                      <a:pt x="1281644" y="43604"/>
                      <a:pt x="1281644" y="43604"/>
                      <a:pt x="1280931" y="45748"/>
                    </a:cubicBezTo>
                    <a:cubicBezTo>
                      <a:pt x="1250273" y="123663"/>
                      <a:pt x="1223894" y="177990"/>
                      <a:pt x="1210347" y="190142"/>
                    </a:cubicBezTo>
                    <a:cubicBezTo>
                      <a:pt x="1208921" y="190856"/>
                      <a:pt x="1207495" y="192286"/>
                      <a:pt x="1205357" y="193716"/>
                    </a:cubicBezTo>
                    <a:cubicBezTo>
                      <a:pt x="1205357" y="193716"/>
                      <a:pt x="1205357" y="193716"/>
                      <a:pt x="1203218" y="195860"/>
                    </a:cubicBezTo>
                    <a:cubicBezTo>
                      <a:pt x="1203218" y="195860"/>
                      <a:pt x="1203218" y="195860"/>
                      <a:pt x="1203218" y="198719"/>
                    </a:cubicBezTo>
                    <a:cubicBezTo>
                      <a:pt x="1203218" y="198719"/>
                      <a:pt x="1203218" y="198719"/>
                      <a:pt x="1203218" y="228742"/>
                    </a:cubicBezTo>
                    <a:cubicBezTo>
                      <a:pt x="1201079" y="230886"/>
                      <a:pt x="1193236" y="237320"/>
                      <a:pt x="1183255" y="245183"/>
                    </a:cubicBezTo>
                    <a:cubicBezTo>
                      <a:pt x="1183255" y="245183"/>
                      <a:pt x="1183255" y="245183"/>
                      <a:pt x="1183255" y="220879"/>
                    </a:cubicBezTo>
                    <a:cubicBezTo>
                      <a:pt x="1183255" y="220879"/>
                      <a:pt x="1183255" y="220879"/>
                      <a:pt x="1183255" y="210156"/>
                    </a:cubicBezTo>
                    <a:cubicBezTo>
                      <a:pt x="1183255" y="210156"/>
                      <a:pt x="1183255" y="210156"/>
                      <a:pt x="1174699" y="215875"/>
                    </a:cubicBezTo>
                    <a:cubicBezTo>
                      <a:pt x="1155449" y="228027"/>
                      <a:pt x="1119087" y="248042"/>
                      <a:pt x="1091282" y="248042"/>
                    </a:cubicBezTo>
                    <a:cubicBezTo>
                      <a:pt x="1063476" y="248042"/>
                      <a:pt x="1027115" y="228027"/>
                      <a:pt x="1008578" y="215875"/>
                    </a:cubicBezTo>
                    <a:cubicBezTo>
                      <a:pt x="1008578" y="215875"/>
                      <a:pt x="1008578" y="215875"/>
                      <a:pt x="999309" y="210156"/>
                    </a:cubicBezTo>
                    <a:cubicBezTo>
                      <a:pt x="999309" y="210156"/>
                      <a:pt x="999309" y="210156"/>
                      <a:pt x="999309" y="220164"/>
                    </a:cubicBezTo>
                    <a:cubicBezTo>
                      <a:pt x="999309" y="220164"/>
                      <a:pt x="999309" y="220164"/>
                      <a:pt x="999309" y="245183"/>
                    </a:cubicBezTo>
                    <a:cubicBezTo>
                      <a:pt x="989328" y="237320"/>
                      <a:pt x="982198" y="230886"/>
                      <a:pt x="979346" y="228742"/>
                    </a:cubicBezTo>
                    <a:cubicBezTo>
                      <a:pt x="979346" y="228742"/>
                      <a:pt x="979346" y="228742"/>
                      <a:pt x="979346" y="198005"/>
                    </a:cubicBezTo>
                    <a:cubicBezTo>
                      <a:pt x="979346" y="198005"/>
                      <a:pt x="979346" y="198005"/>
                      <a:pt x="979346" y="195860"/>
                    </a:cubicBezTo>
                    <a:cubicBezTo>
                      <a:pt x="979346" y="195860"/>
                      <a:pt x="979346" y="195860"/>
                      <a:pt x="977207" y="193716"/>
                    </a:cubicBezTo>
                    <a:cubicBezTo>
                      <a:pt x="975782" y="192286"/>
                      <a:pt x="973643" y="190856"/>
                      <a:pt x="972930" y="190142"/>
                    </a:cubicBezTo>
                    <a:cubicBezTo>
                      <a:pt x="959383" y="177990"/>
                      <a:pt x="933004" y="123663"/>
                      <a:pt x="901633" y="45748"/>
                    </a:cubicBezTo>
                    <a:cubicBezTo>
                      <a:pt x="901633" y="45748"/>
                      <a:pt x="901633" y="45748"/>
                      <a:pt x="901633" y="43604"/>
                    </a:cubicBezTo>
                    <a:cubicBezTo>
                      <a:pt x="901633" y="43604"/>
                      <a:pt x="901633" y="43604"/>
                      <a:pt x="899494" y="42889"/>
                    </a:cubicBezTo>
                    <a:cubicBezTo>
                      <a:pt x="880957" y="31452"/>
                      <a:pt x="873115" y="12867"/>
                      <a:pt x="870263" y="0"/>
                    </a:cubicBezTo>
                    <a:close/>
                    <a:moveTo>
                      <a:pt x="203174" y="0"/>
                    </a:moveTo>
                    <a:cubicBezTo>
                      <a:pt x="203174" y="0"/>
                      <a:pt x="203174" y="0"/>
                      <a:pt x="229604" y="12130"/>
                    </a:cubicBezTo>
                    <a:cubicBezTo>
                      <a:pt x="233890" y="19265"/>
                      <a:pt x="239604" y="24260"/>
                      <a:pt x="246748" y="27827"/>
                    </a:cubicBezTo>
                    <a:cubicBezTo>
                      <a:pt x="248891" y="29255"/>
                      <a:pt x="250319" y="30682"/>
                      <a:pt x="251748" y="32822"/>
                    </a:cubicBezTo>
                    <a:cubicBezTo>
                      <a:pt x="270320" y="81342"/>
                      <a:pt x="305322" y="162684"/>
                      <a:pt x="318895" y="174814"/>
                    </a:cubicBezTo>
                    <a:cubicBezTo>
                      <a:pt x="339610" y="192653"/>
                      <a:pt x="394613" y="227615"/>
                      <a:pt x="424615" y="227615"/>
                    </a:cubicBezTo>
                    <a:cubicBezTo>
                      <a:pt x="455331" y="227615"/>
                      <a:pt x="510334" y="192653"/>
                      <a:pt x="531050" y="174814"/>
                    </a:cubicBezTo>
                    <a:cubicBezTo>
                      <a:pt x="544622" y="162684"/>
                      <a:pt x="579624" y="81342"/>
                      <a:pt x="598197" y="32822"/>
                    </a:cubicBezTo>
                    <a:cubicBezTo>
                      <a:pt x="598911" y="30682"/>
                      <a:pt x="601054" y="29255"/>
                      <a:pt x="603197" y="27827"/>
                    </a:cubicBezTo>
                    <a:cubicBezTo>
                      <a:pt x="609626" y="24260"/>
                      <a:pt x="615340" y="19265"/>
                      <a:pt x="619626" y="12843"/>
                    </a:cubicBezTo>
                    <a:cubicBezTo>
                      <a:pt x="619626" y="12843"/>
                      <a:pt x="619626" y="12843"/>
                      <a:pt x="646771" y="0"/>
                    </a:cubicBezTo>
                    <a:cubicBezTo>
                      <a:pt x="643913" y="12130"/>
                      <a:pt x="636056" y="30682"/>
                      <a:pt x="617483" y="42812"/>
                    </a:cubicBezTo>
                    <a:cubicBezTo>
                      <a:pt x="617483" y="42812"/>
                      <a:pt x="617483" y="42812"/>
                      <a:pt x="615340" y="43525"/>
                    </a:cubicBezTo>
                    <a:cubicBezTo>
                      <a:pt x="615340" y="43525"/>
                      <a:pt x="615340" y="43525"/>
                      <a:pt x="614626" y="45666"/>
                    </a:cubicBezTo>
                    <a:cubicBezTo>
                      <a:pt x="583910" y="123440"/>
                      <a:pt x="557480" y="177668"/>
                      <a:pt x="543908" y="189798"/>
                    </a:cubicBezTo>
                    <a:cubicBezTo>
                      <a:pt x="543193" y="190512"/>
                      <a:pt x="541050" y="191939"/>
                      <a:pt x="539622" y="193366"/>
                    </a:cubicBezTo>
                    <a:cubicBezTo>
                      <a:pt x="539622" y="193366"/>
                      <a:pt x="539622" y="193366"/>
                      <a:pt x="537479" y="195507"/>
                    </a:cubicBezTo>
                    <a:cubicBezTo>
                      <a:pt x="537479" y="195507"/>
                      <a:pt x="537479" y="195507"/>
                      <a:pt x="537479" y="197647"/>
                    </a:cubicBezTo>
                    <a:cubicBezTo>
                      <a:pt x="537479" y="197647"/>
                      <a:pt x="537479" y="197647"/>
                      <a:pt x="537479" y="226902"/>
                    </a:cubicBezTo>
                    <a:lnTo>
                      <a:pt x="531764" y="234751"/>
                    </a:lnTo>
                    <a:cubicBezTo>
                      <a:pt x="531764" y="234751"/>
                      <a:pt x="526764" y="241173"/>
                      <a:pt x="517478" y="249735"/>
                    </a:cubicBezTo>
                    <a:cubicBezTo>
                      <a:pt x="517478" y="249735"/>
                      <a:pt x="517478" y="249735"/>
                      <a:pt x="517478" y="219767"/>
                    </a:cubicBezTo>
                    <a:cubicBezTo>
                      <a:pt x="517478" y="219767"/>
                      <a:pt x="517478" y="219767"/>
                      <a:pt x="517478" y="209777"/>
                    </a:cubicBezTo>
                    <a:cubicBezTo>
                      <a:pt x="517478" y="209777"/>
                      <a:pt x="517478" y="209777"/>
                      <a:pt x="508191" y="215485"/>
                    </a:cubicBezTo>
                    <a:cubicBezTo>
                      <a:pt x="488905" y="227615"/>
                      <a:pt x="452474" y="247594"/>
                      <a:pt x="424615" y="247594"/>
                    </a:cubicBezTo>
                    <a:cubicBezTo>
                      <a:pt x="397471" y="247594"/>
                      <a:pt x="361040" y="227615"/>
                      <a:pt x="341753" y="215485"/>
                    </a:cubicBezTo>
                    <a:cubicBezTo>
                      <a:pt x="341753" y="215485"/>
                      <a:pt x="341753" y="215485"/>
                      <a:pt x="333181" y="209777"/>
                    </a:cubicBezTo>
                    <a:cubicBezTo>
                      <a:pt x="333181" y="209777"/>
                      <a:pt x="333181" y="209777"/>
                      <a:pt x="333181" y="220480"/>
                    </a:cubicBezTo>
                    <a:cubicBezTo>
                      <a:pt x="333181" y="220480"/>
                      <a:pt x="333181" y="220480"/>
                      <a:pt x="333181" y="249735"/>
                    </a:cubicBezTo>
                    <a:cubicBezTo>
                      <a:pt x="323181" y="241173"/>
                      <a:pt x="318180" y="234751"/>
                      <a:pt x="318180" y="234751"/>
                    </a:cubicBezTo>
                    <a:cubicBezTo>
                      <a:pt x="318180" y="234751"/>
                      <a:pt x="318180" y="234751"/>
                      <a:pt x="313180" y="226902"/>
                    </a:cubicBezTo>
                    <a:cubicBezTo>
                      <a:pt x="313180" y="226902"/>
                      <a:pt x="313180" y="226902"/>
                      <a:pt x="313180" y="198361"/>
                    </a:cubicBezTo>
                    <a:cubicBezTo>
                      <a:pt x="313180" y="198361"/>
                      <a:pt x="313180" y="198361"/>
                      <a:pt x="313180" y="195507"/>
                    </a:cubicBezTo>
                    <a:cubicBezTo>
                      <a:pt x="313180" y="195507"/>
                      <a:pt x="313180" y="195507"/>
                      <a:pt x="311037" y="193366"/>
                    </a:cubicBezTo>
                    <a:cubicBezTo>
                      <a:pt x="308894" y="191939"/>
                      <a:pt x="306751" y="190512"/>
                      <a:pt x="306037" y="189798"/>
                    </a:cubicBezTo>
                    <a:cubicBezTo>
                      <a:pt x="292465" y="177668"/>
                      <a:pt x="266035" y="123440"/>
                      <a:pt x="235318" y="45666"/>
                    </a:cubicBezTo>
                    <a:cubicBezTo>
                      <a:pt x="235318" y="45666"/>
                      <a:pt x="235318" y="45666"/>
                      <a:pt x="234604" y="43525"/>
                    </a:cubicBezTo>
                    <a:cubicBezTo>
                      <a:pt x="234604" y="43525"/>
                      <a:pt x="234604" y="43525"/>
                      <a:pt x="232461" y="42812"/>
                    </a:cubicBezTo>
                    <a:cubicBezTo>
                      <a:pt x="213889" y="31395"/>
                      <a:pt x="206031" y="12843"/>
                      <a:pt x="203174" y="0"/>
                    </a:cubicBezTo>
                    <a:close/>
                  </a:path>
                </a:pathLst>
              </a:custGeom>
              <a:solidFill>
                <a:srgbClr val="003B59"/>
              </a:solidFill>
              <a:ln>
                <a:noFill/>
              </a:ln>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1" name="Group 10">
            <a:extLst>
              <a:ext uri="{FF2B5EF4-FFF2-40B4-BE49-F238E27FC236}">
                <a16:creationId xmlns:a16="http://schemas.microsoft.com/office/drawing/2014/main" id="{32D0F724-DB93-40FA-8908-8C9633BC9E9E}"/>
              </a:ext>
            </a:extLst>
          </p:cNvPr>
          <p:cNvGrpSpPr>
            <a:grpSpLocks noChangeAspect="1"/>
          </p:cNvGrpSpPr>
          <p:nvPr/>
        </p:nvGrpSpPr>
        <p:grpSpPr>
          <a:xfrm>
            <a:off x="660382" y="3633006"/>
            <a:ext cx="926227" cy="927085"/>
            <a:chOff x="5273801" y="2606040"/>
            <a:chExt cx="1644396" cy="1645920"/>
          </a:xfrm>
        </p:grpSpPr>
        <p:sp>
          <p:nvSpPr>
            <p:cNvPr id="12" name="AutoShape 8">
              <a:extLst>
                <a:ext uri="{FF2B5EF4-FFF2-40B4-BE49-F238E27FC236}">
                  <a16:creationId xmlns:a16="http://schemas.microsoft.com/office/drawing/2014/main" id="{E702A681-15EB-401C-BBB4-64A017DDACE6}"/>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3" name="Group 12">
              <a:extLst>
                <a:ext uri="{FF2B5EF4-FFF2-40B4-BE49-F238E27FC236}">
                  <a16:creationId xmlns:a16="http://schemas.microsoft.com/office/drawing/2014/main" id="{5E2270B3-24B3-4E69-B005-F4E32EB3723D}"/>
                </a:ext>
              </a:extLst>
            </p:cNvPr>
            <p:cNvGrpSpPr/>
            <p:nvPr/>
          </p:nvGrpSpPr>
          <p:grpSpPr>
            <a:xfrm>
              <a:off x="5521451" y="2919603"/>
              <a:ext cx="1147572" cy="1058037"/>
              <a:chOff x="5521451" y="2919603"/>
              <a:chExt cx="1147572" cy="1058037"/>
            </a:xfrm>
          </p:grpSpPr>
          <p:sp>
            <p:nvSpPr>
              <p:cNvPr id="14" name="Freeform 10">
                <a:extLst>
                  <a:ext uri="{FF2B5EF4-FFF2-40B4-BE49-F238E27FC236}">
                    <a16:creationId xmlns:a16="http://schemas.microsoft.com/office/drawing/2014/main" id="{0293BD7C-E5A0-483E-82A8-D9003EC7B1E3}"/>
                  </a:ext>
                </a:extLst>
              </p:cNvPr>
              <p:cNvSpPr>
                <a:spLocks/>
              </p:cNvSpPr>
              <p:nvPr/>
            </p:nvSpPr>
            <p:spPr bwMode="auto">
              <a:xfrm>
                <a:off x="5799200" y="3358896"/>
                <a:ext cx="592455" cy="417957"/>
              </a:xfrm>
              <a:custGeom>
                <a:avLst/>
                <a:gdLst>
                  <a:gd name="T0" fmla="*/ 0 w 830"/>
                  <a:gd name="T1" fmla="*/ 3 h 585"/>
                  <a:gd name="T2" fmla="*/ 0 w 830"/>
                  <a:gd name="T3" fmla="*/ 9 h 585"/>
                  <a:gd name="T4" fmla="*/ 61 w 830"/>
                  <a:gd name="T5" fmla="*/ 112 h 585"/>
                  <a:gd name="T6" fmla="*/ 180 w 830"/>
                  <a:gd name="T7" fmla="*/ 381 h 585"/>
                  <a:gd name="T8" fmla="*/ 180 w 830"/>
                  <a:gd name="T9" fmla="*/ 550 h 585"/>
                  <a:gd name="T10" fmla="*/ 224 w 830"/>
                  <a:gd name="T11" fmla="*/ 585 h 585"/>
                  <a:gd name="T12" fmla="*/ 224 w 830"/>
                  <a:gd name="T13" fmla="*/ 421 h 585"/>
                  <a:gd name="T14" fmla="*/ 415 w 830"/>
                  <a:gd name="T15" fmla="*/ 511 h 585"/>
                  <a:gd name="T16" fmla="*/ 606 w 830"/>
                  <a:gd name="T17" fmla="*/ 420 h 585"/>
                  <a:gd name="T18" fmla="*/ 606 w 830"/>
                  <a:gd name="T19" fmla="*/ 585 h 585"/>
                  <a:gd name="T20" fmla="*/ 650 w 830"/>
                  <a:gd name="T21" fmla="*/ 546 h 585"/>
                  <a:gd name="T22" fmla="*/ 650 w 830"/>
                  <a:gd name="T23" fmla="*/ 380 h 585"/>
                  <a:gd name="T24" fmla="*/ 769 w 830"/>
                  <a:gd name="T25" fmla="*/ 112 h 585"/>
                  <a:gd name="T26" fmla="*/ 830 w 830"/>
                  <a:gd name="T27" fmla="*/ 6 h 585"/>
                  <a:gd name="T28" fmla="*/ 830 w 830"/>
                  <a:gd name="T29" fmla="*/ 0 h 585"/>
                  <a:gd name="T30" fmla="*/ 781 w 830"/>
                  <a:gd name="T31" fmla="*/ 23 h 585"/>
                  <a:gd name="T32" fmla="*/ 740 w 830"/>
                  <a:gd name="T33" fmla="*/ 78 h 585"/>
                  <a:gd name="T34" fmla="*/ 730 w 830"/>
                  <a:gd name="T35" fmla="*/ 90 h 585"/>
                  <a:gd name="T36" fmla="*/ 611 w 830"/>
                  <a:gd name="T37" fmla="*/ 358 h 585"/>
                  <a:gd name="T38" fmla="*/ 415 w 830"/>
                  <a:gd name="T39" fmla="*/ 467 h 585"/>
                  <a:gd name="T40" fmla="*/ 219 w 830"/>
                  <a:gd name="T41" fmla="*/ 358 h 585"/>
                  <a:gd name="T42" fmla="*/ 100 w 830"/>
                  <a:gd name="T43" fmla="*/ 90 h 585"/>
                  <a:gd name="T44" fmla="*/ 90 w 830"/>
                  <a:gd name="T45" fmla="*/ 78 h 585"/>
                  <a:gd name="T46" fmla="*/ 50 w 830"/>
                  <a:gd name="T47" fmla="*/ 27 h 585"/>
                  <a:gd name="T48" fmla="*/ 0 w 830"/>
                  <a:gd name="T49" fmla="*/ 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0" y="3"/>
                    </a:move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cubicBezTo>
                      <a:pt x="781" y="23"/>
                      <a:pt x="781" y="23"/>
                      <a:pt x="781" y="23"/>
                    </a:cubicBez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lnTo>
                      <a:pt x="0" y="3"/>
                    </a:ln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5" name="Freeform 11">
                <a:extLst>
                  <a:ext uri="{FF2B5EF4-FFF2-40B4-BE49-F238E27FC236}">
                    <a16:creationId xmlns:a16="http://schemas.microsoft.com/office/drawing/2014/main" id="{29387636-0124-4E5E-B437-1AB1AC4061A3}"/>
                  </a:ext>
                </a:extLst>
              </p:cNvPr>
              <p:cNvSpPr>
                <a:spLocks noEditPoints="1"/>
              </p:cNvSpPr>
              <p:nvPr/>
            </p:nvSpPr>
            <p:spPr bwMode="auto">
              <a:xfrm>
                <a:off x="5521451" y="2919603"/>
                <a:ext cx="1147572" cy="1058037"/>
              </a:xfrm>
              <a:custGeom>
                <a:avLst/>
                <a:gdLst>
                  <a:gd name="T0" fmla="*/ 329 w 1608"/>
                  <a:gd name="T1" fmla="*/ 640 h 1481"/>
                  <a:gd name="T2" fmla="*/ 74 w 1608"/>
                  <a:gd name="T3" fmla="*/ 827 h 1481"/>
                  <a:gd name="T4" fmla="*/ 65 w 1608"/>
                  <a:gd name="T5" fmla="*/ 819 h 1481"/>
                  <a:gd name="T6" fmla="*/ 0 w 1608"/>
                  <a:gd name="T7" fmla="*/ 447 h 1481"/>
                  <a:gd name="T8" fmla="*/ 351 w 1608"/>
                  <a:gd name="T9" fmla="*/ 258 h 1481"/>
                  <a:gd name="T10" fmla="*/ 352 w 1608"/>
                  <a:gd name="T11" fmla="*/ 258 h 1481"/>
                  <a:gd name="T12" fmla="*/ 326 w 1608"/>
                  <a:gd name="T13" fmla="*/ 398 h 1481"/>
                  <a:gd name="T14" fmla="*/ 329 w 1608"/>
                  <a:gd name="T15" fmla="*/ 640 h 1481"/>
                  <a:gd name="T16" fmla="*/ 1493 w 1608"/>
                  <a:gd name="T17" fmla="*/ 1481 h 1481"/>
                  <a:gd name="T18" fmla="*/ 1514 w 1608"/>
                  <a:gd name="T19" fmla="*/ 1458 h 1481"/>
                  <a:gd name="T20" fmla="*/ 1513 w 1608"/>
                  <a:gd name="T21" fmla="*/ 1452 h 1481"/>
                  <a:gd name="T22" fmla="*/ 1100 w 1608"/>
                  <a:gd name="T23" fmla="*/ 1153 h 1481"/>
                  <a:gd name="T24" fmla="*/ 802 w 1608"/>
                  <a:gd name="T25" fmla="*/ 1294 h 1481"/>
                  <a:gd name="T26" fmla="*/ 500 w 1608"/>
                  <a:gd name="T27" fmla="*/ 1153 h 1481"/>
                  <a:gd name="T28" fmla="*/ 97 w 1608"/>
                  <a:gd name="T29" fmla="*/ 1433 h 1481"/>
                  <a:gd name="T30" fmla="*/ 94 w 1608"/>
                  <a:gd name="T31" fmla="*/ 1457 h 1481"/>
                  <a:gd name="T32" fmla="*/ 115 w 1608"/>
                  <a:gd name="T33" fmla="*/ 1481 h 1481"/>
                  <a:gd name="T34" fmla="*/ 1493 w 1608"/>
                  <a:gd name="T35" fmla="*/ 1481 h 1481"/>
                  <a:gd name="T36" fmla="*/ 1238 w 1608"/>
                  <a:gd name="T37" fmla="*/ 405 h 1481"/>
                  <a:gd name="T38" fmla="*/ 805 w 1608"/>
                  <a:gd name="T39" fmla="*/ 0 h 1481"/>
                  <a:gd name="T40" fmla="*/ 370 w 1608"/>
                  <a:gd name="T41" fmla="*/ 405 h 1481"/>
                  <a:gd name="T42" fmla="*/ 389 w 1608"/>
                  <a:gd name="T43" fmla="*/ 548 h 1481"/>
                  <a:gd name="T44" fmla="*/ 389 w 1608"/>
                  <a:gd name="T45" fmla="*/ 548 h 1481"/>
                  <a:gd name="T46" fmla="*/ 430 w 1608"/>
                  <a:gd name="T47" fmla="*/ 594 h 1481"/>
                  <a:gd name="T48" fmla="*/ 436 w 1608"/>
                  <a:gd name="T49" fmla="*/ 598 h 1481"/>
                  <a:gd name="T50" fmla="*/ 451 w 1608"/>
                  <a:gd name="T51" fmla="*/ 600 h 1481"/>
                  <a:gd name="T52" fmla="*/ 459 w 1608"/>
                  <a:gd name="T53" fmla="*/ 590 h 1481"/>
                  <a:gd name="T54" fmla="*/ 554 w 1608"/>
                  <a:gd name="T55" fmla="*/ 331 h 1481"/>
                  <a:gd name="T56" fmla="*/ 564 w 1608"/>
                  <a:gd name="T57" fmla="*/ 339 h 1481"/>
                  <a:gd name="T58" fmla="*/ 556 w 1608"/>
                  <a:gd name="T59" fmla="*/ 399 h 1481"/>
                  <a:gd name="T60" fmla="*/ 564 w 1608"/>
                  <a:gd name="T61" fmla="*/ 409 h 1481"/>
                  <a:gd name="T62" fmla="*/ 1124 w 1608"/>
                  <a:gd name="T63" fmla="*/ 317 h 1481"/>
                  <a:gd name="T64" fmla="*/ 1137 w 1608"/>
                  <a:gd name="T65" fmla="*/ 323 h 1481"/>
                  <a:gd name="T66" fmla="*/ 1141 w 1608"/>
                  <a:gd name="T67" fmla="*/ 598 h 1481"/>
                  <a:gd name="T68" fmla="*/ 1149 w 1608"/>
                  <a:gd name="T69" fmla="*/ 606 h 1481"/>
                  <a:gd name="T70" fmla="*/ 1170 w 1608"/>
                  <a:gd name="T71" fmla="*/ 606 h 1481"/>
                  <a:gd name="T72" fmla="*/ 1176 w 1608"/>
                  <a:gd name="T73" fmla="*/ 602 h 1481"/>
                  <a:gd name="T74" fmla="*/ 1221 w 1608"/>
                  <a:gd name="T75" fmla="*/ 542 h 1481"/>
                  <a:gd name="T76" fmla="*/ 1221 w 1608"/>
                  <a:gd name="T77" fmla="*/ 544 h 1481"/>
                  <a:gd name="T78" fmla="*/ 1238 w 1608"/>
                  <a:gd name="T79" fmla="*/ 405 h 1481"/>
                  <a:gd name="T80" fmla="*/ 1257 w 1608"/>
                  <a:gd name="T81" fmla="*/ 258 h 1481"/>
                  <a:gd name="T82" fmla="*/ 1256 w 1608"/>
                  <a:gd name="T83" fmla="*/ 258 h 1481"/>
                  <a:gd name="T84" fmla="*/ 1282 w 1608"/>
                  <a:gd name="T85" fmla="*/ 398 h 1481"/>
                  <a:gd name="T86" fmla="*/ 1279 w 1608"/>
                  <a:gd name="T87" fmla="*/ 640 h 1481"/>
                  <a:gd name="T88" fmla="*/ 1534 w 1608"/>
                  <a:gd name="T89" fmla="*/ 827 h 1481"/>
                  <a:gd name="T90" fmla="*/ 1543 w 1608"/>
                  <a:gd name="T91" fmla="*/ 819 h 1481"/>
                  <a:gd name="T92" fmla="*/ 1608 w 1608"/>
                  <a:gd name="T93" fmla="*/ 447 h 1481"/>
                  <a:gd name="T94" fmla="*/ 1257 w 1608"/>
                  <a:gd name="T95" fmla="*/ 258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8" h="1481">
                    <a:moveTo>
                      <a:pt x="329" y="640"/>
                    </a:moveTo>
                    <a:cubicBezTo>
                      <a:pt x="329" y="751"/>
                      <a:pt x="166" y="821"/>
                      <a:pt x="74" y="827"/>
                    </a:cubicBezTo>
                    <a:cubicBezTo>
                      <a:pt x="70" y="827"/>
                      <a:pt x="65" y="823"/>
                      <a:pt x="65" y="819"/>
                    </a:cubicBezTo>
                    <a:cubicBezTo>
                      <a:pt x="63" y="566"/>
                      <a:pt x="0" y="576"/>
                      <a:pt x="0" y="447"/>
                    </a:cubicBezTo>
                    <a:cubicBezTo>
                      <a:pt x="0" y="318"/>
                      <a:pt x="166" y="260"/>
                      <a:pt x="351" y="258"/>
                    </a:cubicBezTo>
                    <a:cubicBezTo>
                      <a:pt x="351" y="258"/>
                      <a:pt x="352" y="258"/>
                      <a:pt x="352" y="258"/>
                    </a:cubicBezTo>
                    <a:cubicBezTo>
                      <a:pt x="336" y="303"/>
                      <a:pt x="327" y="350"/>
                      <a:pt x="326" y="398"/>
                    </a:cubicBezTo>
                    <a:cubicBezTo>
                      <a:pt x="245" y="406"/>
                      <a:pt x="329" y="529"/>
                      <a:pt x="329" y="640"/>
                    </a:cubicBezTo>
                    <a:close/>
                    <a:moveTo>
                      <a:pt x="1493" y="1481"/>
                    </a:moveTo>
                    <a:cubicBezTo>
                      <a:pt x="1505" y="1481"/>
                      <a:pt x="1515" y="1470"/>
                      <a:pt x="1514" y="1458"/>
                    </a:cubicBezTo>
                    <a:cubicBezTo>
                      <a:pt x="1514" y="1456"/>
                      <a:pt x="1513" y="1454"/>
                      <a:pt x="1513" y="1452"/>
                    </a:cubicBezTo>
                    <a:cubicBezTo>
                      <a:pt x="1481" y="1202"/>
                      <a:pt x="1124" y="1155"/>
                      <a:pt x="1100" y="1153"/>
                    </a:cubicBezTo>
                    <a:cubicBezTo>
                      <a:pt x="1057" y="1212"/>
                      <a:pt x="983" y="1294"/>
                      <a:pt x="802" y="1294"/>
                    </a:cubicBezTo>
                    <a:cubicBezTo>
                      <a:pt x="621" y="1294"/>
                      <a:pt x="537" y="1196"/>
                      <a:pt x="500" y="1153"/>
                    </a:cubicBezTo>
                    <a:cubicBezTo>
                      <a:pt x="478" y="1153"/>
                      <a:pt x="128" y="1168"/>
                      <a:pt x="97" y="1433"/>
                    </a:cubicBezTo>
                    <a:cubicBezTo>
                      <a:pt x="96" y="1441"/>
                      <a:pt x="95" y="1449"/>
                      <a:pt x="94" y="1457"/>
                    </a:cubicBezTo>
                    <a:cubicBezTo>
                      <a:pt x="93" y="1470"/>
                      <a:pt x="103" y="1481"/>
                      <a:pt x="115" y="1481"/>
                    </a:cubicBezTo>
                    <a:lnTo>
                      <a:pt x="1493" y="1481"/>
                    </a:lnTo>
                    <a:close/>
                    <a:moveTo>
                      <a:pt x="1238" y="405"/>
                    </a:moveTo>
                    <a:cubicBezTo>
                      <a:pt x="1238" y="182"/>
                      <a:pt x="1050" y="0"/>
                      <a:pt x="805" y="0"/>
                    </a:cubicBezTo>
                    <a:cubicBezTo>
                      <a:pt x="560" y="0"/>
                      <a:pt x="370" y="182"/>
                      <a:pt x="370" y="405"/>
                    </a:cubicBezTo>
                    <a:cubicBezTo>
                      <a:pt x="370" y="455"/>
                      <a:pt x="370" y="504"/>
                      <a:pt x="389" y="548"/>
                    </a:cubicBezTo>
                    <a:cubicBezTo>
                      <a:pt x="389" y="548"/>
                      <a:pt x="389" y="548"/>
                      <a:pt x="389" y="548"/>
                    </a:cubicBezTo>
                    <a:cubicBezTo>
                      <a:pt x="418" y="572"/>
                      <a:pt x="428" y="586"/>
                      <a:pt x="430" y="594"/>
                    </a:cubicBezTo>
                    <a:cubicBezTo>
                      <a:pt x="432" y="596"/>
                      <a:pt x="434" y="598"/>
                      <a:pt x="436" y="598"/>
                    </a:cubicBezTo>
                    <a:cubicBezTo>
                      <a:pt x="451" y="600"/>
                      <a:pt x="451" y="600"/>
                      <a:pt x="451" y="600"/>
                    </a:cubicBezTo>
                    <a:cubicBezTo>
                      <a:pt x="455" y="600"/>
                      <a:pt x="461" y="596"/>
                      <a:pt x="459" y="590"/>
                    </a:cubicBezTo>
                    <a:cubicBezTo>
                      <a:pt x="457" y="548"/>
                      <a:pt x="453" y="373"/>
                      <a:pt x="554" y="331"/>
                    </a:cubicBezTo>
                    <a:cubicBezTo>
                      <a:pt x="560" y="327"/>
                      <a:pt x="566" y="333"/>
                      <a:pt x="564" y="339"/>
                    </a:cubicBezTo>
                    <a:cubicBezTo>
                      <a:pt x="556" y="399"/>
                      <a:pt x="556" y="399"/>
                      <a:pt x="556" y="399"/>
                    </a:cubicBezTo>
                    <a:cubicBezTo>
                      <a:pt x="554" y="405"/>
                      <a:pt x="558" y="409"/>
                      <a:pt x="564" y="409"/>
                    </a:cubicBezTo>
                    <a:cubicBezTo>
                      <a:pt x="634" y="403"/>
                      <a:pt x="1038" y="367"/>
                      <a:pt x="1124" y="317"/>
                    </a:cubicBezTo>
                    <a:cubicBezTo>
                      <a:pt x="1131" y="313"/>
                      <a:pt x="1137" y="317"/>
                      <a:pt x="1137" y="323"/>
                    </a:cubicBezTo>
                    <a:cubicBezTo>
                      <a:pt x="1141" y="518"/>
                      <a:pt x="1141" y="580"/>
                      <a:pt x="1141" y="598"/>
                    </a:cubicBezTo>
                    <a:cubicBezTo>
                      <a:pt x="1141" y="602"/>
                      <a:pt x="1145" y="606"/>
                      <a:pt x="1149" y="606"/>
                    </a:cubicBezTo>
                    <a:cubicBezTo>
                      <a:pt x="1170" y="606"/>
                      <a:pt x="1170" y="606"/>
                      <a:pt x="1170" y="606"/>
                    </a:cubicBezTo>
                    <a:cubicBezTo>
                      <a:pt x="1172" y="606"/>
                      <a:pt x="1174" y="604"/>
                      <a:pt x="1176" y="602"/>
                    </a:cubicBezTo>
                    <a:cubicBezTo>
                      <a:pt x="1213" y="562"/>
                      <a:pt x="1221" y="544"/>
                      <a:pt x="1221" y="542"/>
                    </a:cubicBezTo>
                    <a:cubicBezTo>
                      <a:pt x="1221" y="542"/>
                      <a:pt x="1221" y="542"/>
                      <a:pt x="1221" y="544"/>
                    </a:cubicBezTo>
                    <a:cubicBezTo>
                      <a:pt x="1240" y="500"/>
                      <a:pt x="1238" y="453"/>
                      <a:pt x="1238" y="405"/>
                    </a:cubicBezTo>
                    <a:close/>
                    <a:moveTo>
                      <a:pt x="1257" y="258"/>
                    </a:moveTo>
                    <a:cubicBezTo>
                      <a:pt x="1257" y="258"/>
                      <a:pt x="1256" y="258"/>
                      <a:pt x="1256" y="258"/>
                    </a:cubicBezTo>
                    <a:cubicBezTo>
                      <a:pt x="1272" y="303"/>
                      <a:pt x="1281" y="350"/>
                      <a:pt x="1282" y="398"/>
                    </a:cubicBezTo>
                    <a:cubicBezTo>
                      <a:pt x="1363" y="406"/>
                      <a:pt x="1279" y="529"/>
                      <a:pt x="1279" y="640"/>
                    </a:cubicBezTo>
                    <a:cubicBezTo>
                      <a:pt x="1279" y="751"/>
                      <a:pt x="1442" y="821"/>
                      <a:pt x="1534" y="827"/>
                    </a:cubicBezTo>
                    <a:cubicBezTo>
                      <a:pt x="1538" y="827"/>
                      <a:pt x="1543" y="823"/>
                      <a:pt x="1543" y="819"/>
                    </a:cubicBezTo>
                    <a:cubicBezTo>
                      <a:pt x="1545" y="566"/>
                      <a:pt x="1608" y="576"/>
                      <a:pt x="1608" y="447"/>
                    </a:cubicBezTo>
                    <a:cubicBezTo>
                      <a:pt x="1608" y="318"/>
                      <a:pt x="1442" y="260"/>
                      <a:pt x="1257" y="25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nvGrpSpPr>
          <p:cNvPr id="16" name="Group 15">
            <a:extLst>
              <a:ext uri="{FF2B5EF4-FFF2-40B4-BE49-F238E27FC236}">
                <a16:creationId xmlns:a16="http://schemas.microsoft.com/office/drawing/2014/main" id="{B79A050D-0D6E-4813-8494-A723249EEA45}"/>
              </a:ext>
            </a:extLst>
          </p:cNvPr>
          <p:cNvGrpSpPr>
            <a:grpSpLocks noChangeAspect="1"/>
          </p:cNvGrpSpPr>
          <p:nvPr/>
        </p:nvGrpSpPr>
        <p:grpSpPr>
          <a:xfrm>
            <a:off x="1290401" y="3633005"/>
            <a:ext cx="926227" cy="927085"/>
            <a:chOff x="5273801" y="2606040"/>
            <a:chExt cx="1644396" cy="1645920"/>
          </a:xfrm>
        </p:grpSpPr>
        <p:sp>
          <p:nvSpPr>
            <p:cNvPr id="17" name="AutoShape 3">
              <a:extLst>
                <a:ext uri="{FF2B5EF4-FFF2-40B4-BE49-F238E27FC236}">
                  <a16:creationId xmlns:a16="http://schemas.microsoft.com/office/drawing/2014/main" id="{5A82658A-C596-41B2-9E26-B545663FA6E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8" name="Group 17">
              <a:extLst>
                <a:ext uri="{FF2B5EF4-FFF2-40B4-BE49-F238E27FC236}">
                  <a16:creationId xmlns:a16="http://schemas.microsoft.com/office/drawing/2014/main" id="{98640C2F-26F6-45D1-B626-BE222DB2492C}"/>
                </a:ext>
              </a:extLst>
            </p:cNvPr>
            <p:cNvGrpSpPr/>
            <p:nvPr/>
          </p:nvGrpSpPr>
          <p:grpSpPr>
            <a:xfrm>
              <a:off x="5588507" y="2918841"/>
              <a:ext cx="1014984" cy="1058037"/>
              <a:chOff x="5588507" y="2918841"/>
              <a:chExt cx="1014984" cy="1058037"/>
            </a:xfrm>
          </p:grpSpPr>
          <p:sp>
            <p:nvSpPr>
              <p:cNvPr id="19" name="Freeform 5">
                <a:extLst>
                  <a:ext uri="{FF2B5EF4-FFF2-40B4-BE49-F238E27FC236}">
                    <a16:creationId xmlns:a16="http://schemas.microsoft.com/office/drawing/2014/main" id="{FFE6D173-BF1F-49B6-BF03-053988168E1C}"/>
                  </a:ext>
                </a:extLst>
              </p:cNvPr>
              <p:cNvSpPr>
                <a:spLocks/>
              </p:cNvSpPr>
              <p:nvPr/>
            </p:nvSpPr>
            <p:spPr bwMode="auto">
              <a:xfrm>
                <a:off x="5799962" y="3358134"/>
                <a:ext cx="592074" cy="417957"/>
              </a:xfrm>
              <a:custGeom>
                <a:avLst/>
                <a:gdLst>
                  <a:gd name="T0" fmla="*/ 781 w 830"/>
                  <a:gd name="T1" fmla="*/ 23 h 585"/>
                  <a:gd name="T2" fmla="*/ 740 w 830"/>
                  <a:gd name="T3" fmla="*/ 78 h 585"/>
                  <a:gd name="T4" fmla="*/ 730 w 830"/>
                  <a:gd name="T5" fmla="*/ 90 h 585"/>
                  <a:gd name="T6" fmla="*/ 611 w 830"/>
                  <a:gd name="T7" fmla="*/ 358 h 585"/>
                  <a:gd name="T8" fmla="*/ 415 w 830"/>
                  <a:gd name="T9" fmla="*/ 467 h 585"/>
                  <a:gd name="T10" fmla="*/ 219 w 830"/>
                  <a:gd name="T11" fmla="*/ 358 h 585"/>
                  <a:gd name="T12" fmla="*/ 100 w 830"/>
                  <a:gd name="T13" fmla="*/ 90 h 585"/>
                  <a:gd name="T14" fmla="*/ 90 w 830"/>
                  <a:gd name="T15" fmla="*/ 78 h 585"/>
                  <a:gd name="T16" fmla="*/ 50 w 830"/>
                  <a:gd name="T17" fmla="*/ 27 h 585"/>
                  <a:gd name="T18" fmla="*/ 0 w 830"/>
                  <a:gd name="T19" fmla="*/ 3 h 585"/>
                  <a:gd name="T20" fmla="*/ 0 w 830"/>
                  <a:gd name="T21" fmla="*/ 9 h 585"/>
                  <a:gd name="T22" fmla="*/ 61 w 830"/>
                  <a:gd name="T23" fmla="*/ 112 h 585"/>
                  <a:gd name="T24" fmla="*/ 180 w 830"/>
                  <a:gd name="T25" fmla="*/ 381 h 585"/>
                  <a:gd name="T26" fmla="*/ 180 w 830"/>
                  <a:gd name="T27" fmla="*/ 550 h 585"/>
                  <a:gd name="T28" fmla="*/ 224 w 830"/>
                  <a:gd name="T29" fmla="*/ 585 h 585"/>
                  <a:gd name="T30" fmla="*/ 224 w 830"/>
                  <a:gd name="T31" fmla="*/ 421 h 585"/>
                  <a:gd name="T32" fmla="*/ 415 w 830"/>
                  <a:gd name="T33" fmla="*/ 511 h 585"/>
                  <a:gd name="T34" fmla="*/ 606 w 830"/>
                  <a:gd name="T35" fmla="*/ 420 h 585"/>
                  <a:gd name="T36" fmla="*/ 606 w 830"/>
                  <a:gd name="T37" fmla="*/ 585 h 585"/>
                  <a:gd name="T38" fmla="*/ 650 w 830"/>
                  <a:gd name="T39" fmla="*/ 546 h 585"/>
                  <a:gd name="T40" fmla="*/ 650 w 830"/>
                  <a:gd name="T41" fmla="*/ 380 h 585"/>
                  <a:gd name="T42" fmla="*/ 769 w 830"/>
                  <a:gd name="T43" fmla="*/ 112 h 585"/>
                  <a:gd name="T44" fmla="*/ 830 w 830"/>
                  <a:gd name="T45" fmla="*/ 6 h 585"/>
                  <a:gd name="T46" fmla="*/ 830 w 830"/>
                  <a:gd name="T47" fmla="*/ 0 h 585"/>
                  <a:gd name="T48" fmla="*/ 781 w 830"/>
                  <a:gd name="T49" fmla="*/ 2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781" y="23"/>
                    </a:move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cubicBezTo>
                      <a:pt x="0" y="3"/>
                      <a:pt x="0" y="3"/>
                      <a:pt x="0" y="3"/>
                    </a:cubicBez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lnTo>
                      <a:pt x="781" y="23"/>
                    </a:ln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0" name="Freeform 6">
                <a:extLst>
                  <a:ext uri="{FF2B5EF4-FFF2-40B4-BE49-F238E27FC236}">
                    <a16:creationId xmlns:a16="http://schemas.microsoft.com/office/drawing/2014/main" id="{0B46F891-EA5E-41D8-A7F2-C59334F7CA1A}"/>
                  </a:ext>
                </a:extLst>
              </p:cNvPr>
              <p:cNvSpPr>
                <a:spLocks noEditPoints="1"/>
              </p:cNvSpPr>
              <p:nvPr/>
            </p:nvSpPr>
            <p:spPr bwMode="auto">
              <a:xfrm>
                <a:off x="5588507" y="2918841"/>
                <a:ext cx="1014984" cy="1058037"/>
              </a:xfrm>
              <a:custGeom>
                <a:avLst/>
                <a:gdLst>
                  <a:gd name="T0" fmla="*/ 22 w 1422"/>
                  <a:gd name="T1" fmla="*/ 1481 h 1481"/>
                  <a:gd name="T2" fmla="*/ 1 w 1422"/>
                  <a:gd name="T3" fmla="*/ 1457 h 1481"/>
                  <a:gd name="T4" fmla="*/ 4 w 1422"/>
                  <a:gd name="T5" fmla="*/ 1433 h 1481"/>
                  <a:gd name="T6" fmla="*/ 407 w 1422"/>
                  <a:gd name="T7" fmla="*/ 1153 h 1481"/>
                  <a:gd name="T8" fmla="*/ 709 w 1422"/>
                  <a:gd name="T9" fmla="*/ 1294 h 1481"/>
                  <a:gd name="T10" fmla="*/ 1007 w 1422"/>
                  <a:gd name="T11" fmla="*/ 1153 h 1481"/>
                  <a:gd name="T12" fmla="*/ 1420 w 1422"/>
                  <a:gd name="T13" fmla="*/ 1452 h 1481"/>
                  <a:gd name="T14" fmla="*/ 1421 w 1422"/>
                  <a:gd name="T15" fmla="*/ 1458 h 1481"/>
                  <a:gd name="T16" fmla="*/ 1400 w 1422"/>
                  <a:gd name="T17" fmla="*/ 1481 h 1481"/>
                  <a:gd name="T18" fmla="*/ 22 w 1422"/>
                  <a:gd name="T19" fmla="*/ 1481 h 1481"/>
                  <a:gd name="T20" fmla="*/ 1143 w 1422"/>
                  <a:gd name="T21" fmla="*/ 404 h 1481"/>
                  <a:gd name="T22" fmla="*/ 710 w 1422"/>
                  <a:gd name="T23" fmla="*/ 0 h 1481"/>
                  <a:gd name="T24" fmla="*/ 279 w 1422"/>
                  <a:gd name="T25" fmla="*/ 404 h 1481"/>
                  <a:gd name="T26" fmla="*/ 295 w 1422"/>
                  <a:gd name="T27" fmla="*/ 545 h 1481"/>
                  <a:gd name="T28" fmla="*/ 295 w 1422"/>
                  <a:gd name="T29" fmla="*/ 545 h 1481"/>
                  <a:gd name="T30" fmla="*/ 338 w 1422"/>
                  <a:gd name="T31" fmla="*/ 591 h 1481"/>
                  <a:gd name="T32" fmla="*/ 344 w 1422"/>
                  <a:gd name="T33" fmla="*/ 595 h 1481"/>
                  <a:gd name="T34" fmla="*/ 359 w 1422"/>
                  <a:gd name="T35" fmla="*/ 597 h 1481"/>
                  <a:gd name="T36" fmla="*/ 367 w 1422"/>
                  <a:gd name="T37" fmla="*/ 589 h 1481"/>
                  <a:gd name="T38" fmla="*/ 459 w 1422"/>
                  <a:gd name="T39" fmla="*/ 328 h 1481"/>
                  <a:gd name="T40" fmla="*/ 472 w 1422"/>
                  <a:gd name="T41" fmla="*/ 336 h 1481"/>
                  <a:gd name="T42" fmla="*/ 464 w 1422"/>
                  <a:gd name="T43" fmla="*/ 392 h 1481"/>
                  <a:gd name="T44" fmla="*/ 474 w 1422"/>
                  <a:gd name="T45" fmla="*/ 400 h 1481"/>
                  <a:gd name="T46" fmla="*/ 640 w 1422"/>
                  <a:gd name="T47" fmla="*/ 306 h 1481"/>
                  <a:gd name="T48" fmla="*/ 652 w 1422"/>
                  <a:gd name="T49" fmla="*/ 316 h 1481"/>
                  <a:gd name="T50" fmla="*/ 630 w 1422"/>
                  <a:gd name="T51" fmla="*/ 356 h 1481"/>
                  <a:gd name="T52" fmla="*/ 638 w 1422"/>
                  <a:gd name="T53" fmla="*/ 368 h 1481"/>
                  <a:gd name="T54" fmla="*/ 817 w 1422"/>
                  <a:gd name="T55" fmla="*/ 346 h 1481"/>
                  <a:gd name="T56" fmla="*/ 817 w 1422"/>
                  <a:gd name="T57" fmla="*/ 346 h 1481"/>
                  <a:gd name="T58" fmla="*/ 1028 w 1422"/>
                  <a:gd name="T59" fmla="*/ 316 h 1481"/>
                  <a:gd name="T60" fmla="*/ 1043 w 1422"/>
                  <a:gd name="T61" fmla="*/ 322 h 1481"/>
                  <a:gd name="T62" fmla="*/ 1047 w 1422"/>
                  <a:gd name="T63" fmla="*/ 595 h 1481"/>
                  <a:gd name="T64" fmla="*/ 1055 w 1422"/>
                  <a:gd name="T65" fmla="*/ 603 h 1481"/>
                  <a:gd name="T66" fmla="*/ 1073 w 1422"/>
                  <a:gd name="T67" fmla="*/ 603 h 1481"/>
                  <a:gd name="T68" fmla="*/ 1080 w 1422"/>
                  <a:gd name="T69" fmla="*/ 601 h 1481"/>
                  <a:gd name="T70" fmla="*/ 1127 w 1422"/>
                  <a:gd name="T71" fmla="*/ 541 h 1481"/>
                  <a:gd name="T72" fmla="*/ 1127 w 1422"/>
                  <a:gd name="T73" fmla="*/ 541 h 1481"/>
                  <a:gd name="T74" fmla="*/ 1143 w 1422"/>
                  <a:gd name="T75" fmla="*/ 40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2" h="1481">
                    <a:moveTo>
                      <a:pt x="22" y="1481"/>
                    </a:moveTo>
                    <a:cubicBezTo>
                      <a:pt x="10" y="1481"/>
                      <a:pt x="0" y="1470"/>
                      <a:pt x="1" y="1457"/>
                    </a:cubicBezTo>
                    <a:cubicBezTo>
                      <a:pt x="2" y="1449"/>
                      <a:pt x="3" y="1441"/>
                      <a:pt x="4" y="1433"/>
                    </a:cubicBezTo>
                    <a:cubicBezTo>
                      <a:pt x="35" y="1168"/>
                      <a:pt x="385" y="1153"/>
                      <a:pt x="407" y="1153"/>
                    </a:cubicBezTo>
                    <a:cubicBezTo>
                      <a:pt x="444" y="1196"/>
                      <a:pt x="528" y="1294"/>
                      <a:pt x="709" y="1294"/>
                    </a:cubicBezTo>
                    <a:cubicBezTo>
                      <a:pt x="890" y="1294"/>
                      <a:pt x="964" y="1212"/>
                      <a:pt x="1007" y="1153"/>
                    </a:cubicBezTo>
                    <a:cubicBezTo>
                      <a:pt x="1031" y="1155"/>
                      <a:pt x="1388" y="1202"/>
                      <a:pt x="1420" y="1452"/>
                    </a:cubicBezTo>
                    <a:cubicBezTo>
                      <a:pt x="1420" y="1454"/>
                      <a:pt x="1421" y="1456"/>
                      <a:pt x="1421" y="1458"/>
                    </a:cubicBezTo>
                    <a:cubicBezTo>
                      <a:pt x="1422" y="1470"/>
                      <a:pt x="1412" y="1481"/>
                      <a:pt x="1400" y="1481"/>
                    </a:cubicBezTo>
                    <a:lnTo>
                      <a:pt x="22" y="1481"/>
                    </a:lnTo>
                    <a:close/>
                    <a:moveTo>
                      <a:pt x="1143" y="404"/>
                    </a:moveTo>
                    <a:cubicBezTo>
                      <a:pt x="1143" y="180"/>
                      <a:pt x="954" y="0"/>
                      <a:pt x="710" y="0"/>
                    </a:cubicBezTo>
                    <a:cubicBezTo>
                      <a:pt x="466" y="0"/>
                      <a:pt x="279" y="180"/>
                      <a:pt x="279" y="404"/>
                    </a:cubicBezTo>
                    <a:cubicBezTo>
                      <a:pt x="279" y="452"/>
                      <a:pt x="279" y="500"/>
                      <a:pt x="295" y="545"/>
                    </a:cubicBezTo>
                    <a:cubicBezTo>
                      <a:pt x="295" y="545"/>
                      <a:pt x="295" y="545"/>
                      <a:pt x="295" y="545"/>
                    </a:cubicBezTo>
                    <a:cubicBezTo>
                      <a:pt x="326" y="569"/>
                      <a:pt x="334" y="585"/>
                      <a:pt x="338" y="591"/>
                    </a:cubicBezTo>
                    <a:cubicBezTo>
                      <a:pt x="338" y="593"/>
                      <a:pt x="342" y="595"/>
                      <a:pt x="344" y="595"/>
                    </a:cubicBezTo>
                    <a:cubicBezTo>
                      <a:pt x="359" y="597"/>
                      <a:pt x="359" y="597"/>
                      <a:pt x="359" y="597"/>
                    </a:cubicBezTo>
                    <a:cubicBezTo>
                      <a:pt x="363" y="597"/>
                      <a:pt x="367" y="593"/>
                      <a:pt x="367" y="589"/>
                    </a:cubicBezTo>
                    <a:cubicBezTo>
                      <a:pt x="365" y="547"/>
                      <a:pt x="361" y="370"/>
                      <a:pt x="459" y="328"/>
                    </a:cubicBezTo>
                    <a:cubicBezTo>
                      <a:pt x="466" y="326"/>
                      <a:pt x="472" y="330"/>
                      <a:pt x="472" y="336"/>
                    </a:cubicBezTo>
                    <a:cubicBezTo>
                      <a:pt x="464" y="392"/>
                      <a:pt x="464" y="392"/>
                      <a:pt x="464" y="392"/>
                    </a:cubicBezTo>
                    <a:cubicBezTo>
                      <a:pt x="461" y="398"/>
                      <a:pt x="468" y="404"/>
                      <a:pt x="474" y="400"/>
                    </a:cubicBezTo>
                    <a:cubicBezTo>
                      <a:pt x="507" y="384"/>
                      <a:pt x="589" y="344"/>
                      <a:pt x="640" y="306"/>
                    </a:cubicBezTo>
                    <a:cubicBezTo>
                      <a:pt x="646" y="302"/>
                      <a:pt x="655" y="308"/>
                      <a:pt x="652" y="316"/>
                    </a:cubicBezTo>
                    <a:cubicBezTo>
                      <a:pt x="646" y="328"/>
                      <a:pt x="638" y="344"/>
                      <a:pt x="630" y="356"/>
                    </a:cubicBezTo>
                    <a:cubicBezTo>
                      <a:pt x="626" y="360"/>
                      <a:pt x="630" y="368"/>
                      <a:pt x="638" y="368"/>
                    </a:cubicBezTo>
                    <a:cubicBezTo>
                      <a:pt x="817" y="346"/>
                      <a:pt x="817" y="346"/>
                      <a:pt x="817" y="346"/>
                    </a:cubicBezTo>
                    <a:cubicBezTo>
                      <a:pt x="817" y="346"/>
                      <a:pt x="817" y="346"/>
                      <a:pt x="817" y="346"/>
                    </a:cubicBezTo>
                    <a:cubicBezTo>
                      <a:pt x="829" y="348"/>
                      <a:pt x="969" y="360"/>
                      <a:pt x="1028" y="316"/>
                    </a:cubicBezTo>
                    <a:cubicBezTo>
                      <a:pt x="1034" y="312"/>
                      <a:pt x="1043" y="316"/>
                      <a:pt x="1043" y="322"/>
                    </a:cubicBezTo>
                    <a:cubicBezTo>
                      <a:pt x="1045" y="517"/>
                      <a:pt x="1047" y="577"/>
                      <a:pt x="1047" y="595"/>
                    </a:cubicBezTo>
                    <a:cubicBezTo>
                      <a:pt x="1047" y="599"/>
                      <a:pt x="1051" y="603"/>
                      <a:pt x="1055" y="603"/>
                    </a:cubicBezTo>
                    <a:cubicBezTo>
                      <a:pt x="1073" y="603"/>
                      <a:pt x="1073" y="603"/>
                      <a:pt x="1073" y="603"/>
                    </a:cubicBezTo>
                    <a:cubicBezTo>
                      <a:pt x="1078" y="603"/>
                      <a:pt x="1080" y="603"/>
                      <a:pt x="1080" y="601"/>
                    </a:cubicBezTo>
                    <a:cubicBezTo>
                      <a:pt x="1119" y="561"/>
                      <a:pt x="1125" y="541"/>
                      <a:pt x="1127" y="541"/>
                    </a:cubicBezTo>
                    <a:cubicBezTo>
                      <a:pt x="1127" y="541"/>
                      <a:pt x="1127" y="541"/>
                      <a:pt x="1127" y="541"/>
                    </a:cubicBezTo>
                    <a:cubicBezTo>
                      <a:pt x="1143" y="498"/>
                      <a:pt x="1143" y="452"/>
                      <a:pt x="1143" y="404"/>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nvGrpSpPr>
          <p:cNvPr id="26" name="Group 25">
            <a:extLst>
              <a:ext uri="{FF2B5EF4-FFF2-40B4-BE49-F238E27FC236}">
                <a16:creationId xmlns:a16="http://schemas.microsoft.com/office/drawing/2014/main" id="{BA351A1A-5C3C-41DA-BBE7-0863D3921129}"/>
              </a:ext>
            </a:extLst>
          </p:cNvPr>
          <p:cNvGrpSpPr>
            <a:grpSpLocks noChangeAspect="1"/>
          </p:cNvGrpSpPr>
          <p:nvPr/>
        </p:nvGrpSpPr>
        <p:grpSpPr>
          <a:xfrm>
            <a:off x="4148349" y="2788026"/>
            <a:ext cx="926190" cy="927085"/>
            <a:chOff x="7978775" y="2606675"/>
            <a:chExt cx="1643063" cy="1644650"/>
          </a:xfrm>
        </p:grpSpPr>
        <p:sp>
          <p:nvSpPr>
            <p:cNvPr id="27" name="AutoShape 28">
              <a:extLst>
                <a:ext uri="{FF2B5EF4-FFF2-40B4-BE49-F238E27FC236}">
                  <a16:creationId xmlns:a16="http://schemas.microsoft.com/office/drawing/2014/main" id="{FBF97DEF-9F38-4D5E-8BB7-4624251346F4}"/>
                </a:ext>
              </a:extLst>
            </p:cNvPr>
            <p:cNvSpPr>
              <a:spLocks noChangeAspect="1" noChangeArrowheads="1" noTextEdit="1"/>
            </p:cNvSpPr>
            <p:nvPr/>
          </p:nvSpPr>
          <p:spPr bwMode="auto">
            <a:xfrm>
              <a:off x="7978775" y="2606675"/>
              <a:ext cx="1643063"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28" name="Group 27">
              <a:extLst>
                <a:ext uri="{FF2B5EF4-FFF2-40B4-BE49-F238E27FC236}">
                  <a16:creationId xmlns:a16="http://schemas.microsoft.com/office/drawing/2014/main" id="{EB55EA97-7F72-4F87-9C8E-696569D6893F}"/>
                </a:ext>
              </a:extLst>
            </p:cNvPr>
            <p:cNvGrpSpPr/>
            <p:nvPr/>
          </p:nvGrpSpPr>
          <p:grpSpPr>
            <a:xfrm>
              <a:off x="8154988" y="2822575"/>
              <a:ext cx="1287463" cy="1179513"/>
              <a:chOff x="8154988" y="2822575"/>
              <a:chExt cx="1287463" cy="1179513"/>
            </a:xfrm>
          </p:grpSpPr>
          <p:sp>
            <p:nvSpPr>
              <p:cNvPr id="29" name="Freeform 30">
                <a:extLst>
                  <a:ext uri="{FF2B5EF4-FFF2-40B4-BE49-F238E27FC236}">
                    <a16:creationId xmlns:a16="http://schemas.microsoft.com/office/drawing/2014/main" id="{530A92DC-4181-4B19-AD82-D83620347720}"/>
                  </a:ext>
                </a:extLst>
              </p:cNvPr>
              <p:cNvSpPr>
                <a:spLocks noEditPoints="1"/>
              </p:cNvSpPr>
              <p:nvPr/>
            </p:nvSpPr>
            <p:spPr bwMode="auto">
              <a:xfrm>
                <a:off x="8482013" y="2822575"/>
                <a:ext cx="657225" cy="1179513"/>
              </a:xfrm>
              <a:custGeom>
                <a:avLst/>
                <a:gdLst>
                  <a:gd name="T0" fmla="*/ 748 w 922"/>
                  <a:gd name="T1" fmla="*/ 1243 h 1655"/>
                  <a:gd name="T2" fmla="*/ 530 w 922"/>
                  <a:gd name="T3" fmla="*/ 1655 h 1655"/>
                  <a:gd name="T4" fmla="*/ 360 w 922"/>
                  <a:gd name="T5" fmla="*/ 1655 h 1655"/>
                  <a:gd name="T6" fmla="*/ 142 w 922"/>
                  <a:gd name="T7" fmla="*/ 1242 h 1655"/>
                  <a:gd name="T8" fmla="*/ 153 w 922"/>
                  <a:gd name="T9" fmla="*/ 1242 h 1655"/>
                  <a:gd name="T10" fmla="*/ 440 w 922"/>
                  <a:gd name="T11" fmla="*/ 1476 h 1655"/>
                  <a:gd name="T12" fmla="*/ 451 w 922"/>
                  <a:gd name="T13" fmla="*/ 1476 h 1655"/>
                  <a:gd name="T14" fmla="*/ 736 w 922"/>
                  <a:gd name="T15" fmla="*/ 1242 h 1655"/>
                  <a:gd name="T16" fmla="*/ 748 w 922"/>
                  <a:gd name="T17" fmla="*/ 1243 h 1655"/>
                  <a:gd name="T18" fmla="*/ 890 w 922"/>
                  <a:gd name="T19" fmla="*/ 537 h 1655"/>
                  <a:gd name="T20" fmla="*/ 892 w 922"/>
                  <a:gd name="T21" fmla="*/ 452 h 1655"/>
                  <a:gd name="T22" fmla="*/ 446 w 922"/>
                  <a:gd name="T23" fmla="*/ 0 h 1655"/>
                  <a:gd name="T24" fmla="*/ 0 w 922"/>
                  <a:gd name="T25" fmla="*/ 452 h 1655"/>
                  <a:gd name="T26" fmla="*/ 25 w 922"/>
                  <a:gd name="T27" fmla="*/ 637 h 1655"/>
                  <a:gd name="T28" fmla="*/ 201 w 922"/>
                  <a:gd name="T29" fmla="*/ 380 h 1655"/>
                  <a:gd name="T30" fmla="*/ 244 w 922"/>
                  <a:gd name="T31" fmla="*/ 354 h 1655"/>
                  <a:gd name="T32" fmla="*/ 786 w 922"/>
                  <a:gd name="T33" fmla="*/ 674 h 1655"/>
                  <a:gd name="T34" fmla="*/ 922 w 922"/>
                  <a:gd name="T35" fmla="*/ 634 h 1655"/>
                  <a:gd name="T36" fmla="*/ 890 w 922"/>
                  <a:gd name="T37" fmla="*/ 537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2" h="1655">
                    <a:moveTo>
                      <a:pt x="748" y="1243"/>
                    </a:moveTo>
                    <a:cubicBezTo>
                      <a:pt x="530" y="1655"/>
                      <a:pt x="530" y="1655"/>
                      <a:pt x="530" y="1655"/>
                    </a:cubicBezTo>
                    <a:cubicBezTo>
                      <a:pt x="360" y="1655"/>
                      <a:pt x="360" y="1655"/>
                      <a:pt x="360" y="1655"/>
                    </a:cubicBezTo>
                    <a:cubicBezTo>
                      <a:pt x="142" y="1242"/>
                      <a:pt x="142" y="1242"/>
                      <a:pt x="142" y="1242"/>
                    </a:cubicBezTo>
                    <a:cubicBezTo>
                      <a:pt x="153" y="1242"/>
                      <a:pt x="153" y="1242"/>
                      <a:pt x="153" y="1242"/>
                    </a:cubicBezTo>
                    <a:cubicBezTo>
                      <a:pt x="440" y="1476"/>
                      <a:pt x="440" y="1476"/>
                      <a:pt x="440" y="1476"/>
                    </a:cubicBezTo>
                    <a:cubicBezTo>
                      <a:pt x="443" y="1479"/>
                      <a:pt x="448" y="1479"/>
                      <a:pt x="451" y="1476"/>
                    </a:cubicBezTo>
                    <a:cubicBezTo>
                      <a:pt x="736" y="1242"/>
                      <a:pt x="736" y="1242"/>
                      <a:pt x="736" y="1242"/>
                    </a:cubicBezTo>
                    <a:cubicBezTo>
                      <a:pt x="737" y="1242"/>
                      <a:pt x="746" y="1243"/>
                      <a:pt x="748" y="1243"/>
                    </a:cubicBezTo>
                    <a:close/>
                    <a:moveTo>
                      <a:pt x="890" y="537"/>
                    </a:moveTo>
                    <a:cubicBezTo>
                      <a:pt x="893" y="510"/>
                      <a:pt x="892" y="481"/>
                      <a:pt x="892" y="452"/>
                    </a:cubicBezTo>
                    <a:cubicBezTo>
                      <a:pt x="892" y="202"/>
                      <a:pt x="699" y="0"/>
                      <a:pt x="446" y="0"/>
                    </a:cubicBezTo>
                    <a:cubicBezTo>
                      <a:pt x="194" y="0"/>
                      <a:pt x="0" y="202"/>
                      <a:pt x="0" y="452"/>
                    </a:cubicBezTo>
                    <a:cubicBezTo>
                      <a:pt x="0" y="507"/>
                      <a:pt x="9" y="617"/>
                      <a:pt x="25" y="637"/>
                    </a:cubicBezTo>
                    <a:cubicBezTo>
                      <a:pt x="69" y="676"/>
                      <a:pt x="75" y="465"/>
                      <a:pt x="201" y="380"/>
                    </a:cubicBezTo>
                    <a:cubicBezTo>
                      <a:pt x="214" y="371"/>
                      <a:pt x="244" y="354"/>
                      <a:pt x="244" y="354"/>
                    </a:cubicBezTo>
                    <a:cubicBezTo>
                      <a:pt x="523" y="353"/>
                      <a:pt x="735" y="646"/>
                      <a:pt x="786" y="674"/>
                    </a:cubicBezTo>
                    <a:cubicBezTo>
                      <a:pt x="830" y="699"/>
                      <a:pt x="922" y="634"/>
                      <a:pt x="922" y="634"/>
                    </a:cubicBezTo>
                    <a:cubicBezTo>
                      <a:pt x="896" y="596"/>
                      <a:pt x="888" y="560"/>
                      <a:pt x="890" y="537"/>
                    </a:cubicBezTo>
                    <a:close/>
                  </a:path>
                </a:pathLst>
              </a:custGeom>
              <a:solidFill>
                <a:srgbClr val="003B59"/>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30" name="Freeform 31">
                <a:extLst>
                  <a:ext uri="{FF2B5EF4-FFF2-40B4-BE49-F238E27FC236}">
                    <a16:creationId xmlns:a16="http://schemas.microsoft.com/office/drawing/2014/main" id="{54C0DCD9-7580-4D96-83E8-2D54E4023116}"/>
                  </a:ext>
                </a:extLst>
              </p:cNvPr>
              <p:cNvSpPr>
                <a:spLocks noEditPoints="1"/>
              </p:cNvSpPr>
              <p:nvPr/>
            </p:nvSpPr>
            <p:spPr bwMode="auto">
              <a:xfrm>
                <a:off x="8154988" y="3294063"/>
                <a:ext cx="1287463" cy="708025"/>
              </a:xfrm>
              <a:custGeom>
                <a:avLst/>
                <a:gdLst>
                  <a:gd name="T0" fmla="*/ 613 w 1804"/>
                  <a:gd name="T1" fmla="*/ 994 h 994"/>
                  <a:gd name="T2" fmla="*/ 5 w 1804"/>
                  <a:gd name="T3" fmla="*/ 964 h 994"/>
                  <a:gd name="T4" fmla="*/ 413 w 1804"/>
                  <a:gd name="T5" fmla="*/ 598 h 994"/>
                  <a:gd name="T6" fmla="*/ 269 w 1804"/>
                  <a:gd name="T7" fmla="*/ 683 h 994"/>
                  <a:gd name="T8" fmla="*/ 424 w 1804"/>
                  <a:gd name="T9" fmla="*/ 714 h 994"/>
                  <a:gd name="T10" fmla="*/ 334 w 1804"/>
                  <a:gd name="T11" fmla="*/ 759 h 994"/>
                  <a:gd name="T12" fmla="*/ 551 w 1804"/>
                  <a:gd name="T13" fmla="*/ 584 h 994"/>
                  <a:gd name="T14" fmla="*/ 374 w 1804"/>
                  <a:gd name="T15" fmla="*/ 665 h 994"/>
                  <a:gd name="T16" fmla="*/ 545 w 1804"/>
                  <a:gd name="T17" fmla="*/ 698 h 994"/>
                  <a:gd name="T18" fmla="*/ 400 w 1804"/>
                  <a:gd name="T19" fmla="*/ 769 h 994"/>
                  <a:gd name="T20" fmla="*/ 767 w 1804"/>
                  <a:gd name="T21" fmla="*/ 994 h 994"/>
                  <a:gd name="T22" fmla="*/ 1275 w 1804"/>
                  <a:gd name="T23" fmla="*/ 721 h 994"/>
                  <a:gd name="T24" fmla="*/ 1280 w 1804"/>
                  <a:gd name="T25" fmla="*/ 679 h 994"/>
                  <a:gd name="T26" fmla="*/ 1261 w 1804"/>
                  <a:gd name="T27" fmla="*/ 585 h 994"/>
                  <a:gd name="T28" fmla="*/ 1039 w 1804"/>
                  <a:gd name="T29" fmla="*/ 994 h 994"/>
                  <a:gd name="T30" fmla="*/ 1406 w 1804"/>
                  <a:gd name="T31" fmla="*/ 769 h 994"/>
                  <a:gd name="T32" fmla="*/ 1799 w 1804"/>
                  <a:gd name="T33" fmla="*/ 964 h 994"/>
                  <a:gd name="T34" fmla="*/ 1394 w 1804"/>
                  <a:gd name="T35" fmla="*/ 598 h 994"/>
                  <a:gd name="T36" fmla="*/ 1537 w 1804"/>
                  <a:gd name="T37" fmla="*/ 683 h 994"/>
                  <a:gd name="T38" fmla="*/ 1382 w 1804"/>
                  <a:gd name="T39" fmla="*/ 714 h 994"/>
                  <a:gd name="T40" fmla="*/ 1472 w 1804"/>
                  <a:gd name="T41" fmla="*/ 759 h 994"/>
                  <a:gd name="T42" fmla="*/ 1193 w 1804"/>
                  <a:gd name="T43" fmla="*/ 994 h 994"/>
                  <a:gd name="T44" fmla="*/ 1799 w 1804"/>
                  <a:gd name="T45" fmla="*/ 964 h 994"/>
                  <a:gd name="T46" fmla="*/ 454 w 1804"/>
                  <a:gd name="T47" fmla="*/ 11 h 994"/>
                  <a:gd name="T48" fmla="*/ 495 w 1804"/>
                  <a:gd name="T49" fmla="*/ 26 h 994"/>
                  <a:gd name="T50" fmla="*/ 554 w 1804"/>
                  <a:gd name="T51" fmla="*/ 111 h 994"/>
                  <a:gd name="T52" fmla="*/ 902 w 1804"/>
                  <a:gd name="T53" fmla="*/ 502 h 994"/>
                  <a:gd name="T54" fmla="*/ 1250 w 1804"/>
                  <a:gd name="T55" fmla="*/ 111 h 994"/>
                  <a:gd name="T56" fmla="*/ 1298 w 1804"/>
                  <a:gd name="T57" fmla="*/ 61 h 994"/>
                  <a:gd name="T58" fmla="*/ 1288 w 1804"/>
                  <a:gd name="T59" fmla="*/ 134 h 994"/>
                  <a:gd name="T60" fmla="*/ 1149 w 1804"/>
                  <a:gd name="T61" fmla="*/ 568 h 994"/>
                  <a:gd name="T62" fmla="*/ 1105 w 1804"/>
                  <a:gd name="T63" fmla="*/ 459 h 994"/>
                  <a:gd name="T64" fmla="*/ 697 w 1804"/>
                  <a:gd name="T65" fmla="*/ 458 h 994"/>
                  <a:gd name="T66" fmla="*/ 653 w 1804"/>
                  <a:gd name="T67" fmla="*/ 568 h 994"/>
                  <a:gd name="T68" fmla="*/ 516 w 1804"/>
                  <a:gd name="T69" fmla="*/ 135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4" h="994">
                    <a:moveTo>
                      <a:pt x="342" y="780"/>
                    </a:moveTo>
                    <a:cubicBezTo>
                      <a:pt x="613" y="994"/>
                      <a:pt x="613" y="994"/>
                      <a:pt x="613" y="994"/>
                    </a:cubicBezTo>
                    <a:cubicBezTo>
                      <a:pt x="26" y="994"/>
                      <a:pt x="26" y="994"/>
                      <a:pt x="26" y="994"/>
                    </a:cubicBezTo>
                    <a:cubicBezTo>
                      <a:pt x="10" y="994"/>
                      <a:pt x="0" y="978"/>
                      <a:pt x="5" y="964"/>
                    </a:cubicBezTo>
                    <a:cubicBezTo>
                      <a:pt x="33" y="890"/>
                      <a:pt x="112" y="698"/>
                      <a:pt x="222" y="648"/>
                    </a:cubicBezTo>
                    <a:cubicBezTo>
                      <a:pt x="275" y="623"/>
                      <a:pt x="346" y="608"/>
                      <a:pt x="413" y="598"/>
                    </a:cubicBezTo>
                    <a:cubicBezTo>
                      <a:pt x="281" y="660"/>
                      <a:pt x="281" y="660"/>
                      <a:pt x="281" y="660"/>
                    </a:cubicBezTo>
                    <a:cubicBezTo>
                      <a:pt x="272" y="664"/>
                      <a:pt x="267" y="674"/>
                      <a:pt x="269" y="683"/>
                    </a:cubicBezTo>
                    <a:cubicBezTo>
                      <a:pt x="271" y="693"/>
                      <a:pt x="279" y="701"/>
                      <a:pt x="289" y="702"/>
                    </a:cubicBezTo>
                    <a:cubicBezTo>
                      <a:pt x="424" y="714"/>
                      <a:pt x="424" y="714"/>
                      <a:pt x="424" y="714"/>
                    </a:cubicBezTo>
                    <a:cubicBezTo>
                      <a:pt x="348" y="742"/>
                      <a:pt x="348" y="742"/>
                      <a:pt x="348" y="742"/>
                    </a:cubicBezTo>
                    <a:cubicBezTo>
                      <a:pt x="341" y="744"/>
                      <a:pt x="335" y="751"/>
                      <a:pt x="334" y="759"/>
                    </a:cubicBezTo>
                    <a:cubicBezTo>
                      <a:pt x="333" y="767"/>
                      <a:pt x="336" y="775"/>
                      <a:pt x="342" y="780"/>
                    </a:cubicBezTo>
                    <a:close/>
                    <a:moveTo>
                      <a:pt x="551" y="584"/>
                    </a:moveTo>
                    <a:cubicBezTo>
                      <a:pt x="549" y="584"/>
                      <a:pt x="547" y="584"/>
                      <a:pt x="545" y="584"/>
                    </a:cubicBezTo>
                    <a:cubicBezTo>
                      <a:pt x="374" y="665"/>
                      <a:pt x="374" y="665"/>
                      <a:pt x="374" y="665"/>
                    </a:cubicBezTo>
                    <a:cubicBezTo>
                      <a:pt x="526" y="679"/>
                      <a:pt x="526" y="679"/>
                      <a:pt x="526" y="679"/>
                    </a:cubicBezTo>
                    <a:cubicBezTo>
                      <a:pt x="536" y="679"/>
                      <a:pt x="544" y="687"/>
                      <a:pt x="545" y="698"/>
                    </a:cubicBezTo>
                    <a:cubicBezTo>
                      <a:pt x="547" y="708"/>
                      <a:pt x="541" y="718"/>
                      <a:pt x="531" y="721"/>
                    </a:cubicBezTo>
                    <a:cubicBezTo>
                      <a:pt x="400" y="769"/>
                      <a:pt x="400" y="769"/>
                      <a:pt x="400" y="769"/>
                    </a:cubicBezTo>
                    <a:cubicBezTo>
                      <a:pt x="684" y="994"/>
                      <a:pt x="684" y="994"/>
                      <a:pt x="684" y="994"/>
                    </a:cubicBezTo>
                    <a:cubicBezTo>
                      <a:pt x="767" y="994"/>
                      <a:pt x="767" y="994"/>
                      <a:pt x="767" y="994"/>
                    </a:cubicBezTo>
                    <a:lnTo>
                      <a:pt x="551" y="584"/>
                    </a:lnTo>
                    <a:close/>
                    <a:moveTo>
                      <a:pt x="1275" y="721"/>
                    </a:moveTo>
                    <a:cubicBezTo>
                      <a:pt x="1265" y="718"/>
                      <a:pt x="1259" y="708"/>
                      <a:pt x="1261" y="698"/>
                    </a:cubicBezTo>
                    <a:cubicBezTo>
                      <a:pt x="1262" y="687"/>
                      <a:pt x="1270" y="679"/>
                      <a:pt x="1280" y="679"/>
                    </a:cubicBezTo>
                    <a:cubicBezTo>
                      <a:pt x="1432" y="665"/>
                      <a:pt x="1432" y="665"/>
                      <a:pt x="1432" y="665"/>
                    </a:cubicBezTo>
                    <a:cubicBezTo>
                      <a:pt x="1261" y="585"/>
                      <a:pt x="1261" y="585"/>
                      <a:pt x="1261" y="585"/>
                    </a:cubicBezTo>
                    <a:cubicBezTo>
                      <a:pt x="1259" y="584"/>
                      <a:pt x="1257" y="584"/>
                      <a:pt x="1255" y="584"/>
                    </a:cubicBezTo>
                    <a:cubicBezTo>
                      <a:pt x="1039" y="994"/>
                      <a:pt x="1039" y="994"/>
                      <a:pt x="1039" y="994"/>
                    </a:cubicBezTo>
                    <a:cubicBezTo>
                      <a:pt x="1122" y="994"/>
                      <a:pt x="1122" y="994"/>
                      <a:pt x="1122" y="994"/>
                    </a:cubicBezTo>
                    <a:cubicBezTo>
                      <a:pt x="1406" y="769"/>
                      <a:pt x="1406" y="769"/>
                      <a:pt x="1406" y="769"/>
                    </a:cubicBezTo>
                    <a:lnTo>
                      <a:pt x="1275" y="721"/>
                    </a:lnTo>
                    <a:close/>
                    <a:moveTo>
                      <a:pt x="1799" y="964"/>
                    </a:moveTo>
                    <a:cubicBezTo>
                      <a:pt x="1771" y="890"/>
                      <a:pt x="1691" y="698"/>
                      <a:pt x="1581" y="648"/>
                    </a:cubicBezTo>
                    <a:cubicBezTo>
                      <a:pt x="1529" y="623"/>
                      <a:pt x="1460" y="608"/>
                      <a:pt x="1394" y="598"/>
                    </a:cubicBezTo>
                    <a:cubicBezTo>
                      <a:pt x="1525" y="660"/>
                      <a:pt x="1525" y="660"/>
                      <a:pt x="1525" y="660"/>
                    </a:cubicBezTo>
                    <a:cubicBezTo>
                      <a:pt x="1534" y="664"/>
                      <a:pt x="1539" y="674"/>
                      <a:pt x="1537" y="683"/>
                    </a:cubicBezTo>
                    <a:cubicBezTo>
                      <a:pt x="1535" y="693"/>
                      <a:pt x="1527" y="701"/>
                      <a:pt x="1517" y="702"/>
                    </a:cubicBezTo>
                    <a:cubicBezTo>
                      <a:pt x="1382" y="714"/>
                      <a:pt x="1382" y="714"/>
                      <a:pt x="1382" y="714"/>
                    </a:cubicBezTo>
                    <a:cubicBezTo>
                      <a:pt x="1458" y="742"/>
                      <a:pt x="1458" y="742"/>
                      <a:pt x="1458" y="742"/>
                    </a:cubicBezTo>
                    <a:cubicBezTo>
                      <a:pt x="1465" y="744"/>
                      <a:pt x="1471" y="751"/>
                      <a:pt x="1472" y="759"/>
                    </a:cubicBezTo>
                    <a:cubicBezTo>
                      <a:pt x="1473" y="767"/>
                      <a:pt x="1470" y="775"/>
                      <a:pt x="1464" y="780"/>
                    </a:cubicBezTo>
                    <a:cubicBezTo>
                      <a:pt x="1193" y="994"/>
                      <a:pt x="1193" y="994"/>
                      <a:pt x="1193" y="994"/>
                    </a:cubicBezTo>
                    <a:cubicBezTo>
                      <a:pt x="1778" y="994"/>
                      <a:pt x="1778" y="994"/>
                      <a:pt x="1778" y="994"/>
                    </a:cubicBezTo>
                    <a:cubicBezTo>
                      <a:pt x="1794" y="994"/>
                      <a:pt x="1804" y="978"/>
                      <a:pt x="1799" y="964"/>
                    </a:cubicBezTo>
                    <a:close/>
                    <a:moveTo>
                      <a:pt x="448" y="0"/>
                    </a:moveTo>
                    <a:cubicBezTo>
                      <a:pt x="450" y="3"/>
                      <a:pt x="452" y="7"/>
                      <a:pt x="454" y="11"/>
                    </a:cubicBezTo>
                    <a:cubicBezTo>
                      <a:pt x="466" y="26"/>
                      <a:pt x="484" y="26"/>
                      <a:pt x="493" y="26"/>
                    </a:cubicBezTo>
                    <a:cubicBezTo>
                      <a:pt x="494" y="26"/>
                      <a:pt x="495" y="26"/>
                      <a:pt x="495" y="26"/>
                    </a:cubicBezTo>
                    <a:cubicBezTo>
                      <a:pt x="501" y="54"/>
                      <a:pt x="514" y="88"/>
                      <a:pt x="540" y="98"/>
                    </a:cubicBezTo>
                    <a:cubicBezTo>
                      <a:pt x="546" y="100"/>
                      <a:pt x="551" y="105"/>
                      <a:pt x="554" y="111"/>
                    </a:cubicBezTo>
                    <a:cubicBezTo>
                      <a:pt x="592" y="208"/>
                      <a:pt x="662" y="372"/>
                      <a:pt x="689" y="396"/>
                    </a:cubicBezTo>
                    <a:cubicBezTo>
                      <a:pt x="730" y="432"/>
                      <a:pt x="842" y="502"/>
                      <a:pt x="902" y="502"/>
                    </a:cubicBezTo>
                    <a:cubicBezTo>
                      <a:pt x="961" y="502"/>
                      <a:pt x="1073" y="432"/>
                      <a:pt x="1114" y="396"/>
                    </a:cubicBezTo>
                    <a:cubicBezTo>
                      <a:pt x="1141" y="372"/>
                      <a:pt x="1212" y="208"/>
                      <a:pt x="1250" y="111"/>
                    </a:cubicBezTo>
                    <a:cubicBezTo>
                      <a:pt x="1252" y="106"/>
                      <a:pt x="1256" y="102"/>
                      <a:pt x="1260" y="99"/>
                    </a:cubicBezTo>
                    <a:cubicBezTo>
                      <a:pt x="1279" y="90"/>
                      <a:pt x="1290" y="76"/>
                      <a:pt x="1298" y="61"/>
                    </a:cubicBezTo>
                    <a:cubicBezTo>
                      <a:pt x="1317" y="57"/>
                      <a:pt x="1335" y="50"/>
                      <a:pt x="1351" y="42"/>
                    </a:cubicBezTo>
                    <a:cubicBezTo>
                      <a:pt x="1345" y="68"/>
                      <a:pt x="1330" y="109"/>
                      <a:pt x="1288" y="134"/>
                    </a:cubicBezTo>
                    <a:cubicBezTo>
                      <a:pt x="1266" y="189"/>
                      <a:pt x="1191" y="375"/>
                      <a:pt x="1149" y="423"/>
                    </a:cubicBezTo>
                    <a:cubicBezTo>
                      <a:pt x="1149" y="423"/>
                      <a:pt x="1149" y="423"/>
                      <a:pt x="1149" y="568"/>
                    </a:cubicBezTo>
                    <a:cubicBezTo>
                      <a:pt x="1141" y="578"/>
                      <a:pt x="1126" y="593"/>
                      <a:pt x="1105" y="609"/>
                    </a:cubicBezTo>
                    <a:cubicBezTo>
                      <a:pt x="1105" y="609"/>
                      <a:pt x="1105" y="609"/>
                      <a:pt x="1105" y="459"/>
                    </a:cubicBezTo>
                    <a:cubicBezTo>
                      <a:pt x="1049" y="498"/>
                      <a:pt x="961" y="546"/>
                      <a:pt x="902" y="546"/>
                    </a:cubicBezTo>
                    <a:cubicBezTo>
                      <a:pt x="841" y="546"/>
                      <a:pt x="753" y="498"/>
                      <a:pt x="697" y="458"/>
                    </a:cubicBezTo>
                    <a:cubicBezTo>
                      <a:pt x="697" y="458"/>
                      <a:pt x="697" y="458"/>
                      <a:pt x="697" y="609"/>
                    </a:cubicBezTo>
                    <a:cubicBezTo>
                      <a:pt x="676" y="593"/>
                      <a:pt x="661" y="578"/>
                      <a:pt x="653" y="568"/>
                    </a:cubicBezTo>
                    <a:cubicBezTo>
                      <a:pt x="653" y="568"/>
                      <a:pt x="653" y="568"/>
                      <a:pt x="653" y="421"/>
                    </a:cubicBezTo>
                    <a:cubicBezTo>
                      <a:pt x="611" y="372"/>
                      <a:pt x="538" y="191"/>
                      <a:pt x="516" y="135"/>
                    </a:cubicBezTo>
                    <a:cubicBezTo>
                      <a:pt x="462" y="108"/>
                      <a:pt x="449" y="32"/>
                      <a:pt x="448" y="0"/>
                    </a:cubicBezTo>
                    <a:close/>
                  </a:path>
                </a:pathLst>
              </a:custGeom>
              <a:solidFill>
                <a:srgbClr val="4C7895"/>
              </a:solidFill>
              <a:ln>
                <a:noFill/>
              </a:ln>
            </p:spPr>
            <p:txBody>
              <a:bodyPr vert="horz" wrap="square" lIns="91440" tIns="45720" rIns="91440" bIns="45720" numCol="1" anchor="t" anchorCtr="0" compatLnSpc="1">
                <a:prstTxWarp prst="textNoShape">
                  <a:avLst/>
                </a:prstTxWarp>
              </a:bodyPr>
              <a:lstStyle/>
              <a:p>
                <a:endParaRPr lang="de-DE" dirty="0"/>
              </a:p>
            </p:txBody>
          </p:sp>
        </p:grpSp>
      </p:grpSp>
      <p:grpSp>
        <p:nvGrpSpPr>
          <p:cNvPr id="31" name="Group 30">
            <a:extLst>
              <a:ext uri="{FF2B5EF4-FFF2-40B4-BE49-F238E27FC236}">
                <a16:creationId xmlns:a16="http://schemas.microsoft.com/office/drawing/2014/main" id="{B3C79C66-A2DE-42F3-9AB0-804097400C40}"/>
              </a:ext>
            </a:extLst>
          </p:cNvPr>
          <p:cNvGrpSpPr>
            <a:grpSpLocks noChangeAspect="1"/>
          </p:cNvGrpSpPr>
          <p:nvPr/>
        </p:nvGrpSpPr>
        <p:grpSpPr>
          <a:xfrm>
            <a:off x="2568760" y="2756631"/>
            <a:ext cx="927085" cy="927085"/>
            <a:chOff x="5273040" y="2606040"/>
            <a:chExt cx="1645920" cy="1645920"/>
          </a:xfrm>
        </p:grpSpPr>
        <p:sp>
          <p:nvSpPr>
            <p:cNvPr id="32" name="AutoShape 3">
              <a:extLst>
                <a:ext uri="{FF2B5EF4-FFF2-40B4-BE49-F238E27FC236}">
                  <a16:creationId xmlns:a16="http://schemas.microsoft.com/office/drawing/2014/main" id="{B2F27D26-3E86-411C-8787-10D8E1B600EB}"/>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33" name="Group 32">
              <a:extLst>
                <a:ext uri="{FF2B5EF4-FFF2-40B4-BE49-F238E27FC236}">
                  <a16:creationId xmlns:a16="http://schemas.microsoft.com/office/drawing/2014/main" id="{1C4F4913-4239-4B5B-B341-4AA83083DF85}"/>
                </a:ext>
              </a:extLst>
            </p:cNvPr>
            <p:cNvGrpSpPr/>
            <p:nvPr/>
          </p:nvGrpSpPr>
          <p:grpSpPr>
            <a:xfrm>
              <a:off x="5453373" y="2804767"/>
              <a:ext cx="1285256" cy="1199370"/>
              <a:chOff x="5453373" y="2804767"/>
              <a:chExt cx="1285256" cy="1199370"/>
            </a:xfrm>
          </p:grpSpPr>
          <p:sp>
            <p:nvSpPr>
              <p:cNvPr id="34" name="Freeform 10">
                <a:extLst>
                  <a:ext uri="{FF2B5EF4-FFF2-40B4-BE49-F238E27FC236}">
                    <a16:creationId xmlns:a16="http://schemas.microsoft.com/office/drawing/2014/main" id="{86E0C571-AAE0-472F-9B8A-52B49152A343}"/>
                  </a:ext>
                </a:extLst>
              </p:cNvPr>
              <p:cNvSpPr>
                <a:spLocks/>
              </p:cNvSpPr>
              <p:nvPr/>
            </p:nvSpPr>
            <p:spPr bwMode="auto">
              <a:xfrm>
                <a:off x="5453373" y="3319117"/>
                <a:ext cx="1285256" cy="685020"/>
              </a:xfrm>
              <a:custGeom>
                <a:avLst/>
                <a:gdLst>
                  <a:gd name="connsiteX0" fmla="*/ 294670 w 872705"/>
                  <a:gd name="connsiteY0" fmla="*/ 265112 h 465137"/>
                  <a:gd name="connsiteX1" fmla="*/ 308256 w 872705"/>
                  <a:gd name="connsiteY1" fmla="*/ 280126 h 465137"/>
                  <a:gd name="connsiteX2" fmla="*/ 310197 w 872705"/>
                  <a:gd name="connsiteY2" fmla="*/ 282063 h 465137"/>
                  <a:gd name="connsiteX3" fmla="*/ 436353 w 872705"/>
                  <a:gd name="connsiteY3" fmla="*/ 332433 h 465137"/>
                  <a:gd name="connsiteX4" fmla="*/ 562509 w 872705"/>
                  <a:gd name="connsiteY4" fmla="*/ 282063 h 465137"/>
                  <a:gd name="connsiteX5" fmla="*/ 564450 w 872705"/>
                  <a:gd name="connsiteY5" fmla="*/ 280126 h 465137"/>
                  <a:gd name="connsiteX6" fmla="*/ 578036 w 872705"/>
                  <a:gd name="connsiteY6" fmla="*/ 265112 h 465137"/>
                  <a:gd name="connsiteX7" fmla="*/ 766300 w 872705"/>
                  <a:gd name="connsiteY7" fmla="*/ 297077 h 465137"/>
                  <a:gd name="connsiteX8" fmla="*/ 872077 w 872705"/>
                  <a:gd name="connsiteY8" fmla="*/ 450607 h 465137"/>
                  <a:gd name="connsiteX9" fmla="*/ 861887 w 872705"/>
                  <a:gd name="connsiteY9" fmla="*/ 465137 h 465137"/>
                  <a:gd name="connsiteX10" fmla="*/ 10819 w 872705"/>
                  <a:gd name="connsiteY10" fmla="*/ 465137 h 465137"/>
                  <a:gd name="connsiteX11" fmla="*/ 629 w 872705"/>
                  <a:gd name="connsiteY11" fmla="*/ 450607 h 465137"/>
                  <a:gd name="connsiteX12" fmla="*/ 106406 w 872705"/>
                  <a:gd name="connsiteY12" fmla="*/ 297077 h 465137"/>
                  <a:gd name="connsiteX13" fmla="*/ 294670 w 872705"/>
                  <a:gd name="connsiteY13" fmla="*/ 265112 h 465137"/>
                  <a:gd name="connsiteX14" fmla="*/ 204578 w 872705"/>
                  <a:gd name="connsiteY14" fmla="*/ 0 h 465137"/>
                  <a:gd name="connsiteX15" fmla="*/ 229359 w 872705"/>
                  <a:gd name="connsiteY15" fmla="*/ 11634 h 465137"/>
                  <a:gd name="connsiteX16" fmla="*/ 251711 w 872705"/>
                  <a:gd name="connsiteY16" fmla="*/ 37326 h 465137"/>
                  <a:gd name="connsiteX17" fmla="*/ 256570 w 872705"/>
                  <a:gd name="connsiteY17" fmla="*/ 43143 h 465137"/>
                  <a:gd name="connsiteX18" fmla="*/ 326540 w 872705"/>
                  <a:gd name="connsiteY18" fmla="*/ 189539 h 465137"/>
                  <a:gd name="connsiteX19" fmla="*/ 436353 w 872705"/>
                  <a:gd name="connsiteY19" fmla="*/ 244317 h 465137"/>
                  <a:gd name="connsiteX20" fmla="*/ 546167 w 872705"/>
                  <a:gd name="connsiteY20" fmla="*/ 189539 h 465137"/>
                  <a:gd name="connsiteX21" fmla="*/ 615651 w 872705"/>
                  <a:gd name="connsiteY21" fmla="*/ 43143 h 465137"/>
                  <a:gd name="connsiteX22" fmla="*/ 620996 w 872705"/>
                  <a:gd name="connsiteY22" fmla="*/ 37326 h 465137"/>
                  <a:gd name="connsiteX23" fmla="*/ 643347 w 872705"/>
                  <a:gd name="connsiteY23" fmla="*/ 11634 h 465137"/>
                  <a:gd name="connsiteX24" fmla="*/ 668128 w 872705"/>
                  <a:gd name="connsiteY24" fmla="*/ 0 h 465137"/>
                  <a:gd name="connsiteX25" fmla="*/ 668128 w 872705"/>
                  <a:gd name="connsiteY25" fmla="*/ 1454 h 465137"/>
                  <a:gd name="connsiteX26" fmla="*/ 634115 w 872705"/>
                  <a:gd name="connsiteY26" fmla="*/ 54292 h 465137"/>
                  <a:gd name="connsiteX27" fmla="*/ 564631 w 872705"/>
                  <a:gd name="connsiteY27" fmla="*/ 200689 h 465137"/>
                  <a:gd name="connsiteX28" fmla="*/ 564631 w 872705"/>
                  <a:gd name="connsiteY28" fmla="*/ 248195 h 465137"/>
                  <a:gd name="connsiteX29" fmla="*/ 561230 w 872705"/>
                  <a:gd name="connsiteY29" fmla="*/ 253042 h 465137"/>
                  <a:gd name="connsiteX30" fmla="*/ 543251 w 872705"/>
                  <a:gd name="connsiteY30" fmla="*/ 271463 h 465137"/>
                  <a:gd name="connsiteX31" fmla="*/ 543251 w 872705"/>
                  <a:gd name="connsiteY31" fmla="*/ 218625 h 465137"/>
                  <a:gd name="connsiteX32" fmla="*/ 436353 w 872705"/>
                  <a:gd name="connsiteY32" fmla="*/ 265646 h 465137"/>
                  <a:gd name="connsiteX33" fmla="*/ 329455 w 872705"/>
                  <a:gd name="connsiteY33" fmla="*/ 219109 h 465137"/>
                  <a:gd name="connsiteX34" fmla="*/ 329455 w 872705"/>
                  <a:gd name="connsiteY34" fmla="*/ 271463 h 465137"/>
                  <a:gd name="connsiteX35" fmla="*/ 311477 w 872705"/>
                  <a:gd name="connsiteY35" fmla="*/ 253042 h 465137"/>
                  <a:gd name="connsiteX36" fmla="*/ 308075 w 872705"/>
                  <a:gd name="connsiteY36" fmla="*/ 248195 h 465137"/>
                  <a:gd name="connsiteX37" fmla="*/ 308075 w 872705"/>
                  <a:gd name="connsiteY37" fmla="*/ 200689 h 465137"/>
                  <a:gd name="connsiteX38" fmla="*/ 238105 w 872705"/>
                  <a:gd name="connsiteY38" fmla="*/ 54292 h 465137"/>
                  <a:gd name="connsiteX39" fmla="*/ 204578 w 872705"/>
                  <a:gd name="connsiteY39" fmla="*/ 2424 h 465137"/>
                  <a:gd name="connsiteX40" fmla="*/ 204578 w 872705"/>
                  <a:gd name="connsiteY40" fmla="*/ 0 h 46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72705" h="465137">
                    <a:moveTo>
                      <a:pt x="294670" y="265112"/>
                    </a:moveTo>
                    <a:cubicBezTo>
                      <a:pt x="294670" y="265112"/>
                      <a:pt x="299037" y="271408"/>
                      <a:pt x="308256" y="280126"/>
                    </a:cubicBezTo>
                    <a:cubicBezTo>
                      <a:pt x="308741" y="281095"/>
                      <a:pt x="309712" y="281579"/>
                      <a:pt x="310197" y="282063"/>
                    </a:cubicBezTo>
                    <a:cubicBezTo>
                      <a:pt x="331547" y="301921"/>
                      <a:pt x="373760" y="331949"/>
                      <a:pt x="436353" y="332433"/>
                    </a:cubicBezTo>
                    <a:cubicBezTo>
                      <a:pt x="498946" y="331949"/>
                      <a:pt x="541160" y="301921"/>
                      <a:pt x="562509" y="282063"/>
                    </a:cubicBezTo>
                    <a:cubicBezTo>
                      <a:pt x="562994" y="281579"/>
                      <a:pt x="563965" y="281095"/>
                      <a:pt x="564450" y="280126"/>
                    </a:cubicBezTo>
                    <a:cubicBezTo>
                      <a:pt x="573669" y="271408"/>
                      <a:pt x="578036" y="265112"/>
                      <a:pt x="578036" y="265112"/>
                    </a:cubicBezTo>
                    <a:cubicBezTo>
                      <a:pt x="578036" y="265112"/>
                      <a:pt x="700310" y="266565"/>
                      <a:pt x="766300" y="297077"/>
                    </a:cubicBezTo>
                    <a:cubicBezTo>
                      <a:pt x="819674" y="321293"/>
                      <a:pt x="858491" y="414768"/>
                      <a:pt x="872077" y="450607"/>
                    </a:cubicBezTo>
                    <a:cubicBezTo>
                      <a:pt x="874503" y="457388"/>
                      <a:pt x="869651" y="465137"/>
                      <a:pt x="861887" y="465137"/>
                    </a:cubicBezTo>
                    <a:cubicBezTo>
                      <a:pt x="861887" y="465137"/>
                      <a:pt x="861887" y="465137"/>
                      <a:pt x="10819" y="465137"/>
                    </a:cubicBezTo>
                    <a:cubicBezTo>
                      <a:pt x="3055" y="465137"/>
                      <a:pt x="-1797" y="457388"/>
                      <a:pt x="629" y="450607"/>
                    </a:cubicBezTo>
                    <a:cubicBezTo>
                      <a:pt x="14215" y="414768"/>
                      <a:pt x="53033" y="321293"/>
                      <a:pt x="106406" y="297077"/>
                    </a:cubicBezTo>
                    <a:cubicBezTo>
                      <a:pt x="172396" y="266565"/>
                      <a:pt x="294670" y="265112"/>
                      <a:pt x="294670" y="265112"/>
                    </a:cubicBezTo>
                    <a:close/>
                    <a:moveTo>
                      <a:pt x="204578" y="0"/>
                    </a:moveTo>
                    <a:cubicBezTo>
                      <a:pt x="204578" y="0"/>
                      <a:pt x="204578" y="0"/>
                      <a:pt x="229359" y="11634"/>
                    </a:cubicBezTo>
                    <a:cubicBezTo>
                      <a:pt x="232761" y="20844"/>
                      <a:pt x="239563" y="31509"/>
                      <a:pt x="251711" y="37326"/>
                    </a:cubicBezTo>
                    <a:cubicBezTo>
                      <a:pt x="254140" y="38780"/>
                      <a:pt x="255598" y="40719"/>
                      <a:pt x="256570" y="43143"/>
                    </a:cubicBezTo>
                    <a:cubicBezTo>
                      <a:pt x="276492" y="93073"/>
                      <a:pt x="312448" y="176936"/>
                      <a:pt x="326540" y="189539"/>
                    </a:cubicBezTo>
                    <a:cubicBezTo>
                      <a:pt x="348405" y="208445"/>
                      <a:pt x="404770" y="244317"/>
                      <a:pt x="436353" y="244317"/>
                    </a:cubicBezTo>
                    <a:cubicBezTo>
                      <a:pt x="467451" y="244317"/>
                      <a:pt x="524301" y="208445"/>
                      <a:pt x="546167" y="189539"/>
                    </a:cubicBezTo>
                    <a:cubicBezTo>
                      <a:pt x="559772" y="176936"/>
                      <a:pt x="596215" y="93073"/>
                      <a:pt x="615651" y="43143"/>
                    </a:cubicBezTo>
                    <a:cubicBezTo>
                      <a:pt x="616622" y="40719"/>
                      <a:pt x="618566" y="38780"/>
                      <a:pt x="620996" y="37326"/>
                    </a:cubicBezTo>
                    <a:cubicBezTo>
                      <a:pt x="633143" y="31509"/>
                      <a:pt x="639946" y="21329"/>
                      <a:pt x="643347" y="11634"/>
                    </a:cubicBezTo>
                    <a:cubicBezTo>
                      <a:pt x="643347" y="11634"/>
                      <a:pt x="643347" y="11634"/>
                      <a:pt x="668128" y="0"/>
                    </a:cubicBezTo>
                    <a:cubicBezTo>
                      <a:pt x="668128" y="485"/>
                      <a:pt x="668128" y="969"/>
                      <a:pt x="668128" y="1454"/>
                    </a:cubicBezTo>
                    <a:cubicBezTo>
                      <a:pt x="666184" y="12604"/>
                      <a:pt x="659868" y="39750"/>
                      <a:pt x="634115" y="54292"/>
                    </a:cubicBezTo>
                    <a:cubicBezTo>
                      <a:pt x="623425" y="81439"/>
                      <a:pt x="586497" y="173542"/>
                      <a:pt x="564631" y="200689"/>
                    </a:cubicBezTo>
                    <a:cubicBezTo>
                      <a:pt x="564631" y="200689"/>
                      <a:pt x="564631" y="200689"/>
                      <a:pt x="564631" y="248195"/>
                    </a:cubicBezTo>
                    <a:cubicBezTo>
                      <a:pt x="564631" y="248195"/>
                      <a:pt x="564631" y="248195"/>
                      <a:pt x="561230" y="253042"/>
                    </a:cubicBezTo>
                    <a:cubicBezTo>
                      <a:pt x="560258" y="254012"/>
                      <a:pt x="554427" y="261768"/>
                      <a:pt x="543251" y="271463"/>
                    </a:cubicBezTo>
                    <a:cubicBezTo>
                      <a:pt x="543251" y="271463"/>
                      <a:pt x="543251" y="271463"/>
                      <a:pt x="543251" y="218625"/>
                    </a:cubicBezTo>
                    <a:cubicBezTo>
                      <a:pt x="514583" y="239469"/>
                      <a:pt x="467937" y="265646"/>
                      <a:pt x="436353" y="265646"/>
                    </a:cubicBezTo>
                    <a:cubicBezTo>
                      <a:pt x="404770" y="265646"/>
                      <a:pt x="358123" y="239469"/>
                      <a:pt x="329455" y="219109"/>
                    </a:cubicBezTo>
                    <a:cubicBezTo>
                      <a:pt x="329455" y="219109"/>
                      <a:pt x="329455" y="219109"/>
                      <a:pt x="329455" y="271463"/>
                    </a:cubicBezTo>
                    <a:cubicBezTo>
                      <a:pt x="318279" y="261768"/>
                      <a:pt x="312448" y="254012"/>
                      <a:pt x="311477" y="253042"/>
                    </a:cubicBezTo>
                    <a:cubicBezTo>
                      <a:pt x="311477" y="253042"/>
                      <a:pt x="311477" y="253042"/>
                      <a:pt x="308075" y="248195"/>
                    </a:cubicBezTo>
                    <a:cubicBezTo>
                      <a:pt x="308075" y="248195"/>
                      <a:pt x="308075" y="248195"/>
                      <a:pt x="308075" y="200689"/>
                    </a:cubicBezTo>
                    <a:cubicBezTo>
                      <a:pt x="286210" y="174027"/>
                      <a:pt x="248795" y="81439"/>
                      <a:pt x="238105" y="54292"/>
                    </a:cubicBezTo>
                    <a:cubicBezTo>
                      <a:pt x="214296" y="40235"/>
                      <a:pt x="207008" y="15997"/>
                      <a:pt x="204578" y="2424"/>
                    </a:cubicBezTo>
                    <a:cubicBezTo>
                      <a:pt x="204578" y="1939"/>
                      <a:pt x="204578" y="969"/>
                      <a:pt x="204578" y="0"/>
                    </a:cubicBezTo>
                    <a:close/>
                  </a:path>
                </a:pathLst>
              </a:custGeom>
              <a:solidFill>
                <a:srgbClr val="003B59"/>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5" name="Freeform 11">
                <a:extLst>
                  <a:ext uri="{FF2B5EF4-FFF2-40B4-BE49-F238E27FC236}">
                    <a16:creationId xmlns:a16="http://schemas.microsoft.com/office/drawing/2014/main" id="{9FCBC5F2-FE3A-4A1B-AF7C-2AFF3C7D9CF8}"/>
                  </a:ext>
                </a:extLst>
              </p:cNvPr>
              <p:cNvSpPr>
                <a:spLocks/>
              </p:cNvSpPr>
              <p:nvPr/>
            </p:nvSpPr>
            <p:spPr bwMode="auto">
              <a:xfrm>
                <a:off x="5759335" y="2804767"/>
                <a:ext cx="696710" cy="516689"/>
              </a:xfrm>
              <a:custGeom>
                <a:avLst/>
                <a:gdLst>
                  <a:gd name="T0" fmla="*/ 941 w 975"/>
                  <a:gd name="T1" fmla="*/ 568 h 724"/>
                  <a:gd name="T2" fmla="*/ 944 w 975"/>
                  <a:gd name="T3" fmla="*/ 478 h 724"/>
                  <a:gd name="T4" fmla="*/ 472 w 975"/>
                  <a:gd name="T5" fmla="*/ 0 h 724"/>
                  <a:gd name="T6" fmla="*/ 0 w 975"/>
                  <a:gd name="T7" fmla="*/ 478 h 724"/>
                  <a:gd name="T8" fmla="*/ 27 w 975"/>
                  <a:gd name="T9" fmla="*/ 674 h 724"/>
                  <a:gd name="T10" fmla="*/ 213 w 975"/>
                  <a:gd name="T11" fmla="*/ 402 h 724"/>
                  <a:gd name="T12" fmla="*/ 238 w 975"/>
                  <a:gd name="T13" fmla="*/ 386 h 724"/>
                  <a:gd name="T14" fmla="*/ 284 w 975"/>
                  <a:gd name="T15" fmla="*/ 375 h 724"/>
                  <a:gd name="T16" fmla="*/ 831 w 975"/>
                  <a:gd name="T17" fmla="*/ 713 h 724"/>
                  <a:gd name="T18" fmla="*/ 899 w 975"/>
                  <a:gd name="T19" fmla="*/ 711 h 724"/>
                  <a:gd name="T20" fmla="*/ 909 w 975"/>
                  <a:gd name="T21" fmla="*/ 707 h 724"/>
                  <a:gd name="T22" fmla="*/ 930 w 975"/>
                  <a:gd name="T23" fmla="*/ 698 h 724"/>
                  <a:gd name="T24" fmla="*/ 941 w 975"/>
                  <a:gd name="T25" fmla="*/ 692 h 724"/>
                  <a:gd name="T26" fmla="*/ 975 w 975"/>
                  <a:gd name="T27" fmla="*/ 671 h 724"/>
                  <a:gd name="T28" fmla="*/ 941 w 975"/>
                  <a:gd name="T29" fmla="*/ 568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5" h="724">
                    <a:moveTo>
                      <a:pt x="941" y="568"/>
                    </a:moveTo>
                    <a:cubicBezTo>
                      <a:pt x="945" y="539"/>
                      <a:pt x="944" y="508"/>
                      <a:pt x="944" y="478"/>
                    </a:cubicBezTo>
                    <a:cubicBezTo>
                      <a:pt x="944" y="214"/>
                      <a:pt x="739" y="0"/>
                      <a:pt x="472" y="0"/>
                    </a:cubicBezTo>
                    <a:cubicBezTo>
                      <a:pt x="205" y="0"/>
                      <a:pt x="0" y="214"/>
                      <a:pt x="0" y="478"/>
                    </a:cubicBezTo>
                    <a:cubicBezTo>
                      <a:pt x="0" y="536"/>
                      <a:pt x="10" y="653"/>
                      <a:pt x="27" y="674"/>
                    </a:cubicBezTo>
                    <a:cubicBezTo>
                      <a:pt x="73" y="716"/>
                      <a:pt x="80" y="491"/>
                      <a:pt x="213" y="402"/>
                    </a:cubicBezTo>
                    <a:cubicBezTo>
                      <a:pt x="219" y="397"/>
                      <a:pt x="229" y="391"/>
                      <a:pt x="238" y="386"/>
                    </a:cubicBezTo>
                    <a:cubicBezTo>
                      <a:pt x="252" y="378"/>
                      <a:pt x="268" y="374"/>
                      <a:pt x="284" y="375"/>
                    </a:cubicBezTo>
                    <a:cubicBezTo>
                      <a:pt x="566" y="391"/>
                      <a:pt x="779" y="685"/>
                      <a:pt x="831" y="713"/>
                    </a:cubicBezTo>
                    <a:cubicBezTo>
                      <a:pt x="849" y="724"/>
                      <a:pt x="875" y="720"/>
                      <a:pt x="899" y="711"/>
                    </a:cubicBezTo>
                    <a:cubicBezTo>
                      <a:pt x="903" y="710"/>
                      <a:pt x="906" y="709"/>
                      <a:pt x="909" y="707"/>
                    </a:cubicBezTo>
                    <a:cubicBezTo>
                      <a:pt x="916" y="704"/>
                      <a:pt x="923" y="701"/>
                      <a:pt x="930" y="698"/>
                    </a:cubicBezTo>
                    <a:cubicBezTo>
                      <a:pt x="934" y="696"/>
                      <a:pt x="938" y="694"/>
                      <a:pt x="941" y="692"/>
                    </a:cubicBezTo>
                    <a:cubicBezTo>
                      <a:pt x="961" y="681"/>
                      <a:pt x="975" y="671"/>
                      <a:pt x="975" y="671"/>
                    </a:cubicBezTo>
                    <a:cubicBezTo>
                      <a:pt x="948" y="631"/>
                      <a:pt x="939" y="593"/>
                      <a:pt x="941" y="568"/>
                    </a:cubicBezTo>
                    <a:close/>
                  </a:path>
                </a:pathLst>
              </a:custGeom>
              <a:solidFill>
                <a:srgbClr val="4C7895"/>
              </a:solidFill>
              <a:ln>
                <a:noFill/>
              </a:ln>
            </p:spPr>
            <p:txBody>
              <a:bodyPr vert="horz" wrap="square" lIns="91440" tIns="45720" rIns="91440" bIns="45720" numCol="1" anchor="t" anchorCtr="0" compatLnSpc="1">
                <a:prstTxWarp prst="textNoShape">
                  <a:avLst/>
                </a:prstTxWarp>
              </a:bodyPr>
              <a:lstStyle/>
              <a:p>
                <a:endParaRPr lang="de-DE" dirty="0"/>
              </a:p>
            </p:txBody>
          </p:sp>
        </p:grpSp>
      </p:grpSp>
      <p:grpSp>
        <p:nvGrpSpPr>
          <p:cNvPr id="46" name="bcgIcons_LargeTruck">
            <a:extLst>
              <a:ext uri="{FF2B5EF4-FFF2-40B4-BE49-F238E27FC236}">
                <a16:creationId xmlns:a16="http://schemas.microsoft.com/office/drawing/2014/main" id="{8472A0D0-5461-411D-AF96-660EB839A4AF}"/>
              </a:ext>
            </a:extLst>
          </p:cNvPr>
          <p:cNvGrpSpPr>
            <a:grpSpLocks noChangeAspect="1"/>
          </p:cNvGrpSpPr>
          <p:nvPr/>
        </p:nvGrpSpPr>
        <p:grpSpPr bwMode="auto">
          <a:xfrm>
            <a:off x="4148331" y="3633005"/>
            <a:ext cx="926227" cy="927085"/>
            <a:chOff x="1682" y="0"/>
            <a:chExt cx="4316" cy="4320"/>
          </a:xfrm>
        </p:grpSpPr>
        <p:sp>
          <p:nvSpPr>
            <p:cNvPr id="47" name="AutoShape 19">
              <a:extLst>
                <a:ext uri="{FF2B5EF4-FFF2-40B4-BE49-F238E27FC236}">
                  <a16:creationId xmlns:a16="http://schemas.microsoft.com/office/drawing/2014/main" id="{85BDDC76-5391-420D-8AF3-E9E4C1F0BC5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8" name="Freeform 21">
              <a:extLst>
                <a:ext uri="{FF2B5EF4-FFF2-40B4-BE49-F238E27FC236}">
                  <a16:creationId xmlns:a16="http://schemas.microsoft.com/office/drawing/2014/main" id="{CD05EB42-FD4A-46C8-AEE6-7424BA6D8738}"/>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9" name="Freeform 22">
              <a:extLst>
                <a:ext uri="{FF2B5EF4-FFF2-40B4-BE49-F238E27FC236}">
                  <a16:creationId xmlns:a16="http://schemas.microsoft.com/office/drawing/2014/main" id="{AD3519FC-851A-413C-B468-5118DD04DFE9}"/>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43" name="Rectangle 42">
            <a:extLst>
              <a:ext uri="{FF2B5EF4-FFF2-40B4-BE49-F238E27FC236}">
                <a16:creationId xmlns:a16="http://schemas.microsoft.com/office/drawing/2014/main" id="{553DF024-C3E9-4952-8594-727A078694AF}"/>
              </a:ext>
            </a:extLst>
          </p:cNvPr>
          <p:cNvSpPr/>
          <p:nvPr/>
        </p:nvSpPr>
        <p:spPr bwMode="auto">
          <a:xfrm>
            <a:off x="721919" y="1275606"/>
            <a:ext cx="1433172" cy="3384376"/>
          </a:xfrm>
          <a:prstGeom prst="rect">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4" name="Rectangle 43">
            <a:extLst>
              <a:ext uri="{FF2B5EF4-FFF2-40B4-BE49-F238E27FC236}">
                <a16:creationId xmlns:a16="http://schemas.microsoft.com/office/drawing/2014/main" id="{28C064AD-7A72-4B65-92FD-142CDB490F53}"/>
              </a:ext>
            </a:extLst>
          </p:cNvPr>
          <p:cNvSpPr/>
          <p:nvPr/>
        </p:nvSpPr>
        <p:spPr bwMode="auto">
          <a:xfrm>
            <a:off x="844803" y="1203598"/>
            <a:ext cx="1187404" cy="144016"/>
          </a:xfrm>
          <a:prstGeom prst="rect">
            <a:avLst/>
          </a:prstGeom>
          <a:solidFill>
            <a:srgbClr val="FFFFF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000" b="1" dirty="0">
                <a:solidFill>
                  <a:srgbClr val="0A4E78"/>
                </a:solidFill>
                <a:latin typeface="+mn-lt"/>
                <a:cs typeface="+mn-cs"/>
              </a:rPr>
              <a:t>Kinder und </a:t>
            </a:r>
            <a:br>
              <a:rPr lang="de-DE" sz="1000" b="1" dirty="0">
                <a:solidFill>
                  <a:srgbClr val="0A4E78"/>
                </a:solidFill>
                <a:latin typeface="+mn-lt"/>
                <a:cs typeface="+mn-cs"/>
              </a:rPr>
            </a:br>
            <a:r>
              <a:rPr lang="de-DE" sz="1000" b="1" dirty="0">
                <a:solidFill>
                  <a:srgbClr val="0A4E78"/>
                </a:solidFill>
                <a:latin typeface="+mn-lt"/>
                <a:cs typeface="+mn-cs"/>
              </a:rPr>
              <a:t>Erziehungs-berechtigte</a:t>
            </a:r>
          </a:p>
        </p:txBody>
      </p:sp>
      <p:grpSp>
        <p:nvGrpSpPr>
          <p:cNvPr id="70" name="Group 69">
            <a:extLst>
              <a:ext uri="{FF2B5EF4-FFF2-40B4-BE49-F238E27FC236}">
                <a16:creationId xmlns:a16="http://schemas.microsoft.com/office/drawing/2014/main" id="{1F9A3648-C917-4DBC-A61E-0A456090BC85}"/>
              </a:ext>
            </a:extLst>
          </p:cNvPr>
          <p:cNvGrpSpPr>
            <a:grpSpLocks noChangeAspect="1"/>
          </p:cNvGrpSpPr>
          <p:nvPr/>
        </p:nvGrpSpPr>
        <p:grpSpPr>
          <a:xfrm>
            <a:off x="974963" y="1763666"/>
            <a:ext cx="927085" cy="927085"/>
            <a:chOff x="5272088" y="2606675"/>
            <a:chExt cx="1644650" cy="1644650"/>
          </a:xfrm>
        </p:grpSpPr>
        <p:sp>
          <p:nvSpPr>
            <p:cNvPr id="76" name="AutoShape 3">
              <a:extLst>
                <a:ext uri="{FF2B5EF4-FFF2-40B4-BE49-F238E27FC236}">
                  <a16:creationId xmlns:a16="http://schemas.microsoft.com/office/drawing/2014/main" id="{A1A553D3-C075-4C1E-84AF-87188D737070}"/>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77" name="Group 76">
              <a:extLst>
                <a:ext uri="{FF2B5EF4-FFF2-40B4-BE49-F238E27FC236}">
                  <a16:creationId xmlns:a16="http://schemas.microsoft.com/office/drawing/2014/main" id="{B7A61F61-6D4D-4DB3-AA9F-BE62F9D8E44A}"/>
                </a:ext>
              </a:extLst>
            </p:cNvPr>
            <p:cNvGrpSpPr/>
            <p:nvPr/>
          </p:nvGrpSpPr>
          <p:grpSpPr>
            <a:xfrm>
              <a:off x="5526088" y="2831048"/>
              <a:ext cx="1135063" cy="1250415"/>
              <a:chOff x="5526088" y="2831048"/>
              <a:chExt cx="1135063" cy="1250415"/>
            </a:xfrm>
          </p:grpSpPr>
          <p:sp>
            <p:nvSpPr>
              <p:cNvPr id="78" name="Freeform 10">
                <a:extLst>
                  <a:ext uri="{FF2B5EF4-FFF2-40B4-BE49-F238E27FC236}">
                    <a16:creationId xmlns:a16="http://schemas.microsoft.com/office/drawing/2014/main" id="{FE78C781-1FFC-4295-9E5F-CAD29F80E2D0}"/>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79" name="Freeform 11">
                <a:extLst>
                  <a:ext uri="{FF2B5EF4-FFF2-40B4-BE49-F238E27FC236}">
                    <a16:creationId xmlns:a16="http://schemas.microsoft.com/office/drawing/2014/main" id="{A6FA1F29-5D7B-4D55-82B7-F63F360E3417}"/>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sp>
        <p:nvSpPr>
          <p:cNvPr id="80" name="Rectangle 79">
            <a:extLst>
              <a:ext uri="{FF2B5EF4-FFF2-40B4-BE49-F238E27FC236}">
                <a16:creationId xmlns:a16="http://schemas.microsoft.com/office/drawing/2014/main" id="{F6E34E2A-4213-402A-AF44-1650E0A502D5}"/>
              </a:ext>
            </a:extLst>
          </p:cNvPr>
          <p:cNvSpPr/>
          <p:nvPr/>
        </p:nvSpPr>
        <p:spPr bwMode="auto">
          <a:xfrm>
            <a:off x="2315717" y="1275606"/>
            <a:ext cx="1433172" cy="3384376"/>
          </a:xfrm>
          <a:prstGeom prst="rect">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81" name="Rectangle 80">
            <a:extLst>
              <a:ext uri="{FF2B5EF4-FFF2-40B4-BE49-F238E27FC236}">
                <a16:creationId xmlns:a16="http://schemas.microsoft.com/office/drawing/2014/main" id="{DB5B66F9-4B84-45CC-ABAE-7A7D7EB33EB8}"/>
              </a:ext>
            </a:extLst>
          </p:cNvPr>
          <p:cNvSpPr/>
          <p:nvPr/>
        </p:nvSpPr>
        <p:spPr bwMode="auto">
          <a:xfrm>
            <a:off x="2438601" y="1203598"/>
            <a:ext cx="1187404" cy="144016"/>
          </a:xfrm>
          <a:prstGeom prst="rect">
            <a:avLst/>
          </a:prstGeom>
          <a:solidFill>
            <a:srgbClr val="FFFFF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000" b="1" dirty="0">
                <a:solidFill>
                  <a:srgbClr val="0A4E78"/>
                </a:solidFill>
                <a:latin typeface="+mn-lt"/>
                <a:cs typeface="+mn-cs"/>
              </a:rPr>
              <a:t>Betreuungs-einrichtungen inkl. Beschäftigter</a:t>
            </a:r>
          </a:p>
        </p:txBody>
      </p:sp>
      <p:grpSp>
        <p:nvGrpSpPr>
          <p:cNvPr id="82" name="Group 81">
            <a:extLst>
              <a:ext uri="{FF2B5EF4-FFF2-40B4-BE49-F238E27FC236}">
                <a16:creationId xmlns:a16="http://schemas.microsoft.com/office/drawing/2014/main" id="{A70E5AC6-5C0F-4578-963A-A01992207C66}"/>
              </a:ext>
            </a:extLst>
          </p:cNvPr>
          <p:cNvGrpSpPr>
            <a:grpSpLocks noChangeAspect="1"/>
          </p:cNvGrpSpPr>
          <p:nvPr/>
        </p:nvGrpSpPr>
        <p:grpSpPr>
          <a:xfrm>
            <a:off x="4147902" y="1763666"/>
            <a:ext cx="927085" cy="927085"/>
            <a:chOff x="5273400" y="2606400"/>
            <a:chExt cx="1645200" cy="1645200"/>
          </a:xfrm>
        </p:grpSpPr>
        <p:sp>
          <p:nvSpPr>
            <p:cNvPr id="83" name="AutoShape 11">
              <a:extLst>
                <a:ext uri="{FF2B5EF4-FFF2-40B4-BE49-F238E27FC236}">
                  <a16:creationId xmlns:a16="http://schemas.microsoft.com/office/drawing/2014/main" id="{968B3C7F-EAE1-4CB0-8009-7B4155448C2C}"/>
                </a:ext>
              </a:extLst>
            </p:cNvPr>
            <p:cNvSpPr>
              <a:spLocks noChangeAspect="1" noChangeArrowheads="1" noTextEdit="1"/>
            </p:cNvSpPr>
            <p:nvPr/>
          </p:nvSpPr>
          <p:spPr bwMode="auto">
            <a:xfrm>
              <a:off x="5273400" y="2606400"/>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575757"/>
                </a:solidFill>
              </a:endParaRPr>
            </a:p>
          </p:txBody>
        </p:sp>
        <p:grpSp>
          <p:nvGrpSpPr>
            <p:cNvPr id="84" name="Group 83">
              <a:extLst>
                <a:ext uri="{FF2B5EF4-FFF2-40B4-BE49-F238E27FC236}">
                  <a16:creationId xmlns:a16="http://schemas.microsoft.com/office/drawing/2014/main" id="{C567F60C-5CCB-4919-B96C-F4A6D0B40FE5}"/>
                </a:ext>
              </a:extLst>
            </p:cNvPr>
            <p:cNvGrpSpPr/>
            <p:nvPr/>
          </p:nvGrpSpPr>
          <p:grpSpPr>
            <a:xfrm>
              <a:off x="5674798" y="2854323"/>
              <a:ext cx="813079" cy="1121555"/>
              <a:chOff x="5674798" y="2854323"/>
              <a:chExt cx="813079" cy="1121555"/>
            </a:xfrm>
          </p:grpSpPr>
          <p:sp>
            <p:nvSpPr>
              <p:cNvPr id="85" name="Freeform 13">
                <a:extLst>
                  <a:ext uri="{FF2B5EF4-FFF2-40B4-BE49-F238E27FC236}">
                    <a16:creationId xmlns:a16="http://schemas.microsoft.com/office/drawing/2014/main" id="{17E72E5F-41D0-4F56-9132-8EE0D7EFC4D1}"/>
                  </a:ext>
                </a:extLst>
              </p:cNvPr>
              <p:cNvSpPr>
                <a:spLocks noEditPoints="1"/>
              </p:cNvSpPr>
              <p:nvPr/>
            </p:nvSpPr>
            <p:spPr bwMode="auto">
              <a:xfrm>
                <a:off x="5702599" y="2854323"/>
                <a:ext cx="785278" cy="1121555"/>
              </a:xfrm>
              <a:custGeom>
                <a:avLst/>
                <a:gdLst>
                  <a:gd name="T0" fmla="*/ 1100 w 1100"/>
                  <a:gd name="T1" fmla="*/ 1446 h 1571"/>
                  <a:gd name="T2" fmla="*/ 1100 w 1100"/>
                  <a:gd name="T3" fmla="*/ 1549 h 1571"/>
                  <a:gd name="T4" fmla="*/ 1078 w 1100"/>
                  <a:gd name="T5" fmla="*/ 1571 h 1571"/>
                  <a:gd name="T6" fmla="*/ 22 w 1100"/>
                  <a:gd name="T7" fmla="*/ 1571 h 1571"/>
                  <a:gd name="T8" fmla="*/ 0 w 1100"/>
                  <a:gd name="T9" fmla="*/ 1549 h 1571"/>
                  <a:gd name="T10" fmla="*/ 0 w 1100"/>
                  <a:gd name="T11" fmla="*/ 1446 h 1571"/>
                  <a:gd name="T12" fmla="*/ 22 w 1100"/>
                  <a:gd name="T13" fmla="*/ 1424 h 1571"/>
                  <a:gd name="T14" fmla="*/ 83 w 1100"/>
                  <a:gd name="T15" fmla="*/ 1424 h 1571"/>
                  <a:gd name="T16" fmla="*/ 380 w 1100"/>
                  <a:gd name="T17" fmla="*/ 1424 h 1571"/>
                  <a:gd name="T18" fmla="*/ 497 w 1100"/>
                  <a:gd name="T19" fmla="*/ 1424 h 1571"/>
                  <a:gd name="T20" fmla="*/ 501 w 1100"/>
                  <a:gd name="T21" fmla="*/ 1424 h 1571"/>
                  <a:gd name="T22" fmla="*/ 786 w 1100"/>
                  <a:gd name="T23" fmla="*/ 1058 h 1571"/>
                  <a:gd name="T24" fmla="*/ 710 w 1100"/>
                  <a:gd name="T25" fmla="*/ 832 h 1571"/>
                  <a:gd name="T26" fmla="*/ 794 w 1100"/>
                  <a:gd name="T27" fmla="*/ 717 h 1571"/>
                  <a:gd name="T28" fmla="*/ 924 w 1100"/>
                  <a:gd name="T29" fmla="*/ 1058 h 1571"/>
                  <a:gd name="T30" fmla="*/ 771 w 1100"/>
                  <a:gd name="T31" fmla="*/ 1424 h 1571"/>
                  <a:gd name="T32" fmla="*/ 794 w 1100"/>
                  <a:gd name="T33" fmla="*/ 1424 h 1571"/>
                  <a:gd name="T34" fmla="*/ 1078 w 1100"/>
                  <a:gd name="T35" fmla="*/ 1424 h 1571"/>
                  <a:gd name="T36" fmla="*/ 1100 w 1100"/>
                  <a:gd name="T37" fmla="*/ 1446 h 1571"/>
                  <a:gd name="T38" fmla="*/ 150 w 1100"/>
                  <a:gd name="T39" fmla="*/ 916 h 1571"/>
                  <a:gd name="T40" fmla="*/ 176 w 1100"/>
                  <a:gd name="T41" fmla="*/ 927 h 1571"/>
                  <a:gd name="T42" fmla="*/ 174 w 1100"/>
                  <a:gd name="T43" fmla="*/ 931 h 1571"/>
                  <a:gd name="T44" fmla="*/ 186 w 1100"/>
                  <a:gd name="T45" fmla="*/ 960 h 1571"/>
                  <a:gd name="T46" fmla="*/ 250 w 1100"/>
                  <a:gd name="T47" fmla="*/ 987 h 1571"/>
                  <a:gd name="T48" fmla="*/ 279 w 1100"/>
                  <a:gd name="T49" fmla="*/ 975 h 1571"/>
                  <a:gd name="T50" fmla="*/ 280 w 1100"/>
                  <a:gd name="T51" fmla="*/ 972 h 1571"/>
                  <a:gd name="T52" fmla="*/ 310 w 1100"/>
                  <a:gd name="T53" fmla="*/ 984 h 1571"/>
                  <a:gd name="T54" fmla="*/ 339 w 1100"/>
                  <a:gd name="T55" fmla="*/ 973 h 1571"/>
                  <a:gd name="T56" fmla="*/ 417 w 1100"/>
                  <a:gd name="T57" fmla="*/ 789 h 1571"/>
                  <a:gd name="T58" fmla="*/ 369 w 1100"/>
                  <a:gd name="T59" fmla="*/ 654 h 1571"/>
                  <a:gd name="T60" fmla="*/ 566 w 1100"/>
                  <a:gd name="T61" fmla="*/ 437 h 1571"/>
                  <a:gd name="T62" fmla="*/ 702 w 1100"/>
                  <a:gd name="T63" fmla="*/ 118 h 1571"/>
                  <a:gd name="T64" fmla="*/ 648 w 1100"/>
                  <a:gd name="T65" fmla="*/ 94 h 1571"/>
                  <a:gd name="T66" fmla="*/ 670 w 1100"/>
                  <a:gd name="T67" fmla="*/ 41 h 1571"/>
                  <a:gd name="T68" fmla="*/ 574 w 1100"/>
                  <a:gd name="T69" fmla="*/ 0 h 1571"/>
                  <a:gd name="T70" fmla="*/ 552 w 1100"/>
                  <a:gd name="T71" fmla="*/ 54 h 1571"/>
                  <a:gd name="T72" fmla="*/ 501 w 1100"/>
                  <a:gd name="T73" fmla="*/ 32 h 1571"/>
                  <a:gd name="T74" fmla="*/ 138 w 1100"/>
                  <a:gd name="T75" fmla="*/ 887 h 1571"/>
                  <a:gd name="T76" fmla="*/ 150 w 1100"/>
                  <a:gd name="T77" fmla="*/ 916 h 1571"/>
                  <a:gd name="T78" fmla="*/ 586 w 1100"/>
                  <a:gd name="T79" fmla="*/ 568 h 1571"/>
                  <a:gd name="T80" fmla="*/ 672 w 1100"/>
                  <a:gd name="T81" fmla="*/ 654 h 1571"/>
                  <a:gd name="T82" fmla="*/ 586 w 1100"/>
                  <a:gd name="T83" fmla="*/ 739 h 1571"/>
                  <a:gd name="T84" fmla="*/ 501 w 1100"/>
                  <a:gd name="T85" fmla="*/ 654 h 1571"/>
                  <a:gd name="T86" fmla="*/ 586 w 1100"/>
                  <a:gd name="T87" fmla="*/ 568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0" h="1571">
                    <a:moveTo>
                      <a:pt x="1100" y="1446"/>
                    </a:moveTo>
                    <a:cubicBezTo>
                      <a:pt x="1100" y="1549"/>
                      <a:pt x="1100" y="1549"/>
                      <a:pt x="1100" y="1549"/>
                    </a:cubicBezTo>
                    <a:cubicBezTo>
                      <a:pt x="1100" y="1561"/>
                      <a:pt x="1090" y="1571"/>
                      <a:pt x="1078" y="1571"/>
                    </a:cubicBezTo>
                    <a:cubicBezTo>
                      <a:pt x="22" y="1571"/>
                      <a:pt x="22" y="1571"/>
                      <a:pt x="22" y="1571"/>
                    </a:cubicBezTo>
                    <a:cubicBezTo>
                      <a:pt x="10" y="1571"/>
                      <a:pt x="0" y="1561"/>
                      <a:pt x="0" y="1549"/>
                    </a:cubicBezTo>
                    <a:cubicBezTo>
                      <a:pt x="0" y="1446"/>
                      <a:pt x="0" y="1446"/>
                      <a:pt x="0" y="1446"/>
                    </a:cubicBezTo>
                    <a:cubicBezTo>
                      <a:pt x="0" y="1434"/>
                      <a:pt x="10" y="1424"/>
                      <a:pt x="22" y="1424"/>
                    </a:cubicBezTo>
                    <a:cubicBezTo>
                      <a:pt x="83" y="1424"/>
                      <a:pt x="83" y="1424"/>
                      <a:pt x="83" y="1424"/>
                    </a:cubicBezTo>
                    <a:cubicBezTo>
                      <a:pt x="380" y="1424"/>
                      <a:pt x="380" y="1424"/>
                      <a:pt x="380" y="1424"/>
                    </a:cubicBezTo>
                    <a:cubicBezTo>
                      <a:pt x="497" y="1424"/>
                      <a:pt x="497" y="1424"/>
                      <a:pt x="497" y="1424"/>
                    </a:cubicBezTo>
                    <a:cubicBezTo>
                      <a:pt x="501" y="1424"/>
                      <a:pt x="501" y="1424"/>
                      <a:pt x="501" y="1424"/>
                    </a:cubicBezTo>
                    <a:cubicBezTo>
                      <a:pt x="665" y="1383"/>
                      <a:pt x="786" y="1235"/>
                      <a:pt x="786" y="1058"/>
                    </a:cubicBezTo>
                    <a:cubicBezTo>
                      <a:pt x="786" y="973"/>
                      <a:pt x="758" y="895"/>
                      <a:pt x="710" y="832"/>
                    </a:cubicBezTo>
                    <a:cubicBezTo>
                      <a:pt x="750" y="805"/>
                      <a:pt x="780" y="764"/>
                      <a:pt x="794" y="717"/>
                    </a:cubicBezTo>
                    <a:cubicBezTo>
                      <a:pt x="875" y="808"/>
                      <a:pt x="924" y="927"/>
                      <a:pt x="924" y="1058"/>
                    </a:cubicBezTo>
                    <a:cubicBezTo>
                      <a:pt x="924" y="1201"/>
                      <a:pt x="866" y="1331"/>
                      <a:pt x="771" y="1424"/>
                    </a:cubicBezTo>
                    <a:cubicBezTo>
                      <a:pt x="794" y="1424"/>
                      <a:pt x="794" y="1424"/>
                      <a:pt x="794" y="1424"/>
                    </a:cubicBezTo>
                    <a:cubicBezTo>
                      <a:pt x="1078" y="1424"/>
                      <a:pt x="1078" y="1424"/>
                      <a:pt x="1078" y="1424"/>
                    </a:cubicBezTo>
                    <a:cubicBezTo>
                      <a:pt x="1090" y="1424"/>
                      <a:pt x="1100" y="1434"/>
                      <a:pt x="1100" y="1446"/>
                    </a:cubicBezTo>
                    <a:close/>
                    <a:moveTo>
                      <a:pt x="150" y="916"/>
                    </a:moveTo>
                    <a:cubicBezTo>
                      <a:pt x="176" y="927"/>
                      <a:pt x="176" y="927"/>
                      <a:pt x="176" y="927"/>
                    </a:cubicBezTo>
                    <a:cubicBezTo>
                      <a:pt x="174" y="931"/>
                      <a:pt x="174" y="931"/>
                      <a:pt x="174" y="931"/>
                    </a:cubicBezTo>
                    <a:cubicBezTo>
                      <a:pt x="170" y="942"/>
                      <a:pt x="175" y="955"/>
                      <a:pt x="186" y="960"/>
                    </a:cubicBezTo>
                    <a:cubicBezTo>
                      <a:pt x="250" y="987"/>
                      <a:pt x="250" y="987"/>
                      <a:pt x="250" y="987"/>
                    </a:cubicBezTo>
                    <a:cubicBezTo>
                      <a:pt x="261" y="992"/>
                      <a:pt x="274" y="986"/>
                      <a:pt x="279" y="975"/>
                    </a:cubicBezTo>
                    <a:cubicBezTo>
                      <a:pt x="280" y="972"/>
                      <a:pt x="280" y="972"/>
                      <a:pt x="280" y="972"/>
                    </a:cubicBezTo>
                    <a:cubicBezTo>
                      <a:pt x="310" y="984"/>
                      <a:pt x="310" y="984"/>
                      <a:pt x="310" y="984"/>
                    </a:cubicBezTo>
                    <a:cubicBezTo>
                      <a:pt x="321" y="989"/>
                      <a:pt x="334" y="984"/>
                      <a:pt x="339" y="973"/>
                    </a:cubicBezTo>
                    <a:cubicBezTo>
                      <a:pt x="417" y="789"/>
                      <a:pt x="417" y="789"/>
                      <a:pt x="417" y="789"/>
                    </a:cubicBezTo>
                    <a:cubicBezTo>
                      <a:pt x="387" y="752"/>
                      <a:pt x="369" y="705"/>
                      <a:pt x="369" y="654"/>
                    </a:cubicBezTo>
                    <a:cubicBezTo>
                      <a:pt x="369" y="540"/>
                      <a:pt x="456" y="447"/>
                      <a:pt x="566" y="437"/>
                    </a:cubicBezTo>
                    <a:cubicBezTo>
                      <a:pt x="702" y="118"/>
                      <a:pt x="702" y="118"/>
                      <a:pt x="702" y="118"/>
                    </a:cubicBezTo>
                    <a:cubicBezTo>
                      <a:pt x="648" y="94"/>
                      <a:pt x="648" y="94"/>
                      <a:pt x="648" y="94"/>
                    </a:cubicBezTo>
                    <a:cubicBezTo>
                      <a:pt x="670" y="41"/>
                      <a:pt x="670" y="41"/>
                      <a:pt x="670" y="41"/>
                    </a:cubicBezTo>
                    <a:cubicBezTo>
                      <a:pt x="574" y="0"/>
                      <a:pt x="574" y="0"/>
                      <a:pt x="574" y="0"/>
                    </a:cubicBezTo>
                    <a:cubicBezTo>
                      <a:pt x="552" y="54"/>
                      <a:pt x="552" y="54"/>
                      <a:pt x="552" y="54"/>
                    </a:cubicBezTo>
                    <a:cubicBezTo>
                      <a:pt x="501" y="32"/>
                      <a:pt x="501" y="32"/>
                      <a:pt x="501" y="32"/>
                    </a:cubicBezTo>
                    <a:cubicBezTo>
                      <a:pt x="138" y="887"/>
                      <a:pt x="138" y="887"/>
                      <a:pt x="138" y="887"/>
                    </a:cubicBezTo>
                    <a:cubicBezTo>
                      <a:pt x="133" y="899"/>
                      <a:pt x="138" y="912"/>
                      <a:pt x="150" y="916"/>
                    </a:cubicBezTo>
                    <a:close/>
                    <a:moveTo>
                      <a:pt x="586" y="568"/>
                    </a:moveTo>
                    <a:cubicBezTo>
                      <a:pt x="634" y="568"/>
                      <a:pt x="672" y="606"/>
                      <a:pt x="672" y="654"/>
                    </a:cubicBezTo>
                    <a:cubicBezTo>
                      <a:pt x="672" y="701"/>
                      <a:pt x="634" y="739"/>
                      <a:pt x="586" y="739"/>
                    </a:cubicBezTo>
                    <a:cubicBezTo>
                      <a:pt x="539" y="739"/>
                      <a:pt x="501" y="701"/>
                      <a:pt x="501" y="654"/>
                    </a:cubicBezTo>
                    <a:cubicBezTo>
                      <a:pt x="501" y="606"/>
                      <a:pt x="539" y="568"/>
                      <a:pt x="586" y="56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575757"/>
                  </a:solidFill>
                </a:endParaRPr>
              </a:p>
            </p:txBody>
          </p:sp>
          <p:sp>
            <p:nvSpPr>
              <p:cNvPr id="86" name="Freeform 14">
                <a:extLst>
                  <a:ext uri="{FF2B5EF4-FFF2-40B4-BE49-F238E27FC236}">
                    <a16:creationId xmlns:a16="http://schemas.microsoft.com/office/drawing/2014/main" id="{72295AE2-278E-4323-BC00-F4142C568BBE}"/>
                  </a:ext>
                </a:extLst>
              </p:cNvPr>
              <p:cNvSpPr>
                <a:spLocks noEditPoints="1"/>
              </p:cNvSpPr>
              <p:nvPr/>
            </p:nvSpPr>
            <p:spPr bwMode="auto">
              <a:xfrm>
                <a:off x="5674798" y="3197072"/>
                <a:ext cx="570489" cy="526693"/>
              </a:xfrm>
              <a:custGeom>
                <a:avLst/>
                <a:gdLst>
                  <a:gd name="T0" fmla="*/ 625 w 799"/>
                  <a:gd name="T1" fmla="*/ 0 h 738"/>
                  <a:gd name="T2" fmla="*/ 452 w 799"/>
                  <a:gd name="T3" fmla="*/ 174 h 738"/>
                  <a:gd name="T4" fmla="*/ 625 w 799"/>
                  <a:gd name="T5" fmla="*/ 347 h 738"/>
                  <a:gd name="T6" fmla="*/ 799 w 799"/>
                  <a:gd name="T7" fmla="*/ 174 h 738"/>
                  <a:gd name="T8" fmla="*/ 625 w 799"/>
                  <a:gd name="T9" fmla="*/ 0 h 738"/>
                  <a:gd name="T10" fmla="*/ 625 w 799"/>
                  <a:gd name="T11" fmla="*/ 303 h 738"/>
                  <a:gd name="T12" fmla="*/ 496 w 799"/>
                  <a:gd name="T13" fmla="*/ 174 h 738"/>
                  <a:gd name="T14" fmla="*/ 625 w 799"/>
                  <a:gd name="T15" fmla="*/ 44 h 738"/>
                  <a:gd name="T16" fmla="*/ 755 w 799"/>
                  <a:gd name="T17" fmla="*/ 174 h 738"/>
                  <a:gd name="T18" fmla="*/ 625 w 799"/>
                  <a:gd name="T19" fmla="*/ 303 h 738"/>
                  <a:gd name="T20" fmla="*/ 408 w 799"/>
                  <a:gd name="T21" fmla="*/ 605 h 738"/>
                  <a:gd name="T22" fmla="*/ 71 w 799"/>
                  <a:gd name="T23" fmla="*/ 462 h 738"/>
                  <a:gd name="T24" fmla="*/ 42 w 799"/>
                  <a:gd name="T25" fmla="*/ 473 h 738"/>
                  <a:gd name="T26" fmla="*/ 5 w 799"/>
                  <a:gd name="T27" fmla="*/ 561 h 738"/>
                  <a:gd name="T28" fmla="*/ 16 w 799"/>
                  <a:gd name="T29" fmla="*/ 590 h 738"/>
                  <a:gd name="T30" fmla="*/ 353 w 799"/>
                  <a:gd name="T31" fmla="*/ 733 h 738"/>
                  <a:gd name="T32" fmla="*/ 382 w 799"/>
                  <a:gd name="T33" fmla="*/ 721 h 738"/>
                  <a:gd name="T34" fmla="*/ 419 w 799"/>
                  <a:gd name="T35" fmla="*/ 634 h 738"/>
                  <a:gd name="T36" fmla="*/ 408 w 799"/>
                  <a:gd name="T37" fmla="*/ 605 h 738"/>
                  <a:gd name="T38" fmla="*/ 366 w 799"/>
                  <a:gd name="T39" fmla="*/ 642 h 738"/>
                  <a:gd name="T40" fmla="*/ 354 w 799"/>
                  <a:gd name="T41" fmla="*/ 671 h 738"/>
                  <a:gd name="T42" fmla="*/ 341 w 799"/>
                  <a:gd name="T43" fmla="*/ 676 h 738"/>
                  <a:gd name="T44" fmla="*/ 63 w 799"/>
                  <a:gd name="T45" fmla="*/ 558 h 738"/>
                  <a:gd name="T46" fmla="*/ 58 w 799"/>
                  <a:gd name="T47" fmla="*/ 545 h 738"/>
                  <a:gd name="T48" fmla="*/ 70 w 799"/>
                  <a:gd name="T49" fmla="*/ 516 h 738"/>
                  <a:gd name="T50" fmla="*/ 83 w 799"/>
                  <a:gd name="T51" fmla="*/ 511 h 738"/>
                  <a:gd name="T52" fmla="*/ 361 w 799"/>
                  <a:gd name="T53" fmla="*/ 629 h 738"/>
                  <a:gd name="T54" fmla="*/ 366 w 799"/>
                  <a:gd name="T55" fmla="*/ 64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9" h="738">
                    <a:moveTo>
                      <a:pt x="625" y="0"/>
                    </a:moveTo>
                    <a:cubicBezTo>
                      <a:pt x="530" y="0"/>
                      <a:pt x="452" y="78"/>
                      <a:pt x="452" y="174"/>
                    </a:cubicBezTo>
                    <a:cubicBezTo>
                      <a:pt x="452" y="269"/>
                      <a:pt x="530" y="347"/>
                      <a:pt x="625" y="347"/>
                    </a:cubicBezTo>
                    <a:cubicBezTo>
                      <a:pt x="721" y="347"/>
                      <a:pt x="799" y="269"/>
                      <a:pt x="799" y="174"/>
                    </a:cubicBezTo>
                    <a:cubicBezTo>
                      <a:pt x="799" y="78"/>
                      <a:pt x="721" y="0"/>
                      <a:pt x="625" y="0"/>
                    </a:cubicBezTo>
                    <a:close/>
                    <a:moveTo>
                      <a:pt x="625" y="303"/>
                    </a:moveTo>
                    <a:cubicBezTo>
                      <a:pt x="554" y="303"/>
                      <a:pt x="496" y="245"/>
                      <a:pt x="496" y="174"/>
                    </a:cubicBezTo>
                    <a:cubicBezTo>
                      <a:pt x="496" y="102"/>
                      <a:pt x="554" y="44"/>
                      <a:pt x="625" y="44"/>
                    </a:cubicBezTo>
                    <a:cubicBezTo>
                      <a:pt x="697" y="44"/>
                      <a:pt x="755" y="102"/>
                      <a:pt x="755" y="174"/>
                    </a:cubicBezTo>
                    <a:cubicBezTo>
                      <a:pt x="755" y="245"/>
                      <a:pt x="697" y="303"/>
                      <a:pt x="625" y="303"/>
                    </a:cubicBezTo>
                    <a:close/>
                    <a:moveTo>
                      <a:pt x="408" y="605"/>
                    </a:moveTo>
                    <a:cubicBezTo>
                      <a:pt x="71" y="462"/>
                      <a:pt x="71" y="462"/>
                      <a:pt x="71" y="462"/>
                    </a:cubicBezTo>
                    <a:cubicBezTo>
                      <a:pt x="59" y="457"/>
                      <a:pt x="46" y="462"/>
                      <a:pt x="42" y="473"/>
                    </a:cubicBezTo>
                    <a:cubicBezTo>
                      <a:pt x="5" y="561"/>
                      <a:pt x="5" y="561"/>
                      <a:pt x="5" y="561"/>
                    </a:cubicBezTo>
                    <a:cubicBezTo>
                      <a:pt x="0" y="572"/>
                      <a:pt x="5" y="585"/>
                      <a:pt x="16" y="590"/>
                    </a:cubicBezTo>
                    <a:cubicBezTo>
                      <a:pt x="353" y="733"/>
                      <a:pt x="353" y="733"/>
                      <a:pt x="353" y="733"/>
                    </a:cubicBezTo>
                    <a:cubicBezTo>
                      <a:pt x="364" y="738"/>
                      <a:pt x="377" y="732"/>
                      <a:pt x="382" y="721"/>
                    </a:cubicBezTo>
                    <a:cubicBezTo>
                      <a:pt x="419" y="634"/>
                      <a:pt x="419" y="634"/>
                      <a:pt x="419" y="634"/>
                    </a:cubicBezTo>
                    <a:cubicBezTo>
                      <a:pt x="424" y="622"/>
                      <a:pt x="419" y="609"/>
                      <a:pt x="408" y="605"/>
                    </a:cubicBezTo>
                    <a:close/>
                    <a:moveTo>
                      <a:pt x="366" y="642"/>
                    </a:moveTo>
                    <a:cubicBezTo>
                      <a:pt x="354" y="671"/>
                      <a:pt x="354" y="671"/>
                      <a:pt x="354" y="671"/>
                    </a:cubicBezTo>
                    <a:cubicBezTo>
                      <a:pt x="352" y="676"/>
                      <a:pt x="346" y="678"/>
                      <a:pt x="341" y="676"/>
                    </a:cubicBezTo>
                    <a:cubicBezTo>
                      <a:pt x="63" y="558"/>
                      <a:pt x="63" y="558"/>
                      <a:pt x="63" y="558"/>
                    </a:cubicBezTo>
                    <a:cubicBezTo>
                      <a:pt x="58" y="555"/>
                      <a:pt x="55" y="550"/>
                      <a:pt x="58" y="545"/>
                    </a:cubicBezTo>
                    <a:cubicBezTo>
                      <a:pt x="70" y="516"/>
                      <a:pt x="70" y="516"/>
                      <a:pt x="70" y="516"/>
                    </a:cubicBezTo>
                    <a:cubicBezTo>
                      <a:pt x="72" y="511"/>
                      <a:pt x="78" y="508"/>
                      <a:pt x="83" y="511"/>
                    </a:cubicBezTo>
                    <a:cubicBezTo>
                      <a:pt x="361" y="629"/>
                      <a:pt x="361" y="629"/>
                      <a:pt x="361" y="629"/>
                    </a:cubicBezTo>
                    <a:cubicBezTo>
                      <a:pt x="366" y="631"/>
                      <a:pt x="368" y="637"/>
                      <a:pt x="366" y="642"/>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575757"/>
                  </a:solidFill>
                </a:endParaRPr>
              </a:p>
            </p:txBody>
          </p:sp>
        </p:grpSp>
      </p:grpSp>
      <p:sp>
        <p:nvSpPr>
          <p:cNvPr id="87" name="Rectangle 86">
            <a:extLst>
              <a:ext uri="{FF2B5EF4-FFF2-40B4-BE49-F238E27FC236}">
                <a16:creationId xmlns:a16="http://schemas.microsoft.com/office/drawing/2014/main" id="{E734667E-D0F4-4579-951E-3E2143F43476}"/>
              </a:ext>
            </a:extLst>
          </p:cNvPr>
          <p:cNvSpPr/>
          <p:nvPr/>
        </p:nvSpPr>
        <p:spPr bwMode="auto">
          <a:xfrm>
            <a:off x="3894858" y="1275606"/>
            <a:ext cx="1433172" cy="3384376"/>
          </a:xfrm>
          <a:prstGeom prst="rect">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88" name="Rectangle 87">
            <a:extLst>
              <a:ext uri="{FF2B5EF4-FFF2-40B4-BE49-F238E27FC236}">
                <a16:creationId xmlns:a16="http://schemas.microsoft.com/office/drawing/2014/main" id="{4C6BD823-2D33-4132-8836-391FC0B86E9C}"/>
              </a:ext>
            </a:extLst>
          </p:cNvPr>
          <p:cNvSpPr/>
          <p:nvPr/>
        </p:nvSpPr>
        <p:spPr bwMode="auto">
          <a:xfrm>
            <a:off x="4017742" y="1203598"/>
            <a:ext cx="1187404" cy="144016"/>
          </a:xfrm>
          <a:prstGeom prst="rect">
            <a:avLst/>
          </a:prstGeom>
          <a:solidFill>
            <a:srgbClr val="FFFFF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000" b="1" dirty="0">
                <a:solidFill>
                  <a:srgbClr val="0A4E78"/>
                </a:solidFill>
                <a:latin typeface="+mn-lt"/>
                <a:cs typeface="+mn-cs"/>
              </a:rPr>
              <a:t>Labore und Logistikdienst-</a:t>
            </a:r>
            <a:r>
              <a:rPr lang="de-DE" sz="1000" b="1" dirty="0" err="1">
                <a:solidFill>
                  <a:srgbClr val="0A4E78"/>
                </a:solidFill>
                <a:latin typeface="+mn-lt"/>
                <a:cs typeface="+mn-cs"/>
              </a:rPr>
              <a:t>leister</a:t>
            </a:r>
            <a:endParaRPr lang="de-DE" sz="1000" b="1" dirty="0">
              <a:solidFill>
                <a:srgbClr val="0A4E78"/>
              </a:solidFill>
              <a:latin typeface="+mn-lt"/>
              <a:cs typeface="+mn-cs"/>
            </a:endParaRPr>
          </a:p>
        </p:txBody>
      </p:sp>
      <p:grpSp>
        <p:nvGrpSpPr>
          <p:cNvPr id="89" name="Group 88">
            <a:extLst>
              <a:ext uri="{FF2B5EF4-FFF2-40B4-BE49-F238E27FC236}">
                <a16:creationId xmlns:a16="http://schemas.microsoft.com/office/drawing/2014/main" id="{85D1BBB1-0F65-48DB-87AE-348627F3D5E9}"/>
              </a:ext>
            </a:extLst>
          </p:cNvPr>
          <p:cNvGrpSpPr>
            <a:grpSpLocks noChangeAspect="1"/>
          </p:cNvGrpSpPr>
          <p:nvPr/>
        </p:nvGrpSpPr>
        <p:grpSpPr>
          <a:xfrm>
            <a:off x="2568313" y="1763666"/>
            <a:ext cx="927980" cy="927085"/>
            <a:chOff x="5273675" y="2606675"/>
            <a:chExt cx="1646238" cy="1644650"/>
          </a:xfrm>
        </p:grpSpPr>
        <p:sp>
          <p:nvSpPr>
            <p:cNvPr id="90" name="AutoShape 3">
              <a:extLst>
                <a:ext uri="{FF2B5EF4-FFF2-40B4-BE49-F238E27FC236}">
                  <a16:creationId xmlns:a16="http://schemas.microsoft.com/office/drawing/2014/main" id="{DC559A3C-7BDF-4C4E-BE1B-B6F0691BE08C}"/>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91" name="Group 90">
              <a:extLst>
                <a:ext uri="{FF2B5EF4-FFF2-40B4-BE49-F238E27FC236}">
                  <a16:creationId xmlns:a16="http://schemas.microsoft.com/office/drawing/2014/main" id="{28BBAA6F-6F2D-438D-9C02-823FD5CAC5B9}"/>
                </a:ext>
              </a:extLst>
            </p:cNvPr>
            <p:cNvGrpSpPr/>
            <p:nvPr/>
          </p:nvGrpSpPr>
          <p:grpSpPr>
            <a:xfrm>
              <a:off x="5346302" y="2868613"/>
              <a:ext cx="1504356" cy="1214437"/>
              <a:chOff x="5346302" y="2868613"/>
              <a:chExt cx="1504356" cy="1214437"/>
            </a:xfrm>
          </p:grpSpPr>
          <p:sp>
            <p:nvSpPr>
              <p:cNvPr id="92" name="Freeform 5">
                <a:extLst>
                  <a:ext uri="{FF2B5EF4-FFF2-40B4-BE49-F238E27FC236}">
                    <a16:creationId xmlns:a16="http://schemas.microsoft.com/office/drawing/2014/main" id="{19F36A93-30B8-41AA-B4B2-F3129E4D82D4}"/>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3" name="Freeform 11">
                <a:extLst>
                  <a:ext uri="{FF2B5EF4-FFF2-40B4-BE49-F238E27FC236}">
                    <a16:creationId xmlns:a16="http://schemas.microsoft.com/office/drawing/2014/main" id="{FE1C87C5-126D-456B-A5B8-201F501F3CB6}"/>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sp>
        <p:nvSpPr>
          <p:cNvPr id="94" name="Rectangle 93">
            <a:extLst>
              <a:ext uri="{FF2B5EF4-FFF2-40B4-BE49-F238E27FC236}">
                <a16:creationId xmlns:a16="http://schemas.microsoft.com/office/drawing/2014/main" id="{DB40DD29-D32F-494B-8F39-0E2C8E6CF97C}"/>
              </a:ext>
            </a:extLst>
          </p:cNvPr>
          <p:cNvSpPr/>
          <p:nvPr/>
        </p:nvSpPr>
        <p:spPr bwMode="auto">
          <a:xfrm>
            <a:off x="5468400" y="1275606"/>
            <a:ext cx="1433172" cy="3384376"/>
          </a:xfrm>
          <a:prstGeom prst="rect">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95" name="Rectangle 94">
            <a:extLst>
              <a:ext uri="{FF2B5EF4-FFF2-40B4-BE49-F238E27FC236}">
                <a16:creationId xmlns:a16="http://schemas.microsoft.com/office/drawing/2014/main" id="{EDC73D1A-19D9-4602-AF52-EFCB03F9E0EC}"/>
              </a:ext>
            </a:extLst>
          </p:cNvPr>
          <p:cNvSpPr/>
          <p:nvPr/>
        </p:nvSpPr>
        <p:spPr bwMode="auto">
          <a:xfrm>
            <a:off x="5591284" y="1203598"/>
            <a:ext cx="1187404" cy="144016"/>
          </a:xfrm>
          <a:prstGeom prst="rect">
            <a:avLst/>
          </a:prstGeom>
          <a:solidFill>
            <a:srgbClr val="FFFFF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000" b="1" dirty="0">
                <a:solidFill>
                  <a:srgbClr val="0A4E78"/>
                </a:solidFill>
                <a:latin typeface="+mn-lt"/>
                <a:cs typeface="+mn-cs"/>
              </a:rPr>
              <a:t>Test- und Transportmaterial-hersteller</a:t>
            </a:r>
          </a:p>
        </p:txBody>
      </p:sp>
      <p:grpSp>
        <p:nvGrpSpPr>
          <p:cNvPr id="96" name="Group 95">
            <a:extLst>
              <a:ext uri="{FF2B5EF4-FFF2-40B4-BE49-F238E27FC236}">
                <a16:creationId xmlns:a16="http://schemas.microsoft.com/office/drawing/2014/main" id="{B669B68C-0E0F-4A7C-AF54-E7C4DC88FC8C}"/>
              </a:ext>
            </a:extLst>
          </p:cNvPr>
          <p:cNvGrpSpPr/>
          <p:nvPr/>
        </p:nvGrpSpPr>
        <p:grpSpPr>
          <a:xfrm>
            <a:off x="5370736" y="1763666"/>
            <a:ext cx="924403" cy="927085"/>
            <a:chOff x="824368" y="3729905"/>
            <a:chExt cx="924403" cy="927085"/>
          </a:xfrm>
        </p:grpSpPr>
        <p:sp>
          <p:nvSpPr>
            <p:cNvPr id="97" name="AutoShape 43">
              <a:extLst>
                <a:ext uri="{FF2B5EF4-FFF2-40B4-BE49-F238E27FC236}">
                  <a16:creationId xmlns:a16="http://schemas.microsoft.com/office/drawing/2014/main" id="{6BD530E8-E55C-4B06-8B8D-02F6DEA60799}"/>
                </a:ext>
              </a:extLst>
            </p:cNvPr>
            <p:cNvSpPr>
              <a:spLocks noChangeAspect="1" noChangeArrowheads="1" noTextEdit="1"/>
            </p:cNvSpPr>
            <p:nvPr/>
          </p:nvSpPr>
          <p:spPr bwMode="auto">
            <a:xfrm>
              <a:off x="824368" y="3729905"/>
              <a:ext cx="924403"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98" name="Group 97">
              <a:extLst>
                <a:ext uri="{FF2B5EF4-FFF2-40B4-BE49-F238E27FC236}">
                  <a16:creationId xmlns:a16="http://schemas.microsoft.com/office/drawing/2014/main" id="{DFBF07B8-2880-467F-9E12-34CD8D83EC0D}"/>
                </a:ext>
              </a:extLst>
            </p:cNvPr>
            <p:cNvGrpSpPr/>
            <p:nvPr/>
          </p:nvGrpSpPr>
          <p:grpSpPr>
            <a:xfrm>
              <a:off x="1109027" y="3792305"/>
              <a:ext cx="355084" cy="772824"/>
              <a:chOff x="584623" y="1923650"/>
              <a:chExt cx="355084" cy="772824"/>
            </a:xfrm>
          </p:grpSpPr>
          <p:sp>
            <p:nvSpPr>
              <p:cNvPr id="99" name="Rectangle: Rounded Corners 98">
                <a:extLst>
                  <a:ext uri="{FF2B5EF4-FFF2-40B4-BE49-F238E27FC236}">
                    <a16:creationId xmlns:a16="http://schemas.microsoft.com/office/drawing/2014/main" id="{69AB513B-1D54-4BC2-ADF1-D29268414C76}"/>
                  </a:ext>
                </a:extLst>
              </p:cNvPr>
              <p:cNvSpPr/>
              <p:nvPr/>
            </p:nvSpPr>
            <p:spPr bwMode="auto">
              <a:xfrm>
                <a:off x="584623" y="1923650"/>
                <a:ext cx="355084"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0" name="Arrow: Pentagon 99">
                <a:extLst>
                  <a:ext uri="{FF2B5EF4-FFF2-40B4-BE49-F238E27FC236}">
                    <a16:creationId xmlns:a16="http://schemas.microsoft.com/office/drawing/2014/main" id="{673186F4-18ED-42A9-BF34-2784EE27743D}"/>
                  </a:ext>
                </a:extLst>
              </p:cNvPr>
              <p:cNvSpPr/>
              <p:nvPr/>
            </p:nvSpPr>
            <p:spPr bwMode="auto">
              <a:xfrm rot="5400000">
                <a:off x="433951" y="2226260"/>
                <a:ext cx="656429" cy="284000"/>
              </a:xfrm>
              <a:prstGeom prst="homePlate">
                <a:avLst/>
              </a:pr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6C8CA6"/>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1" name="Rectangle 100">
                <a:extLst>
                  <a:ext uri="{FF2B5EF4-FFF2-40B4-BE49-F238E27FC236}">
                    <a16:creationId xmlns:a16="http://schemas.microsoft.com/office/drawing/2014/main" id="{D92ED4B4-A84F-47A6-97D6-B0C50434B3C0}"/>
                  </a:ext>
                </a:extLst>
              </p:cNvPr>
              <p:cNvSpPr/>
              <p:nvPr/>
            </p:nvSpPr>
            <p:spPr bwMode="auto">
              <a:xfrm>
                <a:off x="747110" y="2124864"/>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2" name="Rectangle 101">
                <a:extLst>
                  <a:ext uri="{FF2B5EF4-FFF2-40B4-BE49-F238E27FC236}">
                    <a16:creationId xmlns:a16="http://schemas.microsoft.com/office/drawing/2014/main" id="{412744C1-FDE8-4B1B-9380-134063F197EB}"/>
                  </a:ext>
                </a:extLst>
              </p:cNvPr>
              <p:cNvSpPr/>
              <p:nvPr/>
            </p:nvSpPr>
            <p:spPr bwMode="auto">
              <a:xfrm>
                <a:off x="747110" y="2218281"/>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3" name="Rectangle 102">
                <a:extLst>
                  <a:ext uri="{FF2B5EF4-FFF2-40B4-BE49-F238E27FC236}">
                    <a16:creationId xmlns:a16="http://schemas.microsoft.com/office/drawing/2014/main" id="{DC67B593-1E76-4A91-BED8-D9511FD7D88F}"/>
                  </a:ext>
                </a:extLst>
              </p:cNvPr>
              <p:cNvSpPr/>
              <p:nvPr/>
            </p:nvSpPr>
            <p:spPr bwMode="auto">
              <a:xfrm>
                <a:off x="747110" y="2311698"/>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4" name="Rectangle 103">
                <a:extLst>
                  <a:ext uri="{FF2B5EF4-FFF2-40B4-BE49-F238E27FC236}">
                    <a16:creationId xmlns:a16="http://schemas.microsoft.com/office/drawing/2014/main" id="{2EBD616B-5EE9-4595-BEDC-C8FE3FAEFC32}"/>
                  </a:ext>
                </a:extLst>
              </p:cNvPr>
              <p:cNvSpPr/>
              <p:nvPr/>
            </p:nvSpPr>
            <p:spPr bwMode="auto">
              <a:xfrm>
                <a:off x="747110" y="2405115"/>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5" name="Rectangle 104">
                <a:extLst>
                  <a:ext uri="{FF2B5EF4-FFF2-40B4-BE49-F238E27FC236}">
                    <a16:creationId xmlns:a16="http://schemas.microsoft.com/office/drawing/2014/main" id="{E04BA5DF-46C7-4430-AB2E-3356C39F4573}"/>
                  </a:ext>
                </a:extLst>
              </p:cNvPr>
              <p:cNvSpPr/>
              <p:nvPr/>
            </p:nvSpPr>
            <p:spPr bwMode="auto">
              <a:xfrm>
                <a:off x="747110" y="2498532"/>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grpSp>
        <p:nvGrpSpPr>
          <p:cNvPr id="106" name="Group 105">
            <a:extLst>
              <a:ext uri="{FF2B5EF4-FFF2-40B4-BE49-F238E27FC236}">
                <a16:creationId xmlns:a16="http://schemas.microsoft.com/office/drawing/2014/main" id="{0F0F70E9-DC50-40F8-9E45-FEC2DBB1D877}"/>
              </a:ext>
            </a:extLst>
          </p:cNvPr>
          <p:cNvGrpSpPr/>
          <p:nvPr/>
        </p:nvGrpSpPr>
        <p:grpSpPr>
          <a:xfrm>
            <a:off x="5369824" y="2788026"/>
            <a:ext cx="926227" cy="927085"/>
            <a:chOff x="528540" y="2696474"/>
            <a:chExt cx="926227" cy="927085"/>
          </a:xfrm>
        </p:grpSpPr>
        <p:grpSp>
          <p:nvGrpSpPr>
            <p:cNvPr id="107" name="Group 106">
              <a:extLst>
                <a:ext uri="{FF2B5EF4-FFF2-40B4-BE49-F238E27FC236}">
                  <a16:creationId xmlns:a16="http://schemas.microsoft.com/office/drawing/2014/main" id="{4F57F71D-02D2-48A8-814C-635FDE3A026C}"/>
                </a:ext>
              </a:extLst>
            </p:cNvPr>
            <p:cNvGrpSpPr>
              <a:grpSpLocks/>
            </p:cNvGrpSpPr>
            <p:nvPr/>
          </p:nvGrpSpPr>
          <p:grpSpPr>
            <a:xfrm rot="1800000">
              <a:off x="958315" y="2789190"/>
              <a:ext cx="66678" cy="741654"/>
              <a:chOff x="3748568" y="2287851"/>
              <a:chExt cx="148686" cy="1653808"/>
            </a:xfrm>
          </p:grpSpPr>
          <p:sp>
            <p:nvSpPr>
              <p:cNvPr id="109" name="Rectangle 108">
                <a:extLst>
                  <a:ext uri="{FF2B5EF4-FFF2-40B4-BE49-F238E27FC236}">
                    <a16:creationId xmlns:a16="http://schemas.microsoft.com/office/drawing/2014/main" id="{378B4594-9560-4E94-917C-47BA4D805EF2}"/>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10" name="Teardrop 109">
                <a:extLst>
                  <a:ext uri="{FF2B5EF4-FFF2-40B4-BE49-F238E27FC236}">
                    <a16:creationId xmlns:a16="http://schemas.microsoft.com/office/drawing/2014/main" id="{B4CC018D-58A5-49B2-B1B9-44E7DA9999AF}"/>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108" name="AutoShape 8">
              <a:extLst>
                <a:ext uri="{FF2B5EF4-FFF2-40B4-BE49-F238E27FC236}">
                  <a16:creationId xmlns:a16="http://schemas.microsoft.com/office/drawing/2014/main" id="{009F1AA6-EEA5-4E9F-988F-54B49C17B461}"/>
                </a:ext>
              </a:extLst>
            </p:cNvPr>
            <p:cNvSpPr>
              <a:spLocks noChangeAspect="1" noChangeArrowheads="1" noTextEdit="1"/>
            </p:cNvSpPr>
            <p:nvPr/>
          </p:nvSpPr>
          <p:spPr bwMode="auto">
            <a:xfrm>
              <a:off x="528540" y="269647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11" name="Group 110">
            <a:extLst>
              <a:ext uri="{FF2B5EF4-FFF2-40B4-BE49-F238E27FC236}">
                <a16:creationId xmlns:a16="http://schemas.microsoft.com/office/drawing/2014/main" id="{F9975858-45CC-41A4-8ED1-24979E8290BA}"/>
              </a:ext>
            </a:extLst>
          </p:cNvPr>
          <p:cNvGrpSpPr/>
          <p:nvPr/>
        </p:nvGrpSpPr>
        <p:grpSpPr>
          <a:xfrm>
            <a:off x="5370736" y="3633005"/>
            <a:ext cx="924403" cy="927085"/>
            <a:chOff x="472500" y="3795886"/>
            <a:chExt cx="924403" cy="927085"/>
          </a:xfrm>
        </p:grpSpPr>
        <p:sp>
          <p:nvSpPr>
            <p:cNvPr id="112" name="AutoShape 43">
              <a:extLst>
                <a:ext uri="{FF2B5EF4-FFF2-40B4-BE49-F238E27FC236}">
                  <a16:creationId xmlns:a16="http://schemas.microsoft.com/office/drawing/2014/main" id="{8EE924EC-E4BA-4729-9A2E-7D29E99A37B2}"/>
                </a:ext>
              </a:extLst>
            </p:cNvPr>
            <p:cNvSpPr>
              <a:spLocks noChangeAspect="1" noChangeArrowheads="1" noTextEdit="1"/>
            </p:cNvSpPr>
            <p:nvPr/>
          </p:nvSpPr>
          <p:spPr bwMode="auto">
            <a:xfrm>
              <a:off x="472500" y="3795886"/>
              <a:ext cx="924403"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3" name="Rectangle: Rounded Corners 112">
              <a:extLst>
                <a:ext uri="{FF2B5EF4-FFF2-40B4-BE49-F238E27FC236}">
                  <a16:creationId xmlns:a16="http://schemas.microsoft.com/office/drawing/2014/main" id="{D2D4BA3B-768A-4D4D-8758-22B5B1643341}"/>
                </a:ext>
              </a:extLst>
            </p:cNvPr>
            <p:cNvSpPr/>
            <p:nvPr/>
          </p:nvSpPr>
          <p:spPr bwMode="auto">
            <a:xfrm rot="19800000">
              <a:off x="722246" y="3869100"/>
              <a:ext cx="355084"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14" name="Arrow: Pentagon 113">
              <a:extLst>
                <a:ext uri="{FF2B5EF4-FFF2-40B4-BE49-F238E27FC236}">
                  <a16:creationId xmlns:a16="http://schemas.microsoft.com/office/drawing/2014/main" id="{667FB75D-33BE-4C69-AFAC-2571A26C020C}"/>
                </a:ext>
              </a:extLst>
            </p:cNvPr>
            <p:cNvSpPr/>
            <p:nvPr/>
          </p:nvSpPr>
          <p:spPr bwMode="auto">
            <a:xfrm rot="5400000">
              <a:off x="606487" y="4224942"/>
              <a:ext cx="656429" cy="284000"/>
            </a:xfrm>
            <a:prstGeom prst="homePlate">
              <a:avLst/>
            </a:pr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6C8CA6"/>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115" name="Group 114">
              <a:extLst>
                <a:ext uri="{FF2B5EF4-FFF2-40B4-BE49-F238E27FC236}">
                  <a16:creationId xmlns:a16="http://schemas.microsoft.com/office/drawing/2014/main" id="{0E03134A-379D-4340-8879-83014A4B9150}"/>
                </a:ext>
              </a:extLst>
            </p:cNvPr>
            <p:cNvGrpSpPr>
              <a:grpSpLocks/>
            </p:cNvGrpSpPr>
            <p:nvPr/>
          </p:nvGrpSpPr>
          <p:grpSpPr>
            <a:xfrm rot="10800000">
              <a:off x="827584" y="4064211"/>
              <a:ext cx="45720" cy="508538"/>
              <a:chOff x="3748568" y="2287851"/>
              <a:chExt cx="148686" cy="1653808"/>
            </a:xfrm>
          </p:grpSpPr>
          <p:sp>
            <p:nvSpPr>
              <p:cNvPr id="125" name="Rectangle 124">
                <a:extLst>
                  <a:ext uri="{FF2B5EF4-FFF2-40B4-BE49-F238E27FC236}">
                    <a16:creationId xmlns:a16="http://schemas.microsoft.com/office/drawing/2014/main" id="{BB67E30F-BD85-4495-A2A2-B3A6376A5CE0}"/>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26" name="Teardrop 125">
                <a:extLst>
                  <a:ext uri="{FF2B5EF4-FFF2-40B4-BE49-F238E27FC236}">
                    <a16:creationId xmlns:a16="http://schemas.microsoft.com/office/drawing/2014/main" id="{BBAAD7DB-22FA-4CA5-8D75-58CB5A5E2295}"/>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16" name="Group 115">
              <a:extLst>
                <a:ext uri="{FF2B5EF4-FFF2-40B4-BE49-F238E27FC236}">
                  <a16:creationId xmlns:a16="http://schemas.microsoft.com/office/drawing/2014/main" id="{74C63378-CAE4-40C2-A7A2-D34D1A31BEE7}"/>
                </a:ext>
              </a:extLst>
            </p:cNvPr>
            <p:cNvGrpSpPr>
              <a:grpSpLocks/>
            </p:cNvGrpSpPr>
            <p:nvPr/>
          </p:nvGrpSpPr>
          <p:grpSpPr>
            <a:xfrm rot="10800000">
              <a:off x="886971" y="4101071"/>
              <a:ext cx="45720" cy="508538"/>
              <a:chOff x="3748568" y="2287851"/>
              <a:chExt cx="148686" cy="1653808"/>
            </a:xfrm>
          </p:grpSpPr>
          <p:sp>
            <p:nvSpPr>
              <p:cNvPr id="123" name="Rectangle 122">
                <a:extLst>
                  <a:ext uri="{FF2B5EF4-FFF2-40B4-BE49-F238E27FC236}">
                    <a16:creationId xmlns:a16="http://schemas.microsoft.com/office/drawing/2014/main" id="{605E828A-67E9-4FF3-8D5B-4AB0A5CE50EA}"/>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24" name="Teardrop 123">
                <a:extLst>
                  <a:ext uri="{FF2B5EF4-FFF2-40B4-BE49-F238E27FC236}">
                    <a16:creationId xmlns:a16="http://schemas.microsoft.com/office/drawing/2014/main" id="{AA43FB4F-1256-409E-9D1D-997A8E789C8F}"/>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17" name="Group 116">
              <a:extLst>
                <a:ext uri="{FF2B5EF4-FFF2-40B4-BE49-F238E27FC236}">
                  <a16:creationId xmlns:a16="http://schemas.microsoft.com/office/drawing/2014/main" id="{1D7B1854-3C97-4B72-A0D2-CB57A6CD215A}"/>
                </a:ext>
              </a:extLst>
            </p:cNvPr>
            <p:cNvGrpSpPr>
              <a:grpSpLocks/>
            </p:cNvGrpSpPr>
            <p:nvPr/>
          </p:nvGrpSpPr>
          <p:grpSpPr>
            <a:xfrm rot="10800000">
              <a:off x="952143" y="4108460"/>
              <a:ext cx="45720" cy="508538"/>
              <a:chOff x="3748568" y="2287851"/>
              <a:chExt cx="148686" cy="1653808"/>
            </a:xfrm>
          </p:grpSpPr>
          <p:sp>
            <p:nvSpPr>
              <p:cNvPr id="121" name="Rectangle 120">
                <a:extLst>
                  <a:ext uri="{FF2B5EF4-FFF2-40B4-BE49-F238E27FC236}">
                    <a16:creationId xmlns:a16="http://schemas.microsoft.com/office/drawing/2014/main" id="{D7859B8D-097D-443C-9809-E967A98C8068}"/>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22" name="Teardrop 121">
                <a:extLst>
                  <a:ext uri="{FF2B5EF4-FFF2-40B4-BE49-F238E27FC236}">
                    <a16:creationId xmlns:a16="http://schemas.microsoft.com/office/drawing/2014/main" id="{25D136BC-D1CF-417C-AC9B-C4683A6FEA73}"/>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18" name="Group 117">
              <a:extLst>
                <a:ext uri="{FF2B5EF4-FFF2-40B4-BE49-F238E27FC236}">
                  <a16:creationId xmlns:a16="http://schemas.microsoft.com/office/drawing/2014/main" id="{BF412BE1-66AF-40F6-AE35-E07FFF95214C}"/>
                </a:ext>
              </a:extLst>
            </p:cNvPr>
            <p:cNvGrpSpPr>
              <a:grpSpLocks/>
            </p:cNvGrpSpPr>
            <p:nvPr/>
          </p:nvGrpSpPr>
          <p:grpSpPr>
            <a:xfrm rot="10800000" flipH="1">
              <a:off x="1010544" y="4064211"/>
              <a:ext cx="45720" cy="508538"/>
              <a:chOff x="3748568" y="2287851"/>
              <a:chExt cx="148686" cy="1653808"/>
            </a:xfrm>
          </p:grpSpPr>
          <p:sp>
            <p:nvSpPr>
              <p:cNvPr id="119" name="Rectangle 118">
                <a:extLst>
                  <a:ext uri="{FF2B5EF4-FFF2-40B4-BE49-F238E27FC236}">
                    <a16:creationId xmlns:a16="http://schemas.microsoft.com/office/drawing/2014/main" id="{70E0DE4A-3A1F-4564-AF86-58CB910117AE}"/>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20" name="Teardrop 119">
                <a:extLst>
                  <a:ext uri="{FF2B5EF4-FFF2-40B4-BE49-F238E27FC236}">
                    <a16:creationId xmlns:a16="http://schemas.microsoft.com/office/drawing/2014/main" id="{2F890C43-5005-420D-BD2F-9A19CC104D38}"/>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grpSp>
        <p:nvGrpSpPr>
          <p:cNvPr id="127" name="Group 126">
            <a:extLst>
              <a:ext uri="{FF2B5EF4-FFF2-40B4-BE49-F238E27FC236}">
                <a16:creationId xmlns:a16="http://schemas.microsoft.com/office/drawing/2014/main" id="{54D1A00A-05D4-4F47-9D80-152AF1501B4F}"/>
              </a:ext>
            </a:extLst>
          </p:cNvPr>
          <p:cNvGrpSpPr/>
          <p:nvPr/>
        </p:nvGrpSpPr>
        <p:grpSpPr>
          <a:xfrm>
            <a:off x="6010479" y="1729256"/>
            <a:ext cx="926227" cy="927085"/>
            <a:chOff x="528540" y="3656094"/>
            <a:chExt cx="926227" cy="927085"/>
          </a:xfrm>
        </p:grpSpPr>
        <p:grpSp>
          <p:nvGrpSpPr>
            <p:cNvPr id="128" name="Group 127">
              <a:extLst>
                <a:ext uri="{FF2B5EF4-FFF2-40B4-BE49-F238E27FC236}">
                  <a16:creationId xmlns:a16="http://schemas.microsoft.com/office/drawing/2014/main" id="{708984B6-3369-4853-9200-E6EB7078570C}"/>
                </a:ext>
              </a:extLst>
            </p:cNvPr>
            <p:cNvGrpSpPr/>
            <p:nvPr/>
          </p:nvGrpSpPr>
          <p:grpSpPr>
            <a:xfrm>
              <a:off x="856419" y="3775060"/>
              <a:ext cx="270468" cy="691986"/>
              <a:chOff x="791086" y="3775060"/>
              <a:chExt cx="270468" cy="691986"/>
            </a:xfrm>
          </p:grpSpPr>
          <p:sp>
            <p:nvSpPr>
              <p:cNvPr id="133" name="Rectangle: Rounded Corners 132">
                <a:extLst>
                  <a:ext uri="{FF2B5EF4-FFF2-40B4-BE49-F238E27FC236}">
                    <a16:creationId xmlns:a16="http://schemas.microsoft.com/office/drawing/2014/main" id="{8A10A88E-C0DD-447B-ABC9-9143EABF4B82}"/>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34" name="Freeform: Shape 133">
                <a:extLst>
                  <a:ext uri="{FF2B5EF4-FFF2-40B4-BE49-F238E27FC236}">
                    <a16:creationId xmlns:a16="http://schemas.microsoft.com/office/drawing/2014/main" id="{5C236B73-B99B-4EBF-BAEC-F658F2ED4492}"/>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29" name="Group 128">
              <a:extLst>
                <a:ext uri="{FF2B5EF4-FFF2-40B4-BE49-F238E27FC236}">
                  <a16:creationId xmlns:a16="http://schemas.microsoft.com/office/drawing/2014/main" id="{0A088DE8-CFF2-4AA0-BB00-9BD421B7E025}"/>
                </a:ext>
              </a:extLst>
            </p:cNvPr>
            <p:cNvGrpSpPr/>
            <p:nvPr/>
          </p:nvGrpSpPr>
          <p:grpSpPr>
            <a:xfrm rot="9000000">
              <a:off x="889049" y="3827496"/>
              <a:ext cx="164431" cy="505560"/>
              <a:chOff x="1080621" y="2982166"/>
              <a:chExt cx="225378" cy="692942"/>
            </a:xfrm>
          </p:grpSpPr>
          <p:sp>
            <p:nvSpPr>
              <p:cNvPr id="131" name="Rectangle 130">
                <a:extLst>
                  <a:ext uri="{FF2B5EF4-FFF2-40B4-BE49-F238E27FC236}">
                    <a16:creationId xmlns:a16="http://schemas.microsoft.com/office/drawing/2014/main" id="{915F948E-0EF8-41B7-93C2-5AC347517540}"/>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32" name="Teardrop 131">
                <a:extLst>
                  <a:ext uri="{FF2B5EF4-FFF2-40B4-BE49-F238E27FC236}">
                    <a16:creationId xmlns:a16="http://schemas.microsoft.com/office/drawing/2014/main" id="{3D2C9011-AC49-437B-BC8E-3472BD79021C}"/>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130" name="AutoShape 8">
              <a:extLst>
                <a:ext uri="{FF2B5EF4-FFF2-40B4-BE49-F238E27FC236}">
                  <a16:creationId xmlns:a16="http://schemas.microsoft.com/office/drawing/2014/main" id="{188684A1-8E9A-4019-8437-D1E31FDB9CA2}"/>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40" name="Group 139">
            <a:extLst>
              <a:ext uri="{FF2B5EF4-FFF2-40B4-BE49-F238E27FC236}">
                <a16:creationId xmlns:a16="http://schemas.microsoft.com/office/drawing/2014/main" id="{81E9D892-4669-4186-A72C-3FB817B60BC1}"/>
              </a:ext>
            </a:extLst>
          </p:cNvPr>
          <p:cNvGrpSpPr/>
          <p:nvPr/>
        </p:nvGrpSpPr>
        <p:grpSpPr>
          <a:xfrm>
            <a:off x="6017529" y="2697944"/>
            <a:ext cx="927085" cy="927085"/>
            <a:chOff x="5080765" y="644762"/>
            <a:chExt cx="1644396" cy="1645920"/>
          </a:xfrm>
        </p:grpSpPr>
        <p:sp>
          <p:nvSpPr>
            <p:cNvPr id="141" name="AutoShape 24">
              <a:extLst>
                <a:ext uri="{FF2B5EF4-FFF2-40B4-BE49-F238E27FC236}">
                  <a16:creationId xmlns:a16="http://schemas.microsoft.com/office/drawing/2014/main" id="{B90FD469-329B-4D76-9D50-891D9C9909CD}"/>
                </a:ext>
              </a:extLst>
            </p:cNvPr>
            <p:cNvSpPr>
              <a:spLocks noChangeAspect="1" noChangeArrowheads="1" noTextEdit="1"/>
            </p:cNvSpPr>
            <p:nvPr/>
          </p:nvSpPr>
          <p:spPr bwMode="auto">
            <a:xfrm>
              <a:off x="5080765" y="644762"/>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2" name="Freeform: Shape 141">
              <a:extLst>
                <a:ext uri="{FF2B5EF4-FFF2-40B4-BE49-F238E27FC236}">
                  <a16:creationId xmlns:a16="http://schemas.microsoft.com/office/drawing/2014/main" id="{3967F34E-0951-4766-8A89-F8BDD01DCE07}"/>
                </a:ext>
              </a:extLst>
            </p:cNvPr>
            <p:cNvSpPr>
              <a:spLocks/>
            </p:cNvSpPr>
            <p:nvPr/>
          </p:nvSpPr>
          <p:spPr bwMode="auto">
            <a:xfrm>
              <a:off x="5519677" y="1125584"/>
              <a:ext cx="756666" cy="827532"/>
            </a:xfrm>
            <a:custGeom>
              <a:avLst/>
              <a:gdLst>
                <a:gd name="connsiteX0" fmla="*/ 44258 w 756666"/>
                <a:gd name="connsiteY0" fmla="*/ 0 h 827532"/>
                <a:gd name="connsiteX1" fmla="*/ 264800 w 756666"/>
                <a:gd name="connsiteY1" fmla="*/ 0 h 827532"/>
                <a:gd name="connsiteX2" fmla="*/ 340975 w 756666"/>
                <a:gd name="connsiteY2" fmla="*/ 0 h 827532"/>
                <a:gd name="connsiteX3" fmla="*/ 340975 w 756666"/>
                <a:gd name="connsiteY3" fmla="*/ 778568 h 827532"/>
                <a:gd name="connsiteX4" fmla="*/ 386694 w 756666"/>
                <a:gd name="connsiteY4" fmla="*/ 778568 h 827532"/>
                <a:gd name="connsiteX5" fmla="*/ 386694 w 756666"/>
                <a:gd name="connsiteY5" fmla="*/ 0 h 827532"/>
                <a:gd name="connsiteX6" fmla="*/ 430532 w 756666"/>
                <a:gd name="connsiteY6" fmla="*/ 0 h 827532"/>
                <a:gd name="connsiteX7" fmla="*/ 712408 w 756666"/>
                <a:gd name="connsiteY7" fmla="*/ 0 h 827532"/>
                <a:gd name="connsiteX8" fmla="*/ 728113 w 756666"/>
                <a:gd name="connsiteY8" fmla="*/ 13994 h 827532"/>
                <a:gd name="connsiteX9" fmla="*/ 756666 w 756666"/>
                <a:gd name="connsiteY9" fmla="*/ 813538 h 827532"/>
                <a:gd name="connsiteX10" fmla="*/ 740962 w 756666"/>
                <a:gd name="connsiteY10" fmla="*/ 827532 h 827532"/>
                <a:gd name="connsiteX11" fmla="*/ 15705 w 756666"/>
                <a:gd name="connsiteY11" fmla="*/ 827532 h 827532"/>
                <a:gd name="connsiteX12" fmla="*/ 0 w 756666"/>
                <a:gd name="connsiteY12" fmla="*/ 813538 h 827532"/>
                <a:gd name="connsiteX13" fmla="*/ 28554 w 756666"/>
                <a:gd name="connsiteY13" fmla="*/ 13994 h 827532"/>
                <a:gd name="connsiteX14" fmla="*/ 44258 w 756666"/>
                <a:gd name="connsiteY14" fmla="*/ 0 h 82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666" h="827532">
                  <a:moveTo>
                    <a:pt x="44258" y="0"/>
                  </a:moveTo>
                  <a:cubicBezTo>
                    <a:pt x="127777" y="0"/>
                    <a:pt x="200856" y="0"/>
                    <a:pt x="264800" y="0"/>
                  </a:cubicBezTo>
                  <a:lnTo>
                    <a:pt x="340975" y="0"/>
                  </a:lnTo>
                  <a:lnTo>
                    <a:pt x="340975" y="778568"/>
                  </a:lnTo>
                  <a:lnTo>
                    <a:pt x="386694" y="778568"/>
                  </a:lnTo>
                  <a:lnTo>
                    <a:pt x="386694" y="0"/>
                  </a:lnTo>
                  <a:lnTo>
                    <a:pt x="430532" y="0"/>
                  </a:lnTo>
                  <a:cubicBezTo>
                    <a:pt x="712408" y="0"/>
                    <a:pt x="712408" y="0"/>
                    <a:pt x="712408" y="0"/>
                  </a:cubicBezTo>
                  <a:cubicBezTo>
                    <a:pt x="720974" y="0"/>
                    <a:pt x="728113" y="6361"/>
                    <a:pt x="728113" y="13994"/>
                  </a:cubicBezTo>
                  <a:cubicBezTo>
                    <a:pt x="756666" y="813538"/>
                    <a:pt x="756666" y="813538"/>
                    <a:pt x="756666" y="813538"/>
                  </a:cubicBezTo>
                  <a:cubicBezTo>
                    <a:pt x="756666" y="821171"/>
                    <a:pt x="749528" y="827532"/>
                    <a:pt x="740962" y="827532"/>
                  </a:cubicBezTo>
                  <a:cubicBezTo>
                    <a:pt x="15705" y="827532"/>
                    <a:pt x="15705" y="827532"/>
                    <a:pt x="15705" y="827532"/>
                  </a:cubicBezTo>
                  <a:cubicBezTo>
                    <a:pt x="7139" y="827532"/>
                    <a:pt x="0" y="821171"/>
                    <a:pt x="0" y="813538"/>
                  </a:cubicBezTo>
                  <a:cubicBezTo>
                    <a:pt x="28554" y="13994"/>
                    <a:pt x="28554" y="13994"/>
                    <a:pt x="28554" y="13994"/>
                  </a:cubicBezTo>
                  <a:cubicBezTo>
                    <a:pt x="28554" y="6361"/>
                    <a:pt x="35692" y="0"/>
                    <a:pt x="44258"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143" name="Rectangle: Top Corners Snipped 142">
              <a:extLst>
                <a:ext uri="{FF2B5EF4-FFF2-40B4-BE49-F238E27FC236}">
                  <a16:creationId xmlns:a16="http://schemas.microsoft.com/office/drawing/2014/main" id="{A3286CA7-B627-4C54-BB8E-3E8F9E50A204}"/>
                </a:ext>
              </a:extLst>
            </p:cNvPr>
            <p:cNvSpPr/>
            <p:nvPr/>
          </p:nvSpPr>
          <p:spPr bwMode="auto">
            <a:xfrm flipV="1">
              <a:off x="5519677" y="1966064"/>
              <a:ext cx="756666" cy="97566"/>
            </a:xfrm>
            <a:prstGeom prst="snip2SameRect">
              <a:avLst>
                <a:gd name="adj1" fmla="val 50000"/>
                <a:gd name="adj2" fmla="val 0"/>
              </a:avLst>
            </a:prstGeom>
            <a:solidFill>
              <a:srgbClr val="003B59"/>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44" name="Group 143">
            <a:extLst>
              <a:ext uri="{FF2B5EF4-FFF2-40B4-BE49-F238E27FC236}">
                <a16:creationId xmlns:a16="http://schemas.microsoft.com/office/drawing/2014/main" id="{9C325CE1-39BC-4AE7-86E6-B33CBA22B4EB}"/>
              </a:ext>
            </a:extLst>
          </p:cNvPr>
          <p:cNvGrpSpPr>
            <a:grpSpLocks noChangeAspect="1"/>
          </p:cNvGrpSpPr>
          <p:nvPr/>
        </p:nvGrpSpPr>
        <p:grpSpPr>
          <a:xfrm>
            <a:off x="5993939" y="3715111"/>
            <a:ext cx="927085" cy="927085"/>
            <a:chOff x="5273675" y="2606675"/>
            <a:chExt cx="1644650" cy="1644650"/>
          </a:xfrm>
        </p:grpSpPr>
        <p:sp>
          <p:nvSpPr>
            <p:cNvPr id="145" name="AutoShape 3">
              <a:extLst>
                <a:ext uri="{FF2B5EF4-FFF2-40B4-BE49-F238E27FC236}">
                  <a16:creationId xmlns:a16="http://schemas.microsoft.com/office/drawing/2014/main" id="{A8196FAD-7C63-4226-BBB1-78BC4B96F70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46" name="Group 145">
              <a:extLst>
                <a:ext uri="{FF2B5EF4-FFF2-40B4-BE49-F238E27FC236}">
                  <a16:creationId xmlns:a16="http://schemas.microsoft.com/office/drawing/2014/main" id="{8F918024-3A33-45E3-8736-48C1E4408D88}"/>
                </a:ext>
              </a:extLst>
            </p:cNvPr>
            <p:cNvGrpSpPr/>
            <p:nvPr/>
          </p:nvGrpSpPr>
          <p:grpSpPr>
            <a:xfrm>
              <a:off x="5443538" y="2962275"/>
              <a:ext cx="1303338" cy="935038"/>
              <a:chOff x="5443538" y="2962275"/>
              <a:chExt cx="1303338" cy="935038"/>
            </a:xfrm>
          </p:grpSpPr>
          <p:sp>
            <p:nvSpPr>
              <p:cNvPr id="147" name="Freeform 10">
                <a:extLst>
                  <a:ext uri="{FF2B5EF4-FFF2-40B4-BE49-F238E27FC236}">
                    <a16:creationId xmlns:a16="http://schemas.microsoft.com/office/drawing/2014/main" id="{029338C7-C704-4C77-A5F1-3CADCF46BDD8}"/>
                  </a:ext>
                </a:extLst>
              </p:cNvPr>
              <p:cNvSpPr>
                <a:spLocks noEditPoints="1"/>
              </p:cNvSpPr>
              <p:nvPr/>
            </p:nvSpPr>
            <p:spPr bwMode="auto">
              <a:xfrm>
                <a:off x="5443538" y="2962275"/>
                <a:ext cx="1303338" cy="935038"/>
              </a:xfrm>
              <a:custGeom>
                <a:avLst/>
                <a:gdLst>
                  <a:gd name="T0" fmla="*/ 1126 w 1826"/>
                  <a:gd name="T1" fmla="*/ 0 h 1310"/>
                  <a:gd name="T2" fmla="*/ 1126 w 1826"/>
                  <a:gd name="T3" fmla="*/ 45 h 1310"/>
                  <a:gd name="T4" fmla="*/ 1074 w 1826"/>
                  <a:gd name="T5" fmla="*/ 339 h 1310"/>
                  <a:gd name="T6" fmla="*/ 1049 w 1826"/>
                  <a:gd name="T7" fmla="*/ 333 h 1310"/>
                  <a:gd name="T8" fmla="*/ 1031 w 1826"/>
                  <a:gd name="T9" fmla="*/ 323 h 1310"/>
                  <a:gd name="T10" fmla="*/ 993 w 1826"/>
                  <a:gd name="T11" fmla="*/ 343 h 1310"/>
                  <a:gd name="T12" fmla="*/ 978 w 1826"/>
                  <a:gd name="T13" fmla="*/ 344 h 1310"/>
                  <a:gd name="T14" fmla="*/ 965 w 1826"/>
                  <a:gd name="T15" fmla="*/ 343 h 1310"/>
                  <a:gd name="T16" fmla="*/ 917 w 1826"/>
                  <a:gd name="T17" fmla="*/ 322 h 1310"/>
                  <a:gd name="T18" fmla="*/ 871 w 1826"/>
                  <a:gd name="T19" fmla="*/ 343 h 1310"/>
                  <a:gd name="T20" fmla="*/ 858 w 1826"/>
                  <a:gd name="T21" fmla="*/ 344 h 1310"/>
                  <a:gd name="T22" fmla="*/ 843 w 1826"/>
                  <a:gd name="T23" fmla="*/ 343 h 1310"/>
                  <a:gd name="T24" fmla="*/ 804 w 1826"/>
                  <a:gd name="T25" fmla="*/ 323 h 1310"/>
                  <a:gd name="T26" fmla="*/ 785 w 1826"/>
                  <a:gd name="T27" fmla="*/ 333 h 1310"/>
                  <a:gd name="T28" fmla="*/ 760 w 1826"/>
                  <a:gd name="T29" fmla="*/ 339 h 1310"/>
                  <a:gd name="T30" fmla="*/ 709 w 1826"/>
                  <a:gd name="T31" fmla="*/ 45 h 1310"/>
                  <a:gd name="T32" fmla="*/ 709 w 1826"/>
                  <a:gd name="T33" fmla="*/ 0 h 1310"/>
                  <a:gd name="T34" fmla="*/ 0 w 1826"/>
                  <a:gd name="T35" fmla="*/ 22 h 1310"/>
                  <a:gd name="T36" fmla="*/ 22 w 1826"/>
                  <a:gd name="T37" fmla="*/ 1310 h 1310"/>
                  <a:gd name="T38" fmla="*/ 1826 w 1826"/>
                  <a:gd name="T39" fmla="*/ 1288 h 1310"/>
                  <a:gd name="T40" fmla="*/ 1804 w 1826"/>
                  <a:gd name="T41" fmla="*/ 0 h 1310"/>
                  <a:gd name="T42" fmla="*/ 484 w 1826"/>
                  <a:gd name="T43" fmla="*/ 549 h 1310"/>
                  <a:gd name="T44" fmla="*/ 506 w 1826"/>
                  <a:gd name="T45" fmla="*/ 618 h 1310"/>
                  <a:gd name="T46" fmla="*/ 415 w 1826"/>
                  <a:gd name="T47" fmla="*/ 549 h 1310"/>
                  <a:gd name="T48" fmla="*/ 506 w 1826"/>
                  <a:gd name="T49" fmla="*/ 662 h 1310"/>
                  <a:gd name="T50" fmla="*/ 484 w 1826"/>
                  <a:gd name="T51" fmla="*/ 731 h 1310"/>
                  <a:gd name="T52" fmla="*/ 415 w 1826"/>
                  <a:gd name="T53" fmla="*/ 662 h 1310"/>
                  <a:gd name="T54" fmla="*/ 162 w 1826"/>
                  <a:gd name="T55" fmla="*/ 549 h 1310"/>
                  <a:gd name="T56" fmla="*/ 371 w 1826"/>
                  <a:gd name="T57" fmla="*/ 618 h 1310"/>
                  <a:gd name="T58" fmla="*/ 140 w 1826"/>
                  <a:gd name="T59" fmla="*/ 571 h 1310"/>
                  <a:gd name="T60" fmla="*/ 371 w 1826"/>
                  <a:gd name="T61" fmla="*/ 662 h 1310"/>
                  <a:gd name="T62" fmla="*/ 162 w 1826"/>
                  <a:gd name="T63" fmla="*/ 731 h 1310"/>
                  <a:gd name="T64" fmla="*/ 140 w 1826"/>
                  <a:gd name="T65" fmla="*/ 662 h 1310"/>
                  <a:gd name="T66" fmla="*/ 515 w 1826"/>
                  <a:gd name="T67" fmla="*/ 975 h 1310"/>
                  <a:gd name="T68" fmla="*/ 515 w 1826"/>
                  <a:gd name="T69" fmla="*/ 1017 h 1310"/>
                  <a:gd name="T70" fmla="*/ 138 w 1826"/>
                  <a:gd name="T71" fmla="*/ 997 h 1310"/>
                  <a:gd name="T72" fmla="*/ 379 w 1826"/>
                  <a:gd name="T73" fmla="*/ 1186 h 1310"/>
                  <a:gd name="T74" fmla="*/ 138 w 1826"/>
                  <a:gd name="T75" fmla="*/ 1165 h 1310"/>
                  <a:gd name="T76" fmla="*/ 379 w 1826"/>
                  <a:gd name="T77" fmla="*/ 1142 h 1310"/>
                  <a:gd name="T78" fmla="*/ 379 w 1826"/>
                  <a:gd name="T79" fmla="*/ 1186 h 1310"/>
                  <a:gd name="T80" fmla="*/ 160 w 1826"/>
                  <a:gd name="T81" fmla="*/ 1102 h 1310"/>
                  <a:gd name="T82" fmla="*/ 160 w 1826"/>
                  <a:gd name="T83" fmla="*/ 1060 h 1310"/>
                  <a:gd name="T84" fmla="*/ 573 w 1826"/>
                  <a:gd name="T85" fmla="*/ 1081 h 1310"/>
                  <a:gd name="T86" fmla="*/ 1683 w 1826"/>
                  <a:gd name="T87" fmla="*/ 1058 h 1310"/>
                  <a:gd name="T88" fmla="*/ 1652 w 1826"/>
                  <a:gd name="T89" fmla="*/ 1058 h 1310"/>
                  <a:gd name="T90" fmla="*/ 1590 w 1826"/>
                  <a:gd name="T91" fmla="*/ 1165 h 1310"/>
                  <a:gd name="T92" fmla="*/ 1547 w 1826"/>
                  <a:gd name="T93" fmla="*/ 1165 h 1310"/>
                  <a:gd name="T94" fmla="*/ 1485 w 1826"/>
                  <a:gd name="T95" fmla="*/ 1058 h 1310"/>
                  <a:gd name="T96" fmla="*/ 1455 w 1826"/>
                  <a:gd name="T97" fmla="*/ 1028 h 1310"/>
                  <a:gd name="T98" fmla="*/ 1557 w 1826"/>
                  <a:gd name="T99" fmla="*/ 925 h 1310"/>
                  <a:gd name="T100" fmla="*/ 1564 w 1826"/>
                  <a:gd name="T101" fmla="*/ 923 h 1310"/>
                  <a:gd name="T102" fmla="*/ 1572 w 1826"/>
                  <a:gd name="T103" fmla="*/ 923 h 1310"/>
                  <a:gd name="T104" fmla="*/ 1577 w 1826"/>
                  <a:gd name="T105" fmla="*/ 924 h 1310"/>
                  <a:gd name="T106" fmla="*/ 1584 w 1826"/>
                  <a:gd name="T107" fmla="*/ 928 h 1310"/>
                  <a:gd name="T108" fmla="*/ 1683 w 1826"/>
                  <a:gd name="T109" fmla="*/ 1058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6" h="1310">
                    <a:moveTo>
                      <a:pt x="1804" y="0"/>
                    </a:moveTo>
                    <a:cubicBezTo>
                      <a:pt x="1126" y="0"/>
                      <a:pt x="1126" y="0"/>
                      <a:pt x="1126" y="0"/>
                    </a:cubicBezTo>
                    <a:cubicBezTo>
                      <a:pt x="1126" y="2"/>
                      <a:pt x="1126" y="2"/>
                      <a:pt x="1126" y="2"/>
                    </a:cubicBezTo>
                    <a:cubicBezTo>
                      <a:pt x="1126" y="45"/>
                      <a:pt x="1126" y="45"/>
                      <a:pt x="1126" y="45"/>
                    </a:cubicBezTo>
                    <a:cubicBezTo>
                      <a:pt x="1126" y="288"/>
                      <a:pt x="1126" y="288"/>
                      <a:pt x="1126" y="288"/>
                    </a:cubicBezTo>
                    <a:cubicBezTo>
                      <a:pt x="1126" y="317"/>
                      <a:pt x="1103" y="339"/>
                      <a:pt x="1074" y="339"/>
                    </a:cubicBezTo>
                    <a:cubicBezTo>
                      <a:pt x="1065" y="339"/>
                      <a:pt x="1058" y="337"/>
                      <a:pt x="1050" y="333"/>
                    </a:cubicBezTo>
                    <a:cubicBezTo>
                      <a:pt x="1049" y="333"/>
                      <a:pt x="1049" y="333"/>
                      <a:pt x="1049" y="333"/>
                    </a:cubicBezTo>
                    <a:cubicBezTo>
                      <a:pt x="1049" y="333"/>
                      <a:pt x="1049" y="333"/>
                      <a:pt x="1049" y="333"/>
                    </a:cubicBezTo>
                    <a:cubicBezTo>
                      <a:pt x="1031" y="323"/>
                      <a:pt x="1031" y="323"/>
                      <a:pt x="1031" y="323"/>
                    </a:cubicBezTo>
                    <a:cubicBezTo>
                      <a:pt x="1003" y="338"/>
                      <a:pt x="1003" y="338"/>
                      <a:pt x="1003" y="338"/>
                    </a:cubicBezTo>
                    <a:cubicBezTo>
                      <a:pt x="993" y="343"/>
                      <a:pt x="993" y="343"/>
                      <a:pt x="993" y="343"/>
                    </a:cubicBezTo>
                    <a:cubicBezTo>
                      <a:pt x="987" y="343"/>
                      <a:pt x="987" y="343"/>
                      <a:pt x="987" y="343"/>
                    </a:cubicBezTo>
                    <a:cubicBezTo>
                      <a:pt x="985" y="343"/>
                      <a:pt x="982" y="344"/>
                      <a:pt x="978" y="344"/>
                    </a:cubicBezTo>
                    <a:cubicBezTo>
                      <a:pt x="974" y="344"/>
                      <a:pt x="971" y="343"/>
                      <a:pt x="968" y="343"/>
                    </a:cubicBezTo>
                    <a:cubicBezTo>
                      <a:pt x="965" y="343"/>
                      <a:pt x="965" y="343"/>
                      <a:pt x="965" y="343"/>
                    </a:cubicBezTo>
                    <a:cubicBezTo>
                      <a:pt x="956" y="339"/>
                      <a:pt x="956" y="339"/>
                      <a:pt x="956" y="339"/>
                    </a:cubicBezTo>
                    <a:cubicBezTo>
                      <a:pt x="917" y="322"/>
                      <a:pt x="917" y="322"/>
                      <a:pt x="917" y="322"/>
                    </a:cubicBezTo>
                    <a:cubicBezTo>
                      <a:pt x="880" y="339"/>
                      <a:pt x="880" y="339"/>
                      <a:pt x="880" y="339"/>
                    </a:cubicBezTo>
                    <a:cubicBezTo>
                      <a:pt x="871" y="343"/>
                      <a:pt x="871" y="343"/>
                      <a:pt x="871" y="343"/>
                    </a:cubicBezTo>
                    <a:cubicBezTo>
                      <a:pt x="868" y="343"/>
                      <a:pt x="868" y="343"/>
                      <a:pt x="868" y="343"/>
                    </a:cubicBezTo>
                    <a:cubicBezTo>
                      <a:pt x="865" y="343"/>
                      <a:pt x="862" y="344"/>
                      <a:pt x="858" y="344"/>
                    </a:cubicBezTo>
                    <a:cubicBezTo>
                      <a:pt x="855" y="344"/>
                      <a:pt x="851" y="343"/>
                      <a:pt x="849" y="343"/>
                    </a:cubicBezTo>
                    <a:cubicBezTo>
                      <a:pt x="843" y="343"/>
                      <a:pt x="843" y="343"/>
                      <a:pt x="843" y="343"/>
                    </a:cubicBezTo>
                    <a:cubicBezTo>
                      <a:pt x="833" y="338"/>
                      <a:pt x="833" y="338"/>
                      <a:pt x="833" y="338"/>
                    </a:cubicBezTo>
                    <a:cubicBezTo>
                      <a:pt x="804" y="323"/>
                      <a:pt x="804" y="323"/>
                      <a:pt x="804" y="323"/>
                    </a:cubicBezTo>
                    <a:cubicBezTo>
                      <a:pt x="785" y="333"/>
                      <a:pt x="785" y="333"/>
                      <a:pt x="785" y="333"/>
                    </a:cubicBezTo>
                    <a:cubicBezTo>
                      <a:pt x="785" y="333"/>
                      <a:pt x="785" y="333"/>
                      <a:pt x="785" y="333"/>
                    </a:cubicBezTo>
                    <a:cubicBezTo>
                      <a:pt x="784" y="333"/>
                      <a:pt x="784" y="333"/>
                      <a:pt x="784" y="333"/>
                    </a:cubicBezTo>
                    <a:cubicBezTo>
                      <a:pt x="773" y="339"/>
                      <a:pt x="764" y="339"/>
                      <a:pt x="760" y="339"/>
                    </a:cubicBezTo>
                    <a:cubicBezTo>
                      <a:pt x="731" y="339"/>
                      <a:pt x="709" y="317"/>
                      <a:pt x="709" y="288"/>
                    </a:cubicBezTo>
                    <a:cubicBezTo>
                      <a:pt x="709" y="45"/>
                      <a:pt x="709" y="45"/>
                      <a:pt x="709" y="45"/>
                    </a:cubicBezTo>
                    <a:cubicBezTo>
                      <a:pt x="709" y="2"/>
                      <a:pt x="709" y="2"/>
                      <a:pt x="709" y="2"/>
                    </a:cubicBezTo>
                    <a:cubicBezTo>
                      <a:pt x="709" y="0"/>
                      <a:pt x="709" y="0"/>
                      <a:pt x="709" y="0"/>
                    </a:cubicBezTo>
                    <a:cubicBezTo>
                      <a:pt x="22" y="0"/>
                      <a:pt x="22" y="0"/>
                      <a:pt x="22" y="0"/>
                    </a:cubicBezTo>
                    <a:cubicBezTo>
                      <a:pt x="10" y="0"/>
                      <a:pt x="0" y="10"/>
                      <a:pt x="0" y="22"/>
                    </a:cubicBezTo>
                    <a:cubicBezTo>
                      <a:pt x="0" y="1288"/>
                      <a:pt x="0" y="1288"/>
                      <a:pt x="0" y="1288"/>
                    </a:cubicBezTo>
                    <a:cubicBezTo>
                      <a:pt x="0" y="1300"/>
                      <a:pt x="10" y="1310"/>
                      <a:pt x="22" y="1310"/>
                    </a:cubicBezTo>
                    <a:cubicBezTo>
                      <a:pt x="1804" y="1310"/>
                      <a:pt x="1804" y="1310"/>
                      <a:pt x="1804" y="1310"/>
                    </a:cubicBezTo>
                    <a:cubicBezTo>
                      <a:pt x="1816" y="1310"/>
                      <a:pt x="1826" y="1300"/>
                      <a:pt x="1826" y="1288"/>
                    </a:cubicBezTo>
                    <a:cubicBezTo>
                      <a:pt x="1826" y="22"/>
                      <a:pt x="1826" y="22"/>
                      <a:pt x="1826" y="22"/>
                    </a:cubicBezTo>
                    <a:cubicBezTo>
                      <a:pt x="1826" y="10"/>
                      <a:pt x="1816" y="0"/>
                      <a:pt x="1804" y="0"/>
                    </a:cubicBezTo>
                    <a:close/>
                    <a:moveTo>
                      <a:pt x="415" y="549"/>
                    </a:moveTo>
                    <a:cubicBezTo>
                      <a:pt x="415" y="549"/>
                      <a:pt x="415" y="549"/>
                      <a:pt x="484" y="549"/>
                    </a:cubicBezTo>
                    <a:cubicBezTo>
                      <a:pt x="496" y="549"/>
                      <a:pt x="506" y="559"/>
                      <a:pt x="506" y="571"/>
                    </a:cubicBezTo>
                    <a:cubicBezTo>
                      <a:pt x="506" y="618"/>
                      <a:pt x="506" y="618"/>
                      <a:pt x="506" y="618"/>
                    </a:cubicBezTo>
                    <a:cubicBezTo>
                      <a:pt x="506" y="618"/>
                      <a:pt x="506" y="618"/>
                      <a:pt x="415" y="618"/>
                    </a:cubicBezTo>
                    <a:cubicBezTo>
                      <a:pt x="415" y="618"/>
                      <a:pt x="415" y="618"/>
                      <a:pt x="415" y="549"/>
                    </a:cubicBezTo>
                    <a:close/>
                    <a:moveTo>
                      <a:pt x="415" y="662"/>
                    </a:moveTo>
                    <a:cubicBezTo>
                      <a:pt x="415" y="662"/>
                      <a:pt x="415" y="662"/>
                      <a:pt x="506" y="662"/>
                    </a:cubicBezTo>
                    <a:cubicBezTo>
                      <a:pt x="506" y="662"/>
                      <a:pt x="506" y="662"/>
                      <a:pt x="506" y="709"/>
                    </a:cubicBezTo>
                    <a:cubicBezTo>
                      <a:pt x="506" y="721"/>
                      <a:pt x="496" y="731"/>
                      <a:pt x="484" y="731"/>
                    </a:cubicBezTo>
                    <a:cubicBezTo>
                      <a:pt x="484" y="731"/>
                      <a:pt x="484" y="731"/>
                      <a:pt x="415" y="731"/>
                    </a:cubicBezTo>
                    <a:cubicBezTo>
                      <a:pt x="415" y="731"/>
                      <a:pt x="415" y="731"/>
                      <a:pt x="415" y="662"/>
                    </a:cubicBezTo>
                    <a:close/>
                    <a:moveTo>
                      <a:pt x="140" y="571"/>
                    </a:moveTo>
                    <a:cubicBezTo>
                      <a:pt x="140" y="559"/>
                      <a:pt x="150" y="549"/>
                      <a:pt x="162" y="549"/>
                    </a:cubicBezTo>
                    <a:cubicBezTo>
                      <a:pt x="162" y="549"/>
                      <a:pt x="162" y="549"/>
                      <a:pt x="371" y="549"/>
                    </a:cubicBezTo>
                    <a:cubicBezTo>
                      <a:pt x="371" y="618"/>
                      <a:pt x="371" y="618"/>
                      <a:pt x="371" y="618"/>
                    </a:cubicBezTo>
                    <a:cubicBezTo>
                      <a:pt x="371" y="618"/>
                      <a:pt x="371" y="618"/>
                      <a:pt x="140" y="618"/>
                    </a:cubicBezTo>
                    <a:cubicBezTo>
                      <a:pt x="140" y="618"/>
                      <a:pt x="140" y="618"/>
                      <a:pt x="140" y="571"/>
                    </a:cubicBezTo>
                    <a:close/>
                    <a:moveTo>
                      <a:pt x="140" y="662"/>
                    </a:moveTo>
                    <a:cubicBezTo>
                      <a:pt x="140" y="662"/>
                      <a:pt x="140" y="662"/>
                      <a:pt x="371" y="662"/>
                    </a:cubicBezTo>
                    <a:cubicBezTo>
                      <a:pt x="371" y="662"/>
                      <a:pt x="371" y="662"/>
                      <a:pt x="371" y="731"/>
                    </a:cubicBezTo>
                    <a:cubicBezTo>
                      <a:pt x="371" y="731"/>
                      <a:pt x="371" y="731"/>
                      <a:pt x="162" y="731"/>
                    </a:cubicBezTo>
                    <a:cubicBezTo>
                      <a:pt x="150" y="731"/>
                      <a:pt x="140" y="721"/>
                      <a:pt x="140" y="709"/>
                    </a:cubicBezTo>
                    <a:cubicBezTo>
                      <a:pt x="140" y="709"/>
                      <a:pt x="140" y="709"/>
                      <a:pt x="140" y="662"/>
                    </a:cubicBezTo>
                    <a:close/>
                    <a:moveTo>
                      <a:pt x="160" y="975"/>
                    </a:moveTo>
                    <a:cubicBezTo>
                      <a:pt x="160" y="975"/>
                      <a:pt x="160" y="975"/>
                      <a:pt x="515" y="975"/>
                    </a:cubicBezTo>
                    <a:cubicBezTo>
                      <a:pt x="527" y="975"/>
                      <a:pt x="537" y="985"/>
                      <a:pt x="537" y="997"/>
                    </a:cubicBezTo>
                    <a:cubicBezTo>
                      <a:pt x="537" y="1010"/>
                      <a:pt x="527" y="1017"/>
                      <a:pt x="515" y="1017"/>
                    </a:cubicBezTo>
                    <a:cubicBezTo>
                      <a:pt x="515" y="1017"/>
                      <a:pt x="515" y="1017"/>
                      <a:pt x="160" y="1017"/>
                    </a:cubicBezTo>
                    <a:cubicBezTo>
                      <a:pt x="148" y="1017"/>
                      <a:pt x="138" y="1010"/>
                      <a:pt x="138" y="997"/>
                    </a:cubicBezTo>
                    <a:cubicBezTo>
                      <a:pt x="138" y="985"/>
                      <a:pt x="148" y="975"/>
                      <a:pt x="160" y="975"/>
                    </a:cubicBezTo>
                    <a:close/>
                    <a:moveTo>
                      <a:pt x="379" y="1186"/>
                    </a:moveTo>
                    <a:cubicBezTo>
                      <a:pt x="379" y="1186"/>
                      <a:pt x="379" y="1186"/>
                      <a:pt x="160" y="1186"/>
                    </a:cubicBezTo>
                    <a:cubicBezTo>
                      <a:pt x="148" y="1186"/>
                      <a:pt x="138" y="1177"/>
                      <a:pt x="138" y="1165"/>
                    </a:cubicBezTo>
                    <a:cubicBezTo>
                      <a:pt x="138" y="1152"/>
                      <a:pt x="148" y="1142"/>
                      <a:pt x="160" y="1142"/>
                    </a:cubicBezTo>
                    <a:cubicBezTo>
                      <a:pt x="160" y="1142"/>
                      <a:pt x="160" y="1142"/>
                      <a:pt x="379" y="1142"/>
                    </a:cubicBezTo>
                    <a:cubicBezTo>
                      <a:pt x="390" y="1142"/>
                      <a:pt x="400" y="1152"/>
                      <a:pt x="400" y="1165"/>
                    </a:cubicBezTo>
                    <a:cubicBezTo>
                      <a:pt x="400" y="1177"/>
                      <a:pt x="390" y="1186"/>
                      <a:pt x="379" y="1186"/>
                    </a:cubicBezTo>
                    <a:close/>
                    <a:moveTo>
                      <a:pt x="552" y="1102"/>
                    </a:moveTo>
                    <a:cubicBezTo>
                      <a:pt x="552" y="1102"/>
                      <a:pt x="552" y="1102"/>
                      <a:pt x="160" y="1102"/>
                    </a:cubicBezTo>
                    <a:cubicBezTo>
                      <a:pt x="148" y="1102"/>
                      <a:pt x="138" y="1093"/>
                      <a:pt x="138" y="1081"/>
                    </a:cubicBezTo>
                    <a:cubicBezTo>
                      <a:pt x="138" y="1069"/>
                      <a:pt x="148" y="1060"/>
                      <a:pt x="160" y="1060"/>
                    </a:cubicBezTo>
                    <a:cubicBezTo>
                      <a:pt x="160" y="1060"/>
                      <a:pt x="160" y="1060"/>
                      <a:pt x="552" y="1060"/>
                    </a:cubicBezTo>
                    <a:cubicBezTo>
                      <a:pt x="563" y="1060"/>
                      <a:pt x="573" y="1069"/>
                      <a:pt x="573" y="1081"/>
                    </a:cubicBezTo>
                    <a:cubicBezTo>
                      <a:pt x="573" y="1093"/>
                      <a:pt x="563" y="1102"/>
                      <a:pt x="552" y="1102"/>
                    </a:cubicBezTo>
                    <a:close/>
                    <a:moveTo>
                      <a:pt x="1683" y="1058"/>
                    </a:moveTo>
                    <a:cubicBezTo>
                      <a:pt x="1679" y="1062"/>
                      <a:pt x="1673" y="1064"/>
                      <a:pt x="1667" y="1064"/>
                    </a:cubicBezTo>
                    <a:cubicBezTo>
                      <a:pt x="1662" y="1064"/>
                      <a:pt x="1656" y="1062"/>
                      <a:pt x="1652" y="1058"/>
                    </a:cubicBezTo>
                    <a:cubicBezTo>
                      <a:pt x="1590" y="995"/>
                      <a:pt x="1590" y="995"/>
                      <a:pt x="1590" y="995"/>
                    </a:cubicBezTo>
                    <a:cubicBezTo>
                      <a:pt x="1590" y="1165"/>
                      <a:pt x="1590" y="1165"/>
                      <a:pt x="1590" y="1165"/>
                    </a:cubicBezTo>
                    <a:cubicBezTo>
                      <a:pt x="1590" y="1177"/>
                      <a:pt x="1580" y="1186"/>
                      <a:pt x="1568" y="1186"/>
                    </a:cubicBezTo>
                    <a:cubicBezTo>
                      <a:pt x="1557" y="1186"/>
                      <a:pt x="1547" y="1177"/>
                      <a:pt x="1547" y="1165"/>
                    </a:cubicBezTo>
                    <a:cubicBezTo>
                      <a:pt x="1547" y="995"/>
                      <a:pt x="1547" y="995"/>
                      <a:pt x="1547" y="995"/>
                    </a:cubicBezTo>
                    <a:cubicBezTo>
                      <a:pt x="1485" y="1058"/>
                      <a:pt x="1485" y="1058"/>
                      <a:pt x="1485" y="1058"/>
                    </a:cubicBezTo>
                    <a:cubicBezTo>
                      <a:pt x="1477" y="1067"/>
                      <a:pt x="1463" y="1067"/>
                      <a:pt x="1455" y="1058"/>
                    </a:cubicBezTo>
                    <a:cubicBezTo>
                      <a:pt x="1446" y="1050"/>
                      <a:pt x="1446" y="1036"/>
                      <a:pt x="1455" y="1028"/>
                    </a:cubicBezTo>
                    <a:cubicBezTo>
                      <a:pt x="1554" y="928"/>
                      <a:pt x="1554" y="928"/>
                      <a:pt x="1554" y="928"/>
                    </a:cubicBezTo>
                    <a:cubicBezTo>
                      <a:pt x="1555" y="927"/>
                      <a:pt x="1556" y="926"/>
                      <a:pt x="1557" y="925"/>
                    </a:cubicBezTo>
                    <a:cubicBezTo>
                      <a:pt x="1558" y="925"/>
                      <a:pt x="1560" y="924"/>
                      <a:pt x="1560" y="924"/>
                    </a:cubicBezTo>
                    <a:cubicBezTo>
                      <a:pt x="1561" y="923"/>
                      <a:pt x="1563" y="923"/>
                      <a:pt x="1564" y="923"/>
                    </a:cubicBezTo>
                    <a:cubicBezTo>
                      <a:pt x="1565" y="922"/>
                      <a:pt x="1567" y="922"/>
                      <a:pt x="1568" y="922"/>
                    </a:cubicBezTo>
                    <a:cubicBezTo>
                      <a:pt x="1570" y="922"/>
                      <a:pt x="1571" y="922"/>
                      <a:pt x="1572" y="923"/>
                    </a:cubicBezTo>
                    <a:cubicBezTo>
                      <a:pt x="1574" y="923"/>
                      <a:pt x="1575" y="923"/>
                      <a:pt x="1576" y="924"/>
                    </a:cubicBezTo>
                    <a:cubicBezTo>
                      <a:pt x="1576" y="924"/>
                      <a:pt x="1576" y="924"/>
                      <a:pt x="1577" y="924"/>
                    </a:cubicBezTo>
                    <a:cubicBezTo>
                      <a:pt x="1578" y="924"/>
                      <a:pt x="1579" y="925"/>
                      <a:pt x="1580" y="925"/>
                    </a:cubicBezTo>
                    <a:cubicBezTo>
                      <a:pt x="1582" y="926"/>
                      <a:pt x="1583" y="927"/>
                      <a:pt x="1584" y="928"/>
                    </a:cubicBezTo>
                    <a:cubicBezTo>
                      <a:pt x="1683" y="1028"/>
                      <a:pt x="1683" y="1028"/>
                      <a:pt x="1683" y="1028"/>
                    </a:cubicBezTo>
                    <a:cubicBezTo>
                      <a:pt x="1690" y="1036"/>
                      <a:pt x="1690" y="1050"/>
                      <a:pt x="1683" y="105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8" name="Freeform 11">
                <a:extLst>
                  <a:ext uri="{FF2B5EF4-FFF2-40B4-BE49-F238E27FC236}">
                    <a16:creationId xmlns:a16="http://schemas.microsoft.com/office/drawing/2014/main" id="{FC53F949-90AC-47AC-AA66-37B372E18A1E}"/>
                  </a:ext>
                </a:extLst>
              </p:cNvPr>
              <p:cNvSpPr>
                <a:spLocks/>
              </p:cNvSpPr>
              <p:nvPr/>
            </p:nvSpPr>
            <p:spPr bwMode="auto">
              <a:xfrm>
                <a:off x="5981700" y="2963863"/>
                <a:ext cx="234950" cy="212725"/>
              </a:xfrm>
              <a:custGeom>
                <a:avLst/>
                <a:gdLst>
                  <a:gd name="T0" fmla="*/ 319 w 329"/>
                  <a:gd name="T1" fmla="*/ 0 h 298"/>
                  <a:gd name="T2" fmla="*/ 10 w 329"/>
                  <a:gd name="T3" fmla="*/ 0 h 298"/>
                  <a:gd name="T4" fmla="*/ 0 w 329"/>
                  <a:gd name="T5" fmla="*/ 0 h 298"/>
                  <a:gd name="T6" fmla="*/ 0 w 329"/>
                  <a:gd name="T7" fmla="*/ 43 h 298"/>
                  <a:gd name="T8" fmla="*/ 0 w 329"/>
                  <a:gd name="T9" fmla="*/ 286 h 298"/>
                  <a:gd name="T10" fmla="*/ 7 w 329"/>
                  <a:gd name="T11" fmla="*/ 293 h 298"/>
                  <a:gd name="T12" fmla="*/ 12 w 329"/>
                  <a:gd name="T13" fmla="*/ 292 h 298"/>
                  <a:gd name="T14" fmla="*/ 48 w 329"/>
                  <a:gd name="T15" fmla="*/ 273 h 298"/>
                  <a:gd name="T16" fmla="*/ 52 w 329"/>
                  <a:gd name="T17" fmla="*/ 272 h 298"/>
                  <a:gd name="T18" fmla="*/ 55 w 329"/>
                  <a:gd name="T19" fmla="*/ 273 h 298"/>
                  <a:gd name="T20" fmla="*/ 100 w 329"/>
                  <a:gd name="T21" fmla="*/ 297 h 298"/>
                  <a:gd name="T22" fmla="*/ 105 w 329"/>
                  <a:gd name="T23" fmla="*/ 298 h 298"/>
                  <a:gd name="T24" fmla="*/ 108 w 329"/>
                  <a:gd name="T25" fmla="*/ 297 h 298"/>
                  <a:gd name="T26" fmla="*/ 160 w 329"/>
                  <a:gd name="T27" fmla="*/ 273 h 298"/>
                  <a:gd name="T28" fmla="*/ 164 w 329"/>
                  <a:gd name="T29" fmla="*/ 272 h 298"/>
                  <a:gd name="T30" fmla="*/ 168 w 329"/>
                  <a:gd name="T31" fmla="*/ 273 h 298"/>
                  <a:gd name="T32" fmla="*/ 221 w 329"/>
                  <a:gd name="T33" fmla="*/ 297 h 298"/>
                  <a:gd name="T34" fmla="*/ 225 w 329"/>
                  <a:gd name="T35" fmla="*/ 298 h 298"/>
                  <a:gd name="T36" fmla="*/ 229 w 329"/>
                  <a:gd name="T37" fmla="*/ 297 h 298"/>
                  <a:gd name="T38" fmla="*/ 274 w 329"/>
                  <a:gd name="T39" fmla="*/ 273 h 298"/>
                  <a:gd name="T40" fmla="*/ 278 w 329"/>
                  <a:gd name="T41" fmla="*/ 272 h 298"/>
                  <a:gd name="T42" fmla="*/ 282 w 329"/>
                  <a:gd name="T43" fmla="*/ 273 h 298"/>
                  <a:gd name="T44" fmla="*/ 317 w 329"/>
                  <a:gd name="T45" fmla="*/ 292 h 298"/>
                  <a:gd name="T46" fmla="*/ 321 w 329"/>
                  <a:gd name="T47" fmla="*/ 293 h 298"/>
                  <a:gd name="T48" fmla="*/ 329 w 329"/>
                  <a:gd name="T49" fmla="*/ 286 h 298"/>
                  <a:gd name="T50" fmla="*/ 329 w 329"/>
                  <a:gd name="T51" fmla="*/ 43 h 298"/>
                  <a:gd name="T52" fmla="*/ 329 w 329"/>
                  <a:gd name="T53" fmla="*/ 0 h 298"/>
                  <a:gd name="T54" fmla="*/ 319 w 329"/>
                  <a:gd name="T5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9" h="298">
                    <a:moveTo>
                      <a:pt x="319" y="0"/>
                    </a:moveTo>
                    <a:cubicBezTo>
                      <a:pt x="10" y="0"/>
                      <a:pt x="10" y="0"/>
                      <a:pt x="10" y="0"/>
                    </a:cubicBezTo>
                    <a:cubicBezTo>
                      <a:pt x="0" y="0"/>
                      <a:pt x="0" y="0"/>
                      <a:pt x="0" y="0"/>
                    </a:cubicBezTo>
                    <a:cubicBezTo>
                      <a:pt x="0" y="43"/>
                      <a:pt x="0" y="43"/>
                      <a:pt x="0" y="43"/>
                    </a:cubicBezTo>
                    <a:cubicBezTo>
                      <a:pt x="0" y="286"/>
                      <a:pt x="0" y="286"/>
                      <a:pt x="0" y="286"/>
                    </a:cubicBezTo>
                    <a:cubicBezTo>
                      <a:pt x="0" y="291"/>
                      <a:pt x="3" y="293"/>
                      <a:pt x="7" y="293"/>
                    </a:cubicBezTo>
                    <a:cubicBezTo>
                      <a:pt x="9" y="293"/>
                      <a:pt x="10" y="293"/>
                      <a:pt x="12" y="292"/>
                    </a:cubicBezTo>
                    <a:cubicBezTo>
                      <a:pt x="48" y="273"/>
                      <a:pt x="48" y="273"/>
                      <a:pt x="48" y="273"/>
                    </a:cubicBezTo>
                    <a:cubicBezTo>
                      <a:pt x="49" y="272"/>
                      <a:pt x="50" y="272"/>
                      <a:pt x="52" y="272"/>
                    </a:cubicBezTo>
                    <a:cubicBezTo>
                      <a:pt x="53" y="272"/>
                      <a:pt x="55" y="272"/>
                      <a:pt x="55" y="273"/>
                    </a:cubicBezTo>
                    <a:cubicBezTo>
                      <a:pt x="100" y="297"/>
                      <a:pt x="100" y="297"/>
                      <a:pt x="100" y="297"/>
                    </a:cubicBezTo>
                    <a:cubicBezTo>
                      <a:pt x="102" y="297"/>
                      <a:pt x="103" y="298"/>
                      <a:pt x="105" y="298"/>
                    </a:cubicBezTo>
                    <a:cubicBezTo>
                      <a:pt x="106" y="298"/>
                      <a:pt x="107" y="297"/>
                      <a:pt x="108" y="297"/>
                    </a:cubicBezTo>
                    <a:cubicBezTo>
                      <a:pt x="160" y="273"/>
                      <a:pt x="160" y="273"/>
                      <a:pt x="160" y="273"/>
                    </a:cubicBezTo>
                    <a:cubicBezTo>
                      <a:pt x="161" y="272"/>
                      <a:pt x="163" y="272"/>
                      <a:pt x="164" y="272"/>
                    </a:cubicBezTo>
                    <a:cubicBezTo>
                      <a:pt x="165" y="272"/>
                      <a:pt x="166" y="272"/>
                      <a:pt x="168" y="273"/>
                    </a:cubicBezTo>
                    <a:cubicBezTo>
                      <a:pt x="221" y="297"/>
                      <a:pt x="221" y="297"/>
                      <a:pt x="221" y="297"/>
                    </a:cubicBezTo>
                    <a:cubicBezTo>
                      <a:pt x="222" y="297"/>
                      <a:pt x="224" y="298"/>
                      <a:pt x="225" y="298"/>
                    </a:cubicBezTo>
                    <a:cubicBezTo>
                      <a:pt x="226" y="298"/>
                      <a:pt x="228" y="297"/>
                      <a:pt x="229" y="297"/>
                    </a:cubicBezTo>
                    <a:cubicBezTo>
                      <a:pt x="274" y="273"/>
                      <a:pt x="274" y="273"/>
                      <a:pt x="274" y="273"/>
                    </a:cubicBezTo>
                    <a:cubicBezTo>
                      <a:pt x="275" y="272"/>
                      <a:pt x="277" y="272"/>
                      <a:pt x="278" y="272"/>
                    </a:cubicBezTo>
                    <a:cubicBezTo>
                      <a:pt x="280" y="272"/>
                      <a:pt x="281" y="272"/>
                      <a:pt x="282" y="273"/>
                    </a:cubicBezTo>
                    <a:cubicBezTo>
                      <a:pt x="317" y="292"/>
                      <a:pt x="317" y="292"/>
                      <a:pt x="317" y="292"/>
                    </a:cubicBezTo>
                    <a:cubicBezTo>
                      <a:pt x="319" y="293"/>
                      <a:pt x="320" y="293"/>
                      <a:pt x="321" y="293"/>
                    </a:cubicBezTo>
                    <a:cubicBezTo>
                      <a:pt x="325" y="293"/>
                      <a:pt x="329" y="291"/>
                      <a:pt x="329" y="286"/>
                    </a:cubicBezTo>
                    <a:cubicBezTo>
                      <a:pt x="329" y="154"/>
                      <a:pt x="329" y="82"/>
                      <a:pt x="329" y="43"/>
                    </a:cubicBezTo>
                    <a:cubicBezTo>
                      <a:pt x="329" y="9"/>
                      <a:pt x="329" y="0"/>
                      <a:pt x="329" y="0"/>
                    </a:cubicBezTo>
                    <a:cubicBezTo>
                      <a:pt x="319" y="0"/>
                      <a:pt x="319" y="0"/>
                      <a:pt x="319"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
        <p:nvSpPr>
          <p:cNvPr id="157" name="Rectangle 156">
            <a:extLst>
              <a:ext uri="{FF2B5EF4-FFF2-40B4-BE49-F238E27FC236}">
                <a16:creationId xmlns:a16="http://schemas.microsoft.com/office/drawing/2014/main" id="{9FFAD5E6-54E3-47B4-AA4A-8B9A49D34EA3}"/>
              </a:ext>
            </a:extLst>
          </p:cNvPr>
          <p:cNvSpPr/>
          <p:nvPr/>
        </p:nvSpPr>
        <p:spPr bwMode="auto">
          <a:xfrm>
            <a:off x="7051457" y="1275606"/>
            <a:ext cx="1433172" cy="3384376"/>
          </a:xfrm>
          <a:prstGeom prst="rect">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58" name="Rectangle 157">
            <a:extLst>
              <a:ext uri="{FF2B5EF4-FFF2-40B4-BE49-F238E27FC236}">
                <a16:creationId xmlns:a16="http://schemas.microsoft.com/office/drawing/2014/main" id="{A7351987-276D-4181-ABAE-16F4A4D1CC42}"/>
              </a:ext>
            </a:extLst>
          </p:cNvPr>
          <p:cNvSpPr/>
          <p:nvPr/>
        </p:nvSpPr>
        <p:spPr bwMode="auto">
          <a:xfrm>
            <a:off x="7114005" y="1203598"/>
            <a:ext cx="1308076" cy="144016"/>
          </a:xfrm>
          <a:prstGeom prst="rect">
            <a:avLst/>
          </a:prstGeom>
          <a:solidFill>
            <a:srgbClr val="FFFFFF"/>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000" b="1" dirty="0">
                <a:solidFill>
                  <a:srgbClr val="0A4E78"/>
                </a:solidFill>
                <a:latin typeface="+mn-lt"/>
                <a:cs typeface="+mn-cs"/>
              </a:rPr>
              <a:t>Gesundheitsämter,</a:t>
            </a:r>
            <a:br>
              <a:rPr lang="de-DE" sz="1000" b="1" dirty="0">
                <a:solidFill>
                  <a:srgbClr val="0A4E78"/>
                </a:solidFill>
                <a:latin typeface="+mn-lt"/>
                <a:cs typeface="+mn-cs"/>
              </a:rPr>
            </a:br>
            <a:r>
              <a:rPr lang="de-DE" sz="1000" b="1" dirty="0">
                <a:solidFill>
                  <a:srgbClr val="0A4E78"/>
                </a:solidFill>
                <a:latin typeface="+mn-lt"/>
                <a:cs typeface="+mn-cs"/>
              </a:rPr>
              <a:t>Landkreise und</a:t>
            </a:r>
            <a:br>
              <a:rPr lang="de-DE" sz="1000" b="1" dirty="0">
                <a:solidFill>
                  <a:srgbClr val="0A4E78"/>
                </a:solidFill>
                <a:latin typeface="+mn-lt"/>
                <a:cs typeface="+mn-cs"/>
              </a:rPr>
            </a:br>
            <a:r>
              <a:rPr lang="de-DE" sz="1000" b="1" dirty="0" smtClean="0">
                <a:solidFill>
                  <a:srgbClr val="0A4E78"/>
                </a:solidFill>
                <a:latin typeface="+mn-lt"/>
                <a:cs typeface="+mn-cs"/>
              </a:rPr>
              <a:t>Gemeinden</a:t>
            </a:r>
            <a:endParaRPr lang="de-DE" sz="1000" b="1" strike="sngStrike" dirty="0">
              <a:solidFill>
                <a:srgbClr val="0A4E78"/>
              </a:solidFill>
              <a:latin typeface="+mn-lt"/>
              <a:cs typeface="+mn-cs"/>
            </a:endParaRPr>
          </a:p>
        </p:txBody>
      </p:sp>
      <p:grpSp>
        <p:nvGrpSpPr>
          <p:cNvPr id="164" name="Group 163">
            <a:extLst>
              <a:ext uri="{FF2B5EF4-FFF2-40B4-BE49-F238E27FC236}">
                <a16:creationId xmlns:a16="http://schemas.microsoft.com/office/drawing/2014/main" id="{49074222-8F68-4127-9BF9-4EA5864F9DD2}"/>
              </a:ext>
            </a:extLst>
          </p:cNvPr>
          <p:cNvGrpSpPr>
            <a:grpSpLocks noChangeAspect="1"/>
          </p:cNvGrpSpPr>
          <p:nvPr/>
        </p:nvGrpSpPr>
        <p:grpSpPr>
          <a:xfrm>
            <a:off x="7304929" y="1607582"/>
            <a:ext cx="926227" cy="927085"/>
            <a:chOff x="5273802" y="2606040"/>
            <a:chExt cx="1644396" cy="1645920"/>
          </a:xfrm>
        </p:grpSpPr>
        <p:sp>
          <p:nvSpPr>
            <p:cNvPr id="165" name="AutoShape 18">
              <a:extLst>
                <a:ext uri="{FF2B5EF4-FFF2-40B4-BE49-F238E27FC236}">
                  <a16:creationId xmlns:a16="http://schemas.microsoft.com/office/drawing/2014/main" id="{83643CA8-5F76-4E36-9E30-CFD3FD481EC4}"/>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66" name="Group 165">
              <a:extLst>
                <a:ext uri="{FF2B5EF4-FFF2-40B4-BE49-F238E27FC236}">
                  <a16:creationId xmlns:a16="http://schemas.microsoft.com/office/drawing/2014/main" id="{74E8B32C-8932-4E67-89F9-7FCBA3D85E14}"/>
                </a:ext>
              </a:extLst>
            </p:cNvPr>
            <p:cNvGrpSpPr/>
            <p:nvPr/>
          </p:nvGrpSpPr>
          <p:grpSpPr>
            <a:xfrm>
              <a:off x="5560695" y="2747391"/>
              <a:ext cx="1069086" cy="1333881"/>
              <a:chOff x="5560695" y="2747391"/>
              <a:chExt cx="1069086" cy="1333881"/>
            </a:xfrm>
          </p:grpSpPr>
          <p:sp>
            <p:nvSpPr>
              <p:cNvPr id="167" name="Freeform 20">
                <a:extLst>
                  <a:ext uri="{FF2B5EF4-FFF2-40B4-BE49-F238E27FC236}">
                    <a16:creationId xmlns:a16="http://schemas.microsoft.com/office/drawing/2014/main" id="{7345A94E-CB43-4741-A956-390D8FCB4EE6}"/>
                  </a:ext>
                </a:extLst>
              </p:cNvPr>
              <p:cNvSpPr>
                <a:spLocks noEditPoints="1"/>
              </p:cNvSpPr>
              <p:nvPr/>
            </p:nvSpPr>
            <p:spPr bwMode="auto">
              <a:xfrm>
                <a:off x="5560695" y="2747391"/>
                <a:ext cx="1069086" cy="1333881"/>
              </a:xfrm>
              <a:custGeom>
                <a:avLst/>
                <a:gdLst>
                  <a:gd name="T0" fmla="*/ 1413 w 1498"/>
                  <a:gd name="T1" fmla="*/ 1743 h 1867"/>
                  <a:gd name="T2" fmla="*/ 1392 w 1498"/>
                  <a:gd name="T3" fmla="*/ 1693 h 1867"/>
                  <a:gd name="T4" fmla="*/ 85 w 1498"/>
                  <a:gd name="T5" fmla="*/ 1714 h 1867"/>
                  <a:gd name="T6" fmla="*/ 22 w 1498"/>
                  <a:gd name="T7" fmla="*/ 1743 h 1867"/>
                  <a:gd name="T8" fmla="*/ 0 w 1498"/>
                  <a:gd name="T9" fmla="*/ 1846 h 1867"/>
                  <a:gd name="T10" fmla="*/ 1476 w 1498"/>
                  <a:gd name="T11" fmla="*/ 1867 h 1867"/>
                  <a:gd name="T12" fmla="*/ 1498 w 1498"/>
                  <a:gd name="T13" fmla="*/ 1765 h 1867"/>
                  <a:gd name="T14" fmla="*/ 516 w 1498"/>
                  <a:gd name="T15" fmla="*/ 179 h 1867"/>
                  <a:gd name="T16" fmla="*/ 526 w 1498"/>
                  <a:gd name="T17" fmla="*/ 654 h 1867"/>
                  <a:gd name="T18" fmla="*/ 978 w 1498"/>
                  <a:gd name="T19" fmla="*/ 645 h 1867"/>
                  <a:gd name="T20" fmla="*/ 968 w 1498"/>
                  <a:gd name="T21" fmla="*/ 169 h 1867"/>
                  <a:gd name="T22" fmla="*/ 516 w 1498"/>
                  <a:gd name="T23" fmla="*/ 179 h 1867"/>
                  <a:gd name="T24" fmla="*/ 794 w 1498"/>
                  <a:gd name="T25" fmla="*/ 455 h 1867"/>
                  <a:gd name="T26" fmla="*/ 705 w 1498"/>
                  <a:gd name="T27" fmla="*/ 557 h 1867"/>
                  <a:gd name="T28" fmla="*/ 603 w 1498"/>
                  <a:gd name="T29" fmla="*/ 455 h 1867"/>
                  <a:gd name="T30" fmla="*/ 705 w 1498"/>
                  <a:gd name="T31" fmla="*/ 366 h 1867"/>
                  <a:gd name="T32" fmla="*/ 794 w 1498"/>
                  <a:gd name="T33" fmla="*/ 263 h 1867"/>
                  <a:gd name="T34" fmla="*/ 897 w 1498"/>
                  <a:gd name="T35" fmla="*/ 366 h 1867"/>
                  <a:gd name="T36" fmla="*/ 1390 w 1498"/>
                  <a:gd name="T37" fmla="*/ 1650 h 1867"/>
                  <a:gd name="T38" fmla="*/ 1346 w 1498"/>
                  <a:gd name="T39" fmla="*/ 1303 h 1867"/>
                  <a:gd name="T40" fmla="*/ 152 w 1498"/>
                  <a:gd name="T41" fmla="*/ 1650 h 1867"/>
                  <a:gd name="T42" fmla="*/ 108 w 1498"/>
                  <a:gd name="T43" fmla="*/ 1281 h 1867"/>
                  <a:gd name="T44" fmla="*/ 1368 w 1498"/>
                  <a:gd name="T45" fmla="*/ 1259 h 1867"/>
                  <a:gd name="T46" fmla="*/ 1390 w 1498"/>
                  <a:gd name="T47" fmla="*/ 1650 h 1867"/>
                  <a:gd name="T48" fmla="*/ 1281 w 1498"/>
                  <a:gd name="T49" fmla="*/ 71 h 1867"/>
                  <a:gd name="T50" fmla="*/ 1221 w 1498"/>
                  <a:gd name="T51" fmla="*/ 0 h 1867"/>
                  <a:gd name="T52" fmla="*/ 259 w 1498"/>
                  <a:gd name="T53" fmla="*/ 9 h 1867"/>
                  <a:gd name="T54" fmla="*/ 154 w 1498"/>
                  <a:gd name="T55" fmla="*/ 71 h 1867"/>
                  <a:gd name="T56" fmla="*/ 132 w 1498"/>
                  <a:gd name="T57" fmla="*/ 156 h 1867"/>
                  <a:gd name="T58" fmla="*/ 165 w 1498"/>
                  <a:gd name="T59" fmla="*/ 178 h 1867"/>
                  <a:gd name="T60" fmla="*/ 209 w 1498"/>
                  <a:gd name="T61" fmla="*/ 1217 h 1867"/>
                  <a:gd name="T62" fmla="*/ 187 w 1498"/>
                  <a:gd name="T63" fmla="*/ 134 h 1867"/>
                  <a:gd name="T64" fmla="*/ 176 w 1498"/>
                  <a:gd name="T65" fmla="*/ 115 h 1867"/>
                  <a:gd name="T66" fmla="*/ 1322 w 1498"/>
                  <a:gd name="T67" fmla="*/ 134 h 1867"/>
                  <a:gd name="T68" fmla="*/ 1289 w 1498"/>
                  <a:gd name="T69" fmla="*/ 156 h 1867"/>
                  <a:gd name="T70" fmla="*/ 1333 w 1498"/>
                  <a:gd name="T71" fmla="*/ 1217 h 1867"/>
                  <a:gd name="T72" fmla="*/ 1344 w 1498"/>
                  <a:gd name="T73" fmla="*/ 178 h 1867"/>
                  <a:gd name="T74" fmla="*/ 1366 w 1498"/>
                  <a:gd name="T75" fmla="*/ 93 h 1867"/>
                  <a:gd name="T76" fmla="*/ 288 w 1498"/>
                  <a:gd name="T77" fmla="*/ 44 h 1867"/>
                  <a:gd name="T78" fmla="*/ 1228 w 1498"/>
                  <a:gd name="T79" fmla="*/ 71 h 1867"/>
                  <a:gd name="T80" fmla="*/ 288 w 1498"/>
                  <a:gd name="T81"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8" h="1867">
                    <a:moveTo>
                      <a:pt x="1476" y="1743"/>
                    </a:moveTo>
                    <a:cubicBezTo>
                      <a:pt x="1413" y="1743"/>
                      <a:pt x="1413" y="1743"/>
                      <a:pt x="1413" y="1743"/>
                    </a:cubicBezTo>
                    <a:cubicBezTo>
                      <a:pt x="1413" y="1714"/>
                      <a:pt x="1413" y="1714"/>
                      <a:pt x="1413" y="1714"/>
                    </a:cubicBezTo>
                    <a:cubicBezTo>
                      <a:pt x="1413" y="1702"/>
                      <a:pt x="1403" y="1693"/>
                      <a:pt x="139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476" y="1867"/>
                      <a:pt x="1476" y="1867"/>
                      <a:pt x="1476" y="1867"/>
                    </a:cubicBezTo>
                    <a:cubicBezTo>
                      <a:pt x="1488" y="1867"/>
                      <a:pt x="1498" y="1858"/>
                      <a:pt x="1498" y="1846"/>
                    </a:cubicBezTo>
                    <a:cubicBezTo>
                      <a:pt x="1498" y="1765"/>
                      <a:pt x="1498" y="1765"/>
                      <a:pt x="1498" y="1765"/>
                    </a:cubicBezTo>
                    <a:cubicBezTo>
                      <a:pt x="1498" y="1753"/>
                      <a:pt x="1488" y="1743"/>
                      <a:pt x="1476" y="1743"/>
                    </a:cubicBezTo>
                    <a:close/>
                    <a:moveTo>
                      <a:pt x="516" y="179"/>
                    </a:moveTo>
                    <a:cubicBezTo>
                      <a:pt x="516" y="645"/>
                      <a:pt x="516" y="645"/>
                      <a:pt x="516" y="645"/>
                    </a:cubicBezTo>
                    <a:cubicBezTo>
                      <a:pt x="516" y="650"/>
                      <a:pt x="520" y="654"/>
                      <a:pt x="526" y="654"/>
                    </a:cubicBezTo>
                    <a:cubicBezTo>
                      <a:pt x="968" y="654"/>
                      <a:pt x="968" y="654"/>
                      <a:pt x="968" y="654"/>
                    </a:cubicBezTo>
                    <a:cubicBezTo>
                      <a:pt x="974" y="654"/>
                      <a:pt x="978" y="650"/>
                      <a:pt x="978" y="645"/>
                    </a:cubicBezTo>
                    <a:cubicBezTo>
                      <a:pt x="978" y="179"/>
                      <a:pt x="978" y="179"/>
                      <a:pt x="978" y="179"/>
                    </a:cubicBezTo>
                    <a:cubicBezTo>
                      <a:pt x="978" y="173"/>
                      <a:pt x="974" y="169"/>
                      <a:pt x="968" y="169"/>
                    </a:cubicBezTo>
                    <a:cubicBezTo>
                      <a:pt x="526" y="169"/>
                      <a:pt x="526" y="169"/>
                      <a:pt x="526" y="169"/>
                    </a:cubicBezTo>
                    <a:cubicBezTo>
                      <a:pt x="520" y="169"/>
                      <a:pt x="516" y="173"/>
                      <a:pt x="516" y="179"/>
                    </a:cubicBezTo>
                    <a:close/>
                    <a:moveTo>
                      <a:pt x="897" y="455"/>
                    </a:moveTo>
                    <a:cubicBezTo>
                      <a:pt x="794" y="455"/>
                      <a:pt x="794" y="455"/>
                      <a:pt x="794" y="455"/>
                    </a:cubicBezTo>
                    <a:cubicBezTo>
                      <a:pt x="794" y="557"/>
                      <a:pt x="794" y="557"/>
                      <a:pt x="794" y="557"/>
                    </a:cubicBezTo>
                    <a:cubicBezTo>
                      <a:pt x="705" y="557"/>
                      <a:pt x="705" y="557"/>
                      <a:pt x="705" y="557"/>
                    </a:cubicBezTo>
                    <a:cubicBezTo>
                      <a:pt x="705" y="455"/>
                      <a:pt x="705" y="455"/>
                      <a:pt x="705" y="455"/>
                    </a:cubicBezTo>
                    <a:cubicBezTo>
                      <a:pt x="603" y="455"/>
                      <a:pt x="603" y="455"/>
                      <a:pt x="603" y="455"/>
                    </a:cubicBezTo>
                    <a:cubicBezTo>
                      <a:pt x="603" y="366"/>
                      <a:pt x="603" y="366"/>
                      <a:pt x="603" y="366"/>
                    </a:cubicBezTo>
                    <a:cubicBezTo>
                      <a:pt x="705" y="366"/>
                      <a:pt x="705" y="366"/>
                      <a:pt x="705" y="366"/>
                    </a:cubicBezTo>
                    <a:cubicBezTo>
                      <a:pt x="705" y="263"/>
                      <a:pt x="705" y="263"/>
                      <a:pt x="705" y="263"/>
                    </a:cubicBezTo>
                    <a:cubicBezTo>
                      <a:pt x="794" y="263"/>
                      <a:pt x="794" y="263"/>
                      <a:pt x="794" y="263"/>
                    </a:cubicBezTo>
                    <a:cubicBezTo>
                      <a:pt x="794" y="366"/>
                      <a:pt x="794" y="366"/>
                      <a:pt x="794" y="366"/>
                    </a:cubicBezTo>
                    <a:cubicBezTo>
                      <a:pt x="897" y="366"/>
                      <a:pt x="897" y="366"/>
                      <a:pt x="897" y="366"/>
                    </a:cubicBezTo>
                    <a:lnTo>
                      <a:pt x="897" y="455"/>
                    </a:lnTo>
                    <a:close/>
                    <a:moveTo>
                      <a:pt x="1390" y="1650"/>
                    </a:moveTo>
                    <a:cubicBezTo>
                      <a:pt x="1346" y="1650"/>
                      <a:pt x="1346" y="1650"/>
                      <a:pt x="1346" y="1650"/>
                    </a:cubicBezTo>
                    <a:cubicBezTo>
                      <a:pt x="1346" y="1303"/>
                      <a:pt x="1346" y="1303"/>
                      <a:pt x="1346" y="1303"/>
                    </a:cubicBezTo>
                    <a:cubicBezTo>
                      <a:pt x="152" y="1303"/>
                      <a:pt x="152" y="1303"/>
                      <a:pt x="152" y="1303"/>
                    </a:cubicBezTo>
                    <a:cubicBezTo>
                      <a:pt x="152" y="1650"/>
                      <a:pt x="152" y="1650"/>
                      <a:pt x="152" y="1650"/>
                    </a:cubicBezTo>
                    <a:cubicBezTo>
                      <a:pt x="108" y="1650"/>
                      <a:pt x="108" y="1650"/>
                      <a:pt x="108" y="1650"/>
                    </a:cubicBezTo>
                    <a:cubicBezTo>
                      <a:pt x="108" y="1281"/>
                      <a:pt x="108" y="1281"/>
                      <a:pt x="108" y="1281"/>
                    </a:cubicBezTo>
                    <a:cubicBezTo>
                      <a:pt x="108" y="1269"/>
                      <a:pt x="117" y="1259"/>
                      <a:pt x="130" y="1259"/>
                    </a:cubicBezTo>
                    <a:cubicBezTo>
                      <a:pt x="1368" y="1259"/>
                      <a:pt x="1368" y="1259"/>
                      <a:pt x="1368" y="1259"/>
                    </a:cubicBezTo>
                    <a:cubicBezTo>
                      <a:pt x="1381" y="1259"/>
                      <a:pt x="1390" y="1269"/>
                      <a:pt x="1390" y="1281"/>
                    </a:cubicBezTo>
                    <a:lnTo>
                      <a:pt x="1390" y="1650"/>
                    </a:lnTo>
                    <a:close/>
                    <a:moveTo>
                      <a:pt x="1344" y="71"/>
                    </a:moveTo>
                    <a:cubicBezTo>
                      <a:pt x="1281" y="71"/>
                      <a:pt x="1281" y="71"/>
                      <a:pt x="1281" y="71"/>
                    </a:cubicBezTo>
                    <a:cubicBezTo>
                      <a:pt x="1239" y="9"/>
                      <a:pt x="1239" y="9"/>
                      <a:pt x="1239" y="9"/>
                    </a:cubicBezTo>
                    <a:cubicBezTo>
                      <a:pt x="1235" y="3"/>
                      <a:pt x="1228" y="0"/>
                      <a:pt x="1221" y="0"/>
                    </a:cubicBezTo>
                    <a:cubicBezTo>
                      <a:pt x="277" y="0"/>
                      <a:pt x="277" y="0"/>
                      <a:pt x="277" y="0"/>
                    </a:cubicBezTo>
                    <a:cubicBezTo>
                      <a:pt x="270" y="0"/>
                      <a:pt x="263" y="3"/>
                      <a:pt x="259" y="9"/>
                    </a:cubicBezTo>
                    <a:cubicBezTo>
                      <a:pt x="217" y="71"/>
                      <a:pt x="217" y="71"/>
                      <a:pt x="217" y="71"/>
                    </a:cubicBezTo>
                    <a:cubicBezTo>
                      <a:pt x="154" y="71"/>
                      <a:pt x="154" y="71"/>
                      <a:pt x="154" y="71"/>
                    </a:cubicBezTo>
                    <a:cubicBezTo>
                      <a:pt x="142" y="71"/>
                      <a:pt x="132" y="81"/>
                      <a:pt x="132" y="93"/>
                    </a:cubicBezTo>
                    <a:cubicBezTo>
                      <a:pt x="132" y="156"/>
                      <a:pt x="132" y="156"/>
                      <a:pt x="132" y="156"/>
                    </a:cubicBezTo>
                    <a:cubicBezTo>
                      <a:pt x="132" y="168"/>
                      <a:pt x="142" y="178"/>
                      <a:pt x="154" y="178"/>
                    </a:cubicBezTo>
                    <a:cubicBezTo>
                      <a:pt x="165" y="178"/>
                      <a:pt x="165" y="178"/>
                      <a:pt x="165" y="178"/>
                    </a:cubicBezTo>
                    <a:cubicBezTo>
                      <a:pt x="165" y="1217"/>
                      <a:pt x="165" y="1217"/>
                      <a:pt x="165" y="1217"/>
                    </a:cubicBezTo>
                    <a:cubicBezTo>
                      <a:pt x="209" y="1217"/>
                      <a:pt x="209" y="1217"/>
                      <a:pt x="209" y="1217"/>
                    </a:cubicBezTo>
                    <a:cubicBezTo>
                      <a:pt x="209" y="156"/>
                      <a:pt x="209" y="156"/>
                      <a:pt x="209" y="156"/>
                    </a:cubicBezTo>
                    <a:cubicBezTo>
                      <a:pt x="209" y="144"/>
                      <a:pt x="199" y="134"/>
                      <a:pt x="187" y="134"/>
                    </a:cubicBezTo>
                    <a:cubicBezTo>
                      <a:pt x="176" y="134"/>
                      <a:pt x="176" y="134"/>
                      <a:pt x="176" y="134"/>
                    </a:cubicBezTo>
                    <a:cubicBezTo>
                      <a:pt x="176" y="115"/>
                      <a:pt x="176" y="115"/>
                      <a:pt x="176" y="115"/>
                    </a:cubicBezTo>
                    <a:cubicBezTo>
                      <a:pt x="1322" y="115"/>
                      <a:pt x="1322" y="115"/>
                      <a:pt x="1322" y="115"/>
                    </a:cubicBezTo>
                    <a:cubicBezTo>
                      <a:pt x="1322" y="134"/>
                      <a:pt x="1322" y="134"/>
                      <a:pt x="1322" y="134"/>
                    </a:cubicBezTo>
                    <a:cubicBezTo>
                      <a:pt x="1311" y="134"/>
                      <a:pt x="1311" y="134"/>
                      <a:pt x="1311" y="134"/>
                    </a:cubicBezTo>
                    <a:cubicBezTo>
                      <a:pt x="1299" y="134"/>
                      <a:pt x="1289" y="144"/>
                      <a:pt x="1289" y="156"/>
                    </a:cubicBezTo>
                    <a:cubicBezTo>
                      <a:pt x="1289" y="1217"/>
                      <a:pt x="1289" y="1217"/>
                      <a:pt x="1289" y="1217"/>
                    </a:cubicBezTo>
                    <a:cubicBezTo>
                      <a:pt x="1333" y="1217"/>
                      <a:pt x="1333" y="1217"/>
                      <a:pt x="1333" y="1217"/>
                    </a:cubicBezTo>
                    <a:cubicBezTo>
                      <a:pt x="1333" y="178"/>
                      <a:pt x="1333" y="178"/>
                      <a:pt x="1333" y="178"/>
                    </a:cubicBezTo>
                    <a:cubicBezTo>
                      <a:pt x="1344" y="178"/>
                      <a:pt x="1344" y="178"/>
                      <a:pt x="1344" y="178"/>
                    </a:cubicBezTo>
                    <a:cubicBezTo>
                      <a:pt x="1356" y="178"/>
                      <a:pt x="1366" y="168"/>
                      <a:pt x="1366" y="156"/>
                    </a:cubicBezTo>
                    <a:cubicBezTo>
                      <a:pt x="1366" y="93"/>
                      <a:pt x="1366" y="93"/>
                      <a:pt x="1366" y="93"/>
                    </a:cubicBezTo>
                    <a:cubicBezTo>
                      <a:pt x="1366" y="81"/>
                      <a:pt x="1356" y="71"/>
                      <a:pt x="1344" y="71"/>
                    </a:cubicBezTo>
                    <a:close/>
                    <a:moveTo>
                      <a:pt x="288" y="44"/>
                    </a:moveTo>
                    <a:cubicBezTo>
                      <a:pt x="1210" y="44"/>
                      <a:pt x="1210" y="44"/>
                      <a:pt x="1210" y="44"/>
                    </a:cubicBezTo>
                    <a:cubicBezTo>
                      <a:pt x="1228" y="71"/>
                      <a:pt x="1228" y="71"/>
                      <a:pt x="1228" y="71"/>
                    </a:cubicBezTo>
                    <a:cubicBezTo>
                      <a:pt x="270" y="71"/>
                      <a:pt x="270" y="71"/>
                      <a:pt x="270" y="71"/>
                    </a:cubicBezTo>
                    <a:lnTo>
                      <a:pt x="288" y="44"/>
                    </a:ln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8" name="Freeform 21">
                <a:extLst>
                  <a:ext uri="{FF2B5EF4-FFF2-40B4-BE49-F238E27FC236}">
                    <a16:creationId xmlns:a16="http://schemas.microsoft.com/office/drawing/2014/main" id="{D8A4A2E6-C8ED-4178-A6B5-225208D559C0}"/>
                  </a:ext>
                </a:extLst>
              </p:cNvPr>
              <p:cNvSpPr>
                <a:spLocks noEditPoints="1"/>
              </p:cNvSpPr>
              <p:nvPr/>
            </p:nvSpPr>
            <p:spPr bwMode="auto">
              <a:xfrm>
                <a:off x="5788914" y="2868168"/>
                <a:ext cx="612648" cy="1058037"/>
              </a:xfrm>
              <a:custGeom>
                <a:avLst/>
                <a:gdLst>
                  <a:gd name="T0" fmla="*/ 137 w 858"/>
                  <a:gd name="T1" fmla="*/ 481 h 1481"/>
                  <a:gd name="T2" fmla="*/ 10 w 858"/>
                  <a:gd name="T3" fmla="*/ 491 h 1481"/>
                  <a:gd name="T4" fmla="*/ 0 w 858"/>
                  <a:gd name="T5" fmla="*/ 284 h 1481"/>
                  <a:gd name="T6" fmla="*/ 127 w 858"/>
                  <a:gd name="T7" fmla="*/ 274 h 1481"/>
                  <a:gd name="T8" fmla="*/ 127 w 858"/>
                  <a:gd name="T9" fmla="*/ 0 h 1481"/>
                  <a:gd name="T10" fmla="*/ 0 w 858"/>
                  <a:gd name="T11" fmla="*/ 10 h 1481"/>
                  <a:gd name="T12" fmla="*/ 10 w 858"/>
                  <a:gd name="T13" fmla="*/ 217 h 1481"/>
                  <a:gd name="T14" fmla="*/ 137 w 858"/>
                  <a:gd name="T15" fmla="*/ 207 h 1481"/>
                  <a:gd name="T16" fmla="*/ 127 w 858"/>
                  <a:gd name="T17" fmla="*/ 0 h 1481"/>
                  <a:gd name="T18" fmla="*/ 10 w 858"/>
                  <a:gd name="T19" fmla="*/ 548 h 1481"/>
                  <a:gd name="T20" fmla="*/ 0 w 858"/>
                  <a:gd name="T21" fmla="*/ 755 h 1481"/>
                  <a:gd name="T22" fmla="*/ 127 w 858"/>
                  <a:gd name="T23" fmla="*/ 765 h 1481"/>
                  <a:gd name="T24" fmla="*/ 137 w 858"/>
                  <a:gd name="T25" fmla="*/ 558 h 1481"/>
                  <a:gd name="T26" fmla="*/ 127 w 858"/>
                  <a:gd name="T27" fmla="*/ 822 h 1481"/>
                  <a:gd name="T28" fmla="*/ 0 w 858"/>
                  <a:gd name="T29" fmla="*/ 832 h 1481"/>
                  <a:gd name="T30" fmla="*/ 10 w 858"/>
                  <a:gd name="T31" fmla="*/ 1039 h 1481"/>
                  <a:gd name="T32" fmla="*/ 137 w 858"/>
                  <a:gd name="T33" fmla="*/ 1029 h 1481"/>
                  <a:gd name="T34" fmla="*/ 127 w 858"/>
                  <a:gd name="T35" fmla="*/ 822 h 1481"/>
                  <a:gd name="T36" fmla="*/ 206 w 858"/>
                  <a:gd name="T37" fmla="*/ 822 h 1481"/>
                  <a:gd name="T38" fmla="*/ 196 w 858"/>
                  <a:gd name="T39" fmla="*/ 1029 h 1481"/>
                  <a:gd name="T40" fmla="*/ 323 w 858"/>
                  <a:gd name="T41" fmla="*/ 1039 h 1481"/>
                  <a:gd name="T42" fmla="*/ 333 w 858"/>
                  <a:gd name="T43" fmla="*/ 832 h 1481"/>
                  <a:gd name="T44" fmla="*/ 323 w 858"/>
                  <a:gd name="T45" fmla="*/ 548 h 1481"/>
                  <a:gd name="T46" fmla="*/ 196 w 858"/>
                  <a:gd name="T47" fmla="*/ 558 h 1481"/>
                  <a:gd name="T48" fmla="*/ 206 w 858"/>
                  <a:gd name="T49" fmla="*/ 765 h 1481"/>
                  <a:gd name="T50" fmla="*/ 333 w 858"/>
                  <a:gd name="T51" fmla="*/ 755 h 1481"/>
                  <a:gd name="T52" fmla="*/ 323 w 858"/>
                  <a:gd name="T53" fmla="*/ 548 h 1481"/>
                  <a:gd name="T54" fmla="*/ 721 w 858"/>
                  <a:gd name="T55" fmla="*/ 481 h 1481"/>
                  <a:gd name="T56" fmla="*/ 848 w 858"/>
                  <a:gd name="T57" fmla="*/ 491 h 1481"/>
                  <a:gd name="T58" fmla="*/ 858 w 858"/>
                  <a:gd name="T59" fmla="*/ 284 h 1481"/>
                  <a:gd name="T60" fmla="*/ 731 w 858"/>
                  <a:gd name="T61" fmla="*/ 274 h 1481"/>
                  <a:gd name="T62" fmla="*/ 721 w 858"/>
                  <a:gd name="T63" fmla="*/ 10 h 1481"/>
                  <a:gd name="T64" fmla="*/ 731 w 858"/>
                  <a:gd name="T65" fmla="*/ 217 h 1481"/>
                  <a:gd name="T66" fmla="*/ 858 w 858"/>
                  <a:gd name="T67" fmla="*/ 207 h 1481"/>
                  <a:gd name="T68" fmla="*/ 848 w 858"/>
                  <a:gd name="T69" fmla="*/ 0 h 1481"/>
                  <a:gd name="T70" fmla="*/ 721 w 858"/>
                  <a:gd name="T71" fmla="*/ 10 h 1481"/>
                  <a:gd name="T72" fmla="*/ 721 w 858"/>
                  <a:gd name="T73" fmla="*/ 755 h 1481"/>
                  <a:gd name="T74" fmla="*/ 848 w 858"/>
                  <a:gd name="T75" fmla="*/ 765 h 1481"/>
                  <a:gd name="T76" fmla="*/ 858 w 858"/>
                  <a:gd name="T77" fmla="*/ 558 h 1481"/>
                  <a:gd name="T78" fmla="*/ 731 w 858"/>
                  <a:gd name="T79" fmla="*/ 548 h 1481"/>
                  <a:gd name="T80" fmla="*/ 721 w 858"/>
                  <a:gd name="T81" fmla="*/ 832 h 1481"/>
                  <a:gd name="T82" fmla="*/ 731 w 858"/>
                  <a:gd name="T83" fmla="*/ 1039 h 1481"/>
                  <a:gd name="T84" fmla="*/ 858 w 858"/>
                  <a:gd name="T85" fmla="*/ 1029 h 1481"/>
                  <a:gd name="T86" fmla="*/ 848 w 858"/>
                  <a:gd name="T87" fmla="*/ 822 h 1481"/>
                  <a:gd name="T88" fmla="*/ 721 w 858"/>
                  <a:gd name="T89" fmla="*/ 832 h 1481"/>
                  <a:gd name="T90" fmla="*/ 521 w 858"/>
                  <a:gd name="T91" fmla="*/ 1029 h 1481"/>
                  <a:gd name="T92" fmla="*/ 648 w 858"/>
                  <a:gd name="T93" fmla="*/ 1039 h 1481"/>
                  <a:gd name="T94" fmla="*/ 658 w 858"/>
                  <a:gd name="T95" fmla="*/ 832 h 1481"/>
                  <a:gd name="T96" fmla="*/ 531 w 858"/>
                  <a:gd name="T97" fmla="*/ 822 h 1481"/>
                  <a:gd name="T98" fmla="*/ 521 w 858"/>
                  <a:gd name="T99" fmla="*/ 558 h 1481"/>
                  <a:gd name="T100" fmla="*/ 531 w 858"/>
                  <a:gd name="T101" fmla="*/ 765 h 1481"/>
                  <a:gd name="T102" fmla="*/ 658 w 858"/>
                  <a:gd name="T103" fmla="*/ 755 h 1481"/>
                  <a:gd name="T104" fmla="*/ 648 w 858"/>
                  <a:gd name="T105" fmla="*/ 548 h 1481"/>
                  <a:gd name="T106" fmla="*/ 521 w 858"/>
                  <a:gd name="T107" fmla="*/ 558 h 1481"/>
                  <a:gd name="T108" fmla="*/ 409 w 858"/>
                  <a:gd name="T109" fmla="*/ 1197 h 1481"/>
                  <a:gd name="T110" fmla="*/ 126 w 858"/>
                  <a:gd name="T111" fmla="*/ 1187 h 1481"/>
                  <a:gd name="T112" fmla="*/ 116 w 858"/>
                  <a:gd name="T113" fmla="*/ 1471 h 1481"/>
                  <a:gd name="T114" fmla="*/ 399 w 858"/>
                  <a:gd name="T115" fmla="*/ 1481 h 1481"/>
                  <a:gd name="T116" fmla="*/ 742 w 858"/>
                  <a:gd name="T117" fmla="*/ 1471 h 1481"/>
                  <a:gd name="T118" fmla="*/ 732 w 858"/>
                  <a:gd name="T119" fmla="*/ 1187 h 1481"/>
                  <a:gd name="T120" fmla="*/ 449 w 858"/>
                  <a:gd name="T121" fmla="*/ 1197 h 1481"/>
                  <a:gd name="T122" fmla="*/ 459 w 858"/>
                  <a:gd name="T123" fmla="*/ 1481 h 1481"/>
                  <a:gd name="T124" fmla="*/ 742 w 858"/>
                  <a:gd name="T125" fmla="*/ 147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8" h="1481">
                    <a:moveTo>
                      <a:pt x="137" y="284"/>
                    </a:moveTo>
                    <a:cubicBezTo>
                      <a:pt x="137" y="481"/>
                      <a:pt x="137" y="481"/>
                      <a:pt x="137" y="481"/>
                    </a:cubicBezTo>
                    <a:cubicBezTo>
                      <a:pt x="137" y="486"/>
                      <a:pt x="133" y="491"/>
                      <a:pt x="127" y="491"/>
                    </a:cubicBezTo>
                    <a:cubicBezTo>
                      <a:pt x="10" y="491"/>
                      <a:pt x="10" y="491"/>
                      <a:pt x="10" y="491"/>
                    </a:cubicBezTo>
                    <a:cubicBezTo>
                      <a:pt x="5" y="491"/>
                      <a:pt x="0" y="486"/>
                      <a:pt x="0" y="481"/>
                    </a:cubicBezTo>
                    <a:cubicBezTo>
                      <a:pt x="0" y="284"/>
                      <a:pt x="0" y="284"/>
                      <a:pt x="0" y="284"/>
                    </a:cubicBezTo>
                    <a:cubicBezTo>
                      <a:pt x="0" y="279"/>
                      <a:pt x="5" y="274"/>
                      <a:pt x="10" y="274"/>
                    </a:cubicBezTo>
                    <a:cubicBezTo>
                      <a:pt x="127" y="274"/>
                      <a:pt x="127" y="274"/>
                      <a:pt x="127" y="274"/>
                    </a:cubicBezTo>
                    <a:cubicBezTo>
                      <a:pt x="133" y="274"/>
                      <a:pt x="137" y="279"/>
                      <a:pt x="137" y="284"/>
                    </a:cubicBezTo>
                    <a:close/>
                    <a:moveTo>
                      <a:pt x="127" y="0"/>
                    </a:moveTo>
                    <a:cubicBezTo>
                      <a:pt x="10" y="0"/>
                      <a:pt x="10" y="0"/>
                      <a:pt x="10" y="0"/>
                    </a:cubicBezTo>
                    <a:cubicBezTo>
                      <a:pt x="5" y="0"/>
                      <a:pt x="0" y="5"/>
                      <a:pt x="0" y="10"/>
                    </a:cubicBezTo>
                    <a:cubicBezTo>
                      <a:pt x="0" y="207"/>
                      <a:pt x="0" y="207"/>
                      <a:pt x="0" y="207"/>
                    </a:cubicBezTo>
                    <a:cubicBezTo>
                      <a:pt x="0" y="213"/>
                      <a:pt x="5" y="217"/>
                      <a:pt x="10" y="217"/>
                    </a:cubicBezTo>
                    <a:cubicBezTo>
                      <a:pt x="127" y="217"/>
                      <a:pt x="127" y="217"/>
                      <a:pt x="127" y="217"/>
                    </a:cubicBezTo>
                    <a:cubicBezTo>
                      <a:pt x="133" y="217"/>
                      <a:pt x="137" y="213"/>
                      <a:pt x="137" y="207"/>
                    </a:cubicBezTo>
                    <a:cubicBezTo>
                      <a:pt x="137" y="10"/>
                      <a:pt x="137" y="10"/>
                      <a:pt x="137" y="10"/>
                    </a:cubicBezTo>
                    <a:cubicBezTo>
                      <a:pt x="137" y="5"/>
                      <a:pt x="133" y="0"/>
                      <a:pt x="127" y="0"/>
                    </a:cubicBezTo>
                    <a:close/>
                    <a:moveTo>
                      <a:pt x="127" y="548"/>
                    </a:moveTo>
                    <a:cubicBezTo>
                      <a:pt x="10" y="548"/>
                      <a:pt x="10" y="548"/>
                      <a:pt x="10" y="548"/>
                    </a:cubicBezTo>
                    <a:cubicBezTo>
                      <a:pt x="5" y="548"/>
                      <a:pt x="0" y="552"/>
                      <a:pt x="0" y="558"/>
                    </a:cubicBezTo>
                    <a:cubicBezTo>
                      <a:pt x="0" y="755"/>
                      <a:pt x="0" y="755"/>
                      <a:pt x="0" y="755"/>
                    </a:cubicBezTo>
                    <a:cubicBezTo>
                      <a:pt x="0" y="760"/>
                      <a:pt x="5" y="765"/>
                      <a:pt x="10" y="765"/>
                    </a:cubicBezTo>
                    <a:cubicBezTo>
                      <a:pt x="127" y="765"/>
                      <a:pt x="127" y="765"/>
                      <a:pt x="127" y="765"/>
                    </a:cubicBezTo>
                    <a:cubicBezTo>
                      <a:pt x="133" y="765"/>
                      <a:pt x="137" y="760"/>
                      <a:pt x="137" y="755"/>
                    </a:cubicBezTo>
                    <a:cubicBezTo>
                      <a:pt x="137" y="558"/>
                      <a:pt x="137" y="558"/>
                      <a:pt x="137" y="558"/>
                    </a:cubicBezTo>
                    <a:cubicBezTo>
                      <a:pt x="137" y="552"/>
                      <a:pt x="133" y="548"/>
                      <a:pt x="127" y="548"/>
                    </a:cubicBezTo>
                    <a:close/>
                    <a:moveTo>
                      <a:pt x="127" y="822"/>
                    </a:moveTo>
                    <a:cubicBezTo>
                      <a:pt x="10" y="822"/>
                      <a:pt x="10" y="822"/>
                      <a:pt x="10" y="822"/>
                    </a:cubicBezTo>
                    <a:cubicBezTo>
                      <a:pt x="5" y="822"/>
                      <a:pt x="0" y="826"/>
                      <a:pt x="0" y="832"/>
                    </a:cubicBezTo>
                    <a:cubicBezTo>
                      <a:pt x="0" y="1029"/>
                      <a:pt x="0" y="1029"/>
                      <a:pt x="0" y="1029"/>
                    </a:cubicBezTo>
                    <a:cubicBezTo>
                      <a:pt x="0" y="1034"/>
                      <a:pt x="5" y="1039"/>
                      <a:pt x="10" y="1039"/>
                    </a:cubicBezTo>
                    <a:cubicBezTo>
                      <a:pt x="127" y="1039"/>
                      <a:pt x="127" y="1039"/>
                      <a:pt x="127" y="1039"/>
                    </a:cubicBezTo>
                    <a:cubicBezTo>
                      <a:pt x="133" y="1039"/>
                      <a:pt x="137" y="1034"/>
                      <a:pt x="137" y="1029"/>
                    </a:cubicBezTo>
                    <a:cubicBezTo>
                      <a:pt x="137" y="832"/>
                      <a:pt x="137" y="832"/>
                      <a:pt x="137" y="832"/>
                    </a:cubicBezTo>
                    <a:cubicBezTo>
                      <a:pt x="137" y="826"/>
                      <a:pt x="133" y="822"/>
                      <a:pt x="127" y="822"/>
                    </a:cubicBezTo>
                    <a:close/>
                    <a:moveTo>
                      <a:pt x="323" y="822"/>
                    </a:moveTo>
                    <a:cubicBezTo>
                      <a:pt x="206" y="822"/>
                      <a:pt x="206" y="822"/>
                      <a:pt x="206" y="822"/>
                    </a:cubicBezTo>
                    <a:cubicBezTo>
                      <a:pt x="200" y="822"/>
                      <a:pt x="196" y="826"/>
                      <a:pt x="196" y="832"/>
                    </a:cubicBezTo>
                    <a:cubicBezTo>
                      <a:pt x="196" y="1029"/>
                      <a:pt x="196" y="1029"/>
                      <a:pt x="196" y="1029"/>
                    </a:cubicBezTo>
                    <a:cubicBezTo>
                      <a:pt x="196" y="1034"/>
                      <a:pt x="200" y="1039"/>
                      <a:pt x="206" y="1039"/>
                    </a:cubicBezTo>
                    <a:cubicBezTo>
                      <a:pt x="323" y="1039"/>
                      <a:pt x="323" y="1039"/>
                      <a:pt x="323" y="1039"/>
                    </a:cubicBezTo>
                    <a:cubicBezTo>
                      <a:pt x="328" y="1039"/>
                      <a:pt x="333" y="1034"/>
                      <a:pt x="333" y="1029"/>
                    </a:cubicBezTo>
                    <a:cubicBezTo>
                      <a:pt x="333" y="832"/>
                      <a:pt x="333" y="832"/>
                      <a:pt x="333" y="832"/>
                    </a:cubicBezTo>
                    <a:cubicBezTo>
                      <a:pt x="333" y="826"/>
                      <a:pt x="328" y="822"/>
                      <a:pt x="323" y="822"/>
                    </a:cubicBezTo>
                    <a:close/>
                    <a:moveTo>
                      <a:pt x="323" y="548"/>
                    </a:moveTo>
                    <a:cubicBezTo>
                      <a:pt x="206" y="548"/>
                      <a:pt x="206" y="548"/>
                      <a:pt x="206" y="548"/>
                    </a:cubicBezTo>
                    <a:cubicBezTo>
                      <a:pt x="200" y="548"/>
                      <a:pt x="196" y="552"/>
                      <a:pt x="196" y="558"/>
                    </a:cubicBezTo>
                    <a:cubicBezTo>
                      <a:pt x="196" y="755"/>
                      <a:pt x="196" y="755"/>
                      <a:pt x="196" y="755"/>
                    </a:cubicBezTo>
                    <a:cubicBezTo>
                      <a:pt x="196" y="760"/>
                      <a:pt x="200" y="765"/>
                      <a:pt x="206" y="765"/>
                    </a:cubicBezTo>
                    <a:cubicBezTo>
                      <a:pt x="323" y="765"/>
                      <a:pt x="323" y="765"/>
                      <a:pt x="323" y="765"/>
                    </a:cubicBezTo>
                    <a:cubicBezTo>
                      <a:pt x="328" y="765"/>
                      <a:pt x="333" y="760"/>
                      <a:pt x="333" y="755"/>
                    </a:cubicBezTo>
                    <a:cubicBezTo>
                      <a:pt x="333" y="558"/>
                      <a:pt x="333" y="558"/>
                      <a:pt x="333" y="558"/>
                    </a:cubicBezTo>
                    <a:cubicBezTo>
                      <a:pt x="333" y="552"/>
                      <a:pt x="328" y="548"/>
                      <a:pt x="323" y="548"/>
                    </a:cubicBezTo>
                    <a:close/>
                    <a:moveTo>
                      <a:pt x="721" y="284"/>
                    </a:moveTo>
                    <a:cubicBezTo>
                      <a:pt x="721" y="481"/>
                      <a:pt x="721" y="481"/>
                      <a:pt x="721" y="481"/>
                    </a:cubicBezTo>
                    <a:cubicBezTo>
                      <a:pt x="721" y="486"/>
                      <a:pt x="725" y="491"/>
                      <a:pt x="731" y="491"/>
                    </a:cubicBezTo>
                    <a:cubicBezTo>
                      <a:pt x="848" y="491"/>
                      <a:pt x="848" y="491"/>
                      <a:pt x="848" y="491"/>
                    </a:cubicBezTo>
                    <a:cubicBezTo>
                      <a:pt x="853" y="491"/>
                      <a:pt x="858" y="486"/>
                      <a:pt x="858" y="481"/>
                    </a:cubicBezTo>
                    <a:cubicBezTo>
                      <a:pt x="858" y="284"/>
                      <a:pt x="858" y="284"/>
                      <a:pt x="858" y="284"/>
                    </a:cubicBezTo>
                    <a:cubicBezTo>
                      <a:pt x="858" y="279"/>
                      <a:pt x="853" y="274"/>
                      <a:pt x="848" y="274"/>
                    </a:cubicBezTo>
                    <a:cubicBezTo>
                      <a:pt x="731" y="274"/>
                      <a:pt x="731" y="274"/>
                      <a:pt x="731" y="274"/>
                    </a:cubicBezTo>
                    <a:cubicBezTo>
                      <a:pt x="725" y="274"/>
                      <a:pt x="721" y="279"/>
                      <a:pt x="721" y="284"/>
                    </a:cubicBezTo>
                    <a:close/>
                    <a:moveTo>
                      <a:pt x="721" y="10"/>
                    </a:moveTo>
                    <a:cubicBezTo>
                      <a:pt x="721" y="207"/>
                      <a:pt x="721" y="207"/>
                      <a:pt x="721" y="207"/>
                    </a:cubicBezTo>
                    <a:cubicBezTo>
                      <a:pt x="721" y="213"/>
                      <a:pt x="725" y="217"/>
                      <a:pt x="731" y="217"/>
                    </a:cubicBezTo>
                    <a:cubicBezTo>
                      <a:pt x="848" y="217"/>
                      <a:pt x="848" y="217"/>
                      <a:pt x="848" y="217"/>
                    </a:cubicBezTo>
                    <a:cubicBezTo>
                      <a:pt x="853" y="217"/>
                      <a:pt x="858" y="213"/>
                      <a:pt x="858" y="207"/>
                    </a:cubicBezTo>
                    <a:cubicBezTo>
                      <a:pt x="858" y="10"/>
                      <a:pt x="858" y="10"/>
                      <a:pt x="858" y="10"/>
                    </a:cubicBezTo>
                    <a:cubicBezTo>
                      <a:pt x="858" y="5"/>
                      <a:pt x="853" y="0"/>
                      <a:pt x="848" y="0"/>
                    </a:cubicBezTo>
                    <a:cubicBezTo>
                      <a:pt x="731" y="0"/>
                      <a:pt x="731" y="0"/>
                      <a:pt x="731" y="0"/>
                    </a:cubicBezTo>
                    <a:cubicBezTo>
                      <a:pt x="725" y="0"/>
                      <a:pt x="721" y="5"/>
                      <a:pt x="721" y="10"/>
                    </a:cubicBezTo>
                    <a:close/>
                    <a:moveTo>
                      <a:pt x="721" y="558"/>
                    </a:moveTo>
                    <a:cubicBezTo>
                      <a:pt x="721" y="755"/>
                      <a:pt x="721" y="755"/>
                      <a:pt x="721" y="755"/>
                    </a:cubicBezTo>
                    <a:cubicBezTo>
                      <a:pt x="721" y="760"/>
                      <a:pt x="725" y="765"/>
                      <a:pt x="731" y="765"/>
                    </a:cubicBezTo>
                    <a:cubicBezTo>
                      <a:pt x="848" y="765"/>
                      <a:pt x="848" y="765"/>
                      <a:pt x="848" y="765"/>
                    </a:cubicBezTo>
                    <a:cubicBezTo>
                      <a:pt x="853" y="765"/>
                      <a:pt x="858" y="760"/>
                      <a:pt x="858" y="755"/>
                    </a:cubicBezTo>
                    <a:cubicBezTo>
                      <a:pt x="858" y="558"/>
                      <a:pt x="858" y="558"/>
                      <a:pt x="858" y="558"/>
                    </a:cubicBezTo>
                    <a:cubicBezTo>
                      <a:pt x="858" y="552"/>
                      <a:pt x="853" y="548"/>
                      <a:pt x="848" y="548"/>
                    </a:cubicBezTo>
                    <a:cubicBezTo>
                      <a:pt x="731" y="548"/>
                      <a:pt x="731" y="548"/>
                      <a:pt x="731" y="548"/>
                    </a:cubicBezTo>
                    <a:cubicBezTo>
                      <a:pt x="725" y="548"/>
                      <a:pt x="721" y="552"/>
                      <a:pt x="721" y="558"/>
                    </a:cubicBezTo>
                    <a:close/>
                    <a:moveTo>
                      <a:pt x="721" y="832"/>
                    </a:moveTo>
                    <a:cubicBezTo>
                      <a:pt x="721" y="1029"/>
                      <a:pt x="721" y="1029"/>
                      <a:pt x="721" y="1029"/>
                    </a:cubicBezTo>
                    <a:cubicBezTo>
                      <a:pt x="721" y="1034"/>
                      <a:pt x="725" y="1039"/>
                      <a:pt x="731" y="1039"/>
                    </a:cubicBezTo>
                    <a:cubicBezTo>
                      <a:pt x="848" y="1039"/>
                      <a:pt x="848" y="1039"/>
                      <a:pt x="848" y="1039"/>
                    </a:cubicBezTo>
                    <a:cubicBezTo>
                      <a:pt x="853" y="1039"/>
                      <a:pt x="858" y="1034"/>
                      <a:pt x="858" y="1029"/>
                    </a:cubicBezTo>
                    <a:cubicBezTo>
                      <a:pt x="858" y="832"/>
                      <a:pt x="858" y="832"/>
                      <a:pt x="858" y="832"/>
                    </a:cubicBezTo>
                    <a:cubicBezTo>
                      <a:pt x="858" y="826"/>
                      <a:pt x="853" y="822"/>
                      <a:pt x="848" y="822"/>
                    </a:cubicBezTo>
                    <a:cubicBezTo>
                      <a:pt x="731" y="822"/>
                      <a:pt x="731" y="822"/>
                      <a:pt x="731" y="822"/>
                    </a:cubicBezTo>
                    <a:cubicBezTo>
                      <a:pt x="725" y="822"/>
                      <a:pt x="721" y="826"/>
                      <a:pt x="721" y="832"/>
                    </a:cubicBezTo>
                    <a:close/>
                    <a:moveTo>
                      <a:pt x="521" y="832"/>
                    </a:moveTo>
                    <a:cubicBezTo>
                      <a:pt x="521" y="1029"/>
                      <a:pt x="521" y="1029"/>
                      <a:pt x="521" y="1029"/>
                    </a:cubicBezTo>
                    <a:cubicBezTo>
                      <a:pt x="521" y="1034"/>
                      <a:pt x="526" y="1039"/>
                      <a:pt x="531" y="1039"/>
                    </a:cubicBezTo>
                    <a:cubicBezTo>
                      <a:pt x="648" y="1039"/>
                      <a:pt x="648" y="1039"/>
                      <a:pt x="648" y="1039"/>
                    </a:cubicBezTo>
                    <a:cubicBezTo>
                      <a:pt x="654" y="1039"/>
                      <a:pt x="658" y="1034"/>
                      <a:pt x="658" y="1029"/>
                    </a:cubicBezTo>
                    <a:cubicBezTo>
                      <a:pt x="658" y="832"/>
                      <a:pt x="658" y="832"/>
                      <a:pt x="658" y="832"/>
                    </a:cubicBezTo>
                    <a:cubicBezTo>
                      <a:pt x="658" y="826"/>
                      <a:pt x="654" y="822"/>
                      <a:pt x="648" y="822"/>
                    </a:cubicBezTo>
                    <a:cubicBezTo>
                      <a:pt x="531" y="822"/>
                      <a:pt x="531" y="822"/>
                      <a:pt x="531" y="822"/>
                    </a:cubicBezTo>
                    <a:cubicBezTo>
                      <a:pt x="526" y="822"/>
                      <a:pt x="521" y="826"/>
                      <a:pt x="521" y="832"/>
                    </a:cubicBezTo>
                    <a:close/>
                    <a:moveTo>
                      <a:pt x="521" y="558"/>
                    </a:moveTo>
                    <a:cubicBezTo>
                      <a:pt x="521" y="755"/>
                      <a:pt x="521" y="755"/>
                      <a:pt x="521" y="755"/>
                    </a:cubicBezTo>
                    <a:cubicBezTo>
                      <a:pt x="521" y="760"/>
                      <a:pt x="526" y="765"/>
                      <a:pt x="531" y="765"/>
                    </a:cubicBezTo>
                    <a:cubicBezTo>
                      <a:pt x="648" y="765"/>
                      <a:pt x="648" y="765"/>
                      <a:pt x="648" y="765"/>
                    </a:cubicBezTo>
                    <a:cubicBezTo>
                      <a:pt x="654" y="765"/>
                      <a:pt x="658" y="760"/>
                      <a:pt x="658" y="755"/>
                    </a:cubicBezTo>
                    <a:cubicBezTo>
                      <a:pt x="658" y="558"/>
                      <a:pt x="658" y="558"/>
                      <a:pt x="658" y="558"/>
                    </a:cubicBezTo>
                    <a:cubicBezTo>
                      <a:pt x="658" y="552"/>
                      <a:pt x="654" y="548"/>
                      <a:pt x="648" y="548"/>
                    </a:cubicBezTo>
                    <a:cubicBezTo>
                      <a:pt x="531" y="548"/>
                      <a:pt x="531" y="548"/>
                      <a:pt x="531" y="548"/>
                    </a:cubicBezTo>
                    <a:cubicBezTo>
                      <a:pt x="526" y="548"/>
                      <a:pt x="521" y="552"/>
                      <a:pt x="521" y="558"/>
                    </a:cubicBezTo>
                    <a:close/>
                    <a:moveTo>
                      <a:pt x="409" y="1471"/>
                    </a:moveTo>
                    <a:cubicBezTo>
                      <a:pt x="409" y="1197"/>
                      <a:pt x="409" y="1197"/>
                      <a:pt x="409" y="1197"/>
                    </a:cubicBezTo>
                    <a:cubicBezTo>
                      <a:pt x="409" y="1191"/>
                      <a:pt x="405" y="1187"/>
                      <a:pt x="399" y="1187"/>
                    </a:cubicBezTo>
                    <a:cubicBezTo>
                      <a:pt x="126" y="1187"/>
                      <a:pt x="126" y="1187"/>
                      <a:pt x="126" y="1187"/>
                    </a:cubicBezTo>
                    <a:cubicBezTo>
                      <a:pt x="121" y="1187"/>
                      <a:pt x="116" y="1191"/>
                      <a:pt x="116" y="1197"/>
                    </a:cubicBezTo>
                    <a:cubicBezTo>
                      <a:pt x="116" y="1471"/>
                      <a:pt x="116" y="1471"/>
                      <a:pt x="116" y="1471"/>
                    </a:cubicBezTo>
                    <a:cubicBezTo>
                      <a:pt x="116" y="1477"/>
                      <a:pt x="121" y="1481"/>
                      <a:pt x="126" y="1481"/>
                    </a:cubicBezTo>
                    <a:cubicBezTo>
                      <a:pt x="399" y="1481"/>
                      <a:pt x="399" y="1481"/>
                      <a:pt x="399" y="1481"/>
                    </a:cubicBezTo>
                    <a:cubicBezTo>
                      <a:pt x="405" y="1481"/>
                      <a:pt x="409" y="1477"/>
                      <a:pt x="409" y="1471"/>
                    </a:cubicBezTo>
                    <a:close/>
                    <a:moveTo>
                      <a:pt x="742" y="1471"/>
                    </a:moveTo>
                    <a:cubicBezTo>
                      <a:pt x="742" y="1197"/>
                      <a:pt x="742" y="1197"/>
                      <a:pt x="742" y="1197"/>
                    </a:cubicBezTo>
                    <a:cubicBezTo>
                      <a:pt x="742" y="1191"/>
                      <a:pt x="737" y="1187"/>
                      <a:pt x="732" y="1187"/>
                    </a:cubicBezTo>
                    <a:cubicBezTo>
                      <a:pt x="459" y="1187"/>
                      <a:pt x="459" y="1187"/>
                      <a:pt x="459" y="1187"/>
                    </a:cubicBezTo>
                    <a:cubicBezTo>
                      <a:pt x="453" y="1187"/>
                      <a:pt x="449" y="1191"/>
                      <a:pt x="449" y="1197"/>
                    </a:cubicBezTo>
                    <a:cubicBezTo>
                      <a:pt x="449" y="1471"/>
                      <a:pt x="449" y="1471"/>
                      <a:pt x="449" y="1471"/>
                    </a:cubicBezTo>
                    <a:cubicBezTo>
                      <a:pt x="449" y="1477"/>
                      <a:pt x="453" y="1481"/>
                      <a:pt x="459" y="1481"/>
                    </a:cubicBezTo>
                    <a:cubicBezTo>
                      <a:pt x="732" y="1481"/>
                      <a:pt x="732" y="1481"/>
                      <a:pt x="732" y="1481"/>
                    </a:cubicBezTo>
                    <a:cubicBezTo>
                      <a:pt x="737" y="1481"/>
                      <a:pt x="742" y="1477"/>
                      <a:pt x="742" y="1471"/>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nvGrpSpPr>
          <p:cNvPr id="159" name="Group 158">
            <a:extLst>
              <a:ext uri="{FF2B5EF4-FFF2-40B4-BE49-F238E27FC236}">
                <a16:creationId xmlns:a16="http://schemas.microsoft.com/office/drawing/2014/main" id="{9E4CE07C-8D86-4A1F-A519-D175D259EA4A}"/>
              </a:ext>
            </a:extLst>
          </p:cNvPr>
          <p:cNvGrpSpPr>
            <a:grpSpLocks noChangeAspect="1"/>
          </p:cNvGrpSpPr>
          <p:nvPr/>
        </p:nvGrpSpPr>
        <p:grpSpPr>
          <a:xfrm>
            <a:off x="7304929" y="2679633"/>
            <a:ext cx="926227" cy="927085"/>
            <a:chOff x="5273799" y="2606040"/>
            <a:chExt cx="1644396" cy="1645920"/>
          </a:xfrm>
        </p:grpSpPr>
        <p:sp>
          <p:nvSpPr>
            <p:cNvPr id="160" name="AutoShape 8">
              <a:extLst>
                <a:ext uri="{FF2B5EF4-FFF2-40B4-BE49-F238E27FC236}">
                  <a16:creationId xmlns:a16="http://schemas.microsoft.com/office/drawing/2014/main" id="{6E098601-C2F7-43C0-BCBB-C2536127D63D}"/>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61" name="Group 160">
              <a:extLst>
                <a:ext uri="{FF2B5EF4-FFF2-40B4-BE49-F238E27FC236}">
                  <a16:creationId xmlns:a16="http://schemas.microsoft.com/office/drawing/2014/main" id="{AEE4A859-8DE2-47EC-9271-ADE3F7764705}"/>
                </a:ext>
              </a:extLst>
            </p:cNvPr>
            <p:cNvGrpSpPr/>
            <p:nvPr/>
          </p:nvGrpSpPr>
          <p:grpSpPr>
            <a:xfrm>
              <a:off x="5497065" y="2719578"/>
              <a:ext cx="1197864" cy="1361694"/>
              <a:chOff x="5497065" y="2719578"/>
              <a:chExt cx="1197864" cy="1361694"/>
            </a:xfrm>
          </p:grpSpPr>
          <p:sp>
            <p:nvSpPr>
              <p:cNvPr id="162" name="Freeform 10">
                <a:extLst>
                  <a:ext uri="{FF2B5EF4-FFF2-40B4-BE49-F238E27FC236}">
                    <a16:creationId xmlns:a16="http://schemas.microsoft.com/office/drawing/2014/main" id="{2779ADDA-8BE7-4AFC-976D-CF7F39851ED8}"/>
                  </a:ext>
                </a:extLst>
              </p:cNvPr>
              <p:cNvSpPr>
                <a:spLocks noEditPoints="1"/>
              </p:cNvSpPr>
              <p:nvPr/>
            </p:nvSpPr>
            <p:spPr bwMode="auto">
              <a:xfrm>
                <a:off x="5497065" y="3014091"/>
                <a:ext cx="1197864" cy="106718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3" name="Freeform 11">
                <a:extLst>
                  <a:ext uri="{FF2B5EF4-FFF2-40B4-BE49-F238E27FC236}">
                    <a16:creationId xmlns:a16="http://schemas.microsoft.com/office/drawing/2014/main" id="{5CD9A242-DA03-40B8-9B07-B92FA6CEBF0A}"/>
                  </a:ext>
                </a:extLst>
              </p:cNvPr>
              <p:cNvSpPr>
                <a:spLocks noEditPoints="1"/>
              </p:cNvSpPr>
              <p:nvPr/>
            </p:nvSpPr>
            <p:spPr bwMode="auto">
              <a:xfrm>
                <a:off x="5594982" y="2719578"/>
                <a:ext cx="1002030" cy="115595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nvGrpSpPr>
          <p:cNvPr id="169" name="Group 168">
            <a:extLst>
              <a:ext uri="{FF2B5EF4-FFF2-40B4-BE49-F238E27FC236}">
                <a16:creationId xmlns:a16="http://schemas.microsoft.com/office/drawing/2014/main" id="{550D18FA-214A-425D-8D86-C43BF767E2D7}"/>
              </a:ext>
            </a:extLst>
          </p:cNvPr>
          <p:cNvGrpSpPr>
            <a:grpSpLocks noChangeAspect="1"/>
          </p:cNvGrpSpPr>
          <p:nvPr/>
        </p:nvGrpSpPr>
        <p:grpSpPr>
          <a:xfrm>
            <a:off x="7304501" y="3657897"/>
            <a:ext cx="927085" cy="927085"/>
            <a:chOff x="5273675" y="2606675"/>
            <a:chExt cx="1644650" cy="1644650"/>
          </a:xfrm>
        </p:grpSpPr>
        <p:sp>
          <p:nvSpPr>
            <p:cNvPr id="170" name="AutoShape 3">
              <a:extLst>
                <a:ext uri="{FF2B5EF4-FFF2-40B4-BE49-F238E27FC236}">
                  <a16:creationId xmlns:a16="http://schemas.microsoft.com/office/drawing/2014/main" id="{59761E15-0E7E-4F86-8D59-0A28CC51EF0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71" name="Group 170">
              <a:extLst>
                <a:ext uri="{FF2B5EF4-FFF2-40B4-BE49-F238E27FC236}">
                  <a16:creationId xmlns:a16="http://schemas.microsoft.com/office/drawing/2014/main" id="{6FCA2EFD-1A81-42D9-8CB4-AFBB2BFCF207}"/>
                </a:ext>
              </a:extLst>
            </p:cNvPr>
            <p:cNvGrpSpPr/>
            <p:nvPr/>
          </p:nvGrpSpPr>
          <p:grpSpPr>
            <a:xfrm>
              <a:off x="5445125" y="2725738"/>
              <a:ext cx="1303338" cy="1355725"/>
              <a:chOff x="5445125" y="2725738"/>
              <a:chExt cx="1303338" cy="1355725"/>
            </a:xfrm>
          </p:grpSpPr>
          <p:sp>
            <p:nvSpPr>
              <p:cNvPr id="172" name="Freeform 13">
                <a:extLst>
                  <a:ext uri="{FF2B5EF4-FFF2-40B4-BE49-F238E27FC236}">
                    <a16:creationId xmlns:a16="http://schemas.microsoft.com/office/drawing/2014/main" id="{0574E7F9-A75E-47FA-9A4B-3160025152DB}"/>
                  </a:ext>
                </a:extLst>
              </p:cNvPr>
              <p:cNvSpPr>
                <a:spLocks/>
              </p:cNvSpPr>
              <p:nvPr/>
            </p:nvSpPr>
            <p:spPr bwMode="auto">
              <a:xfrm>
                <a:off x="5445125" y="3613150"/>
                <a:ext cx="1303338" cy="468313"/>
              </a:xfrm>
              <a:custGeom>
                <a:avLst/>
                <a:gdLst>
                  <a:gd name="connsiteX0" fmla="*/ 15703 w 1303338"/>
                  <a:gd name="connsiteY0" fmla="*/ 434975 h 468313"/>
                  <a:gd name="connsiteX1" fmla="*/ 77087 w 1303338"/>
                  <a:gd name="connsiteY1" fmla="*/ 434975 h 468313"/>
                  <a:gd name="connsiteX2" fmla="*/ 92790 w 1303338"/>
                  <a:gd name="connsiteY2" fmla="*/ 434975 h 468313"/>
                  <a:gd name="connsiteX3" fmla="*/ 108493 w 1303338"/>
                  <a:gd name="connsiteY3" fmla="*/ 434975 h 468313"/>
                  <a:gd name="connsiteX4" fmla="*/ 182011 w 1303338"/>
                  <a:gd name="connsiteY4" fmla="*/ 434975 h 468313"/>
                  <a:gd name="connsiteX5" fmla="*/ 213416 w 1303338"/>
                  <a:gd name="connsiteY5" fmla="*/ 434975 h 468313"/>
                  <a:gd name="connsiteX6" fmla="*/ 214844 w 1303338"/>
                  <a:gd name="connsiteY6" fmla="*/ 434975 h 468313"/>
                  <a:gd name="connsiteX7" fmla="*/ 229119 w 1303338"/>
                  <a:gd name="connsiteY7" fmla="*/ 434975 h 468313"/>
                  <a:gd name="connsiteX8" fmla="*/ 230547 w 1303338"/>
                  <a:gd name="connsiteY8" fmla="*/ 434975 h 468313"/>
                  <a:gd name="connsiteX9" fmla="*/ 246964 w 1303338"/>
                  <a:gd name="connsiteY9" fmla="*/ 434975 h 468313"/>
                  <a:gd name="connsiteX10" fmla="*/ 352601 w 1303338"/>
                  <a:gd name="connsiteY10" fmla="*/ 434975 h 468313"/>
                  <a:gd name="connsiteX11" fmla="*/ 368304 w 1303338"/>
                  <a:gd name="connsiteY11" fmla="*/ 434975 h 468313"/>
                  <a:gd name="connsiteX12" fmla="*/ 398996 w 1303338"/>
                  <a:gd name="connsiteY12" fmla="*/ 434975 h 468313"/>
                  <a:gd name="connsiteX13" fmla="*/ 1066368 w 1303338"/>
                  <a:gd name="connsiteY13" fmla="*/ 434975 h 468313"/>
                  <a:gd name="connsiteX14" fmla="*/ 1097060 w 1303338"/>
                  <a:gd name="connsiteY14" fmla="*/ 434975 h 468313"/>
                  <a:gd name="connsiteX15" fmla="*/ 1112762 w 1303338"/>
                  <a:gd name="connsiteY15" fmla="*/ 434975 h 468313"/>
                  <a:gd name="connsiteX16" fmla="*/ 1236244 w 1303338"/>
                  <a:gd name="connsiteY16" fmla="*/ 434975 h 468313"/>
                  <a:gd name="connsiteX17" fmla="*/ 1251947 w 1303338"/>
                  <a:gd name="connsiteY17" fmla="*/ 434975 h 468313"/>
                  <a:gd name="connsiteX18" fmla="*/ 1283353 w 1303338"/>
                  <a:gd name="connsiteY18" fmla="*/ 434975 h 468313"/>
                  <a:gd name="connsiteX19" fmla="*/ 1287635 w 1303338"/>
                  <a:gd name="connsiteY19" fmla="*/ 434975 h 468313"/>
                  <a:gd name="connsiteX20" fmla="*/ 1303338 w 1303338"/>
                  <a:gd name="connsiteY20" fmla="*/ 452015 h 468313"/>
                  <a:gd name="connsiteX21" fmla="*/ 1287635 w 1303338"/>
                  <a:gd name="connsiteY21" fmla="*/ 468313 h 468313"/>
                  <a:gd name="connsiteX22" fmla="*/ 1271219 w 1303338"/>
                  <a:gd name="connsiteY22" fmla="*/ 468313 h 468313"/>
                  <a:gd name="connsiteX23" fmla="*/ 1078502 w 1303338"/>
                  <a:gd name="connsiteY23" fmla="*/ 468313 h 468313"/>
                  <a:gd name="connsiteX24" fmla="*/ 387576 w 1303338"/>
                  <a:gd name="connsiteY24" fmla="*/ 468313 h 468313"/>
                  <a:gd name="connsiteX25" fmla="*/ 229119 w 1303338"/>
                  <a:gd name="connsiteY25" fmla="*/ 468313 h 468313"/>
                  <a:gd name="connsiteX26" fmla="*/ 194145 w 1303338"/>
                  <a:gd name="connsiteY26" fmla="*/ 468313 h 468313"/>
                  <a:gd name="connsiteX27" fmla="*/ 92790 w 1303338"/>
                  <a:gd name="connsiteY27" fmla="*/ 468313 h 468313"/>
                  <a:gd name="connsiteX28" fmla="*/ 15703 w 1303338"/>
                  <a:gd name="connsiteY28" fmla="*/ 468313 h 468313"/>
                  <a:gd name="connsiteX29" fmla="*/ 0 w 1303338"/>
                  <a:gd name="connsiteY29" fmla="*/ 452015 h 468313"/>
                  <a:gd name="connsiteX30" fmla="*/ 15703 w 1303338"/>
                  <a:gd name="connsiteY30" fmla="*/ 434975 h 468313"/>
                  <a:gd name="connsiteX31" fmla="*/ 1004888 w 1303338"/>
                  <a:gd name="connsiteY31" fmla="*/ 92075 h 468313"/>
                  <a:gd name="connsiteX32" fmla="*/ 1004888 w 1303338"/>
                  <a:gd name="connsiteY32" fmla="*/ 152400 h 468313"/>
                  <a:gd name="connsiteX33" fmla="*/ 1004888 w 1303338"/>
                  <a:gd name="connsiteY33" fmla="*/ 168200 h 468313"/>
                  <a:gd name="connsiteX34" fmla="*/ 1004888 w 1303338"/>
                  <a:gd name="connsiteY34" fmla="*/ 183281 h 468313"/>
                  <a:gd name="connsiteX35" fmla="*/ 1004888 w 1303338"/>
                  <a:gd name="connsiteY35" fmla="*/ 212725 h 468313"/>
                  <a:gd name="connsiteX36" fmla="*/ 1087591 w 1303338"/>
                  <a:gd name="connsiteY36" fmla="*/ 212725 h 468313"/>
                  <a:gd name="connsiteX37" fmla="*/ 1119674 w 1303338"/>
                  <a:gd name="connsiteY37" fmla="*/ 212725 h 468313"/>
                  <a:gd name="connsiteX38" fmla="*/ 1122525 w 1303338"/>
                  <a:gd name="connsiteY38" fmla="*/ 183281 h 468313"/>
                  <a:gd name="connsiteX39" fmla="*/ 1123951 w 1303338"/>
                  <a:gd name="connsiteY39" fmla="*/ 168200 h 468313"/>
                  <a:gd name="connsiteX40" fmla="*/ 1123238 w 1303338"/>
                  <a:gd name="connsiteY40" fmla="*/ 168200 h 468313"/>
                  <a:gd name="connsiteX41" fmla="*/ 1103276 w 1303338"/>
                  <a:gd name="connsiteY41" fmla="*/ 152400 h 468313"/>
                  <a:gd name="connsiteX42" fmla="*/ 1094720 w 1303338"/>
                  <a:gd name="connsiteY42" fmla="*/ 145937 h 468313"/>
                  <a:gd name="connsiteX43" fmla="*/ 1004888 w 1303338"/>
                  <a:gd name="connsiteY43" fmla="*/ 92075 h 468313"/>
                  <a:gd name="connsiteX44" fmla="*/ 460375 w 1303338"/>
                  <a:gd name="connsiteY44" fmla="*/ 92075 h 468313"/>
                  <a:gd name="connsiteX45" fmla="*/ 372091 w 1303338"/>
                  <a:gd name="connsiteY45" fmla="*/ 145937 h 468313"/>
                  <a:gd name="connsiteX46" fmla="*/ 342900 w 1303338"/>
                  <a:gd name="connsiteY46" fmla="*/ 168200 h 468313"/>
                  <a:gd name="connsiteX47" fmla="*/ 347172 w 1303338"/>
                  <a:gd name="connsiteY47" fmla="*/ 212725 h 468313"/>
                  <a:gd name="connsiteX48" fmla="*/ 378499 w 1303338"/>
                  <a:gd name="connsiteY48" fmla="*/ 212725 h 468313"/>
                  <a:gd name="connsiteX49" fmla="*/ 460375 w 1303338"/>
                  <a:gd name="connsiteY49" fmla="*/ 212725 h 468313"/>
                  <a:gd name="connsiteX50" fmla="*/ 460375 w 1303338"/>
                  <a:gd name="connsiteY50" fmla="*/ 92075 h 468313"/>
                  <a:gd name="connsiteX51" fmla="*/ 876300 w 1303338"/>
                  <a:gd name="connsiteY51" fmla="*/ 49213 h 468313"/>
                  <a:gd name="connsiteX52" fmla="*/ 876300 w 1303338"/>
                  <a:gd name="connsiteY52" fmla="*/ 153008 h 468313"/>
                  <a:gd name="connsiteX53" fmla="*/ 876300 w 1303338"/>
                  <a:gd name="connsiteY53" fmla="*/ 168649 h 468313"/>
                  <a:gd name="connsiteX54" fmla="*/ 876300 w 1303338"/>
                  <a:gd name="connsiteY54" fmla="*/ 183578 h 468313"/>
                  <a:gd name="connsiteX55" fmla="*/ 876300 w 1303338"/>
                  <a:gd name="connsiteY55" fmla="*/ 212726 h 468313"/>
                  <a:gd name="connsiteX56" fmla="*/ 973138 w 1303338"/>
                  <a:gd name="connsiteY56" fmla="*/ 212726 h 468313"/>
                  <a:gd name="connsiteX57" fmla="*/ 973138 w 1303338"/>
                  <a:gd name="connsiteY57" fmla="*/ 183578 h 468313"/>
                  <a:gd name="connsiteX58" fmla="*/ 973138 w 1303338"/>
                  <a:gd name="connsiteY58" fmla="*/ 168649 h 468313"/>
                  <a:gd name="connsiteX59" fmla="*/ 973138 w 1303338"/>
                  <a:gd name="connsiteY59" fmla="*/ 153008 h 468313"/>
                  <a:gd name="connsiteX60" fmla="*/ 973138 w 1303338"/>
                  <a:gd name="connsiteY60" fmla="*/ 79783 h 468313"/>
                  <a:gd name="connsiteX61" fmla="*/ 876300 w 1303338"/>
                  <a:gd name="connsiteY61" fmla="*/ 49213 h 468313"/>
                  <a:gd name="connsiteX62" fmla="*/ 588963 w 1303338"/>
                  <a:gd name="connsiteY62" fmla="*/ 49213 h 468313"/>
                  <a:gd name="connsiteX63" fmla="*/ 492125 w 1303338"/>
                  <a:gd name="connsiteY63" fmla="*/ 79783 h 468313"/>
                  <a:gd name="connsiteX64" fmla="*/ 492125 w 1303338"/>
                  <a:gd name="connsiteY64" fmla="*/ 212726 h 468313"/>
                  <a:gd name="connsiteX65" fmla="*/ 588963 w 1303338"/>
                  <a:gd name="connsiteY65" fmla="*/ 212726 h 468313"/>
                  <a:gd name="connsiteX66" fmla="*/ 588963 w 1303338"/>
                  <a:gd name="connsiteY66" fmla="*/ 49213 h 468313"/>
                  <a:gd name="connsiteX67" fmla="*/ 749300 w 1303338"/>
                  <a:gd name="connsiteY67" fmla="*/ 31750 h 468313"/>
                  <a:gd name="connsiteX68" fmla="*/ 749300 w 1303338"/>
                  <a:gd name="connsiteY68" fmla="*/ 212725 h 468313"/>
                  <a:gd name="connsiteX69" fmla="*/ 844550 w 1303338"/>
                  <a:gd name="connsiteY69" fmla="*/ 212725 h 468313"/>
                  <a:gd name="connsiteX70" fmla="*/ 844550 w 1303338"/>
                  <a:gd name="connsiteY70" fmla="*/ 183513 h 468313"/>
                  <a:gd name="connsiteX71" fmla="*/ 844550 w 1303338"/>
                  <a:gd name="connsiteY71" fmla="*/ 168550 h 468313"/>
                  <a:gd name="connsiteX72" fmla="*/ 844550 w 1303338"/>
                  <a:gd name="connsiteY72" fmla="*/ 152875 h 468313"/>
                  <a:gd name="connsiteX73" fmla="*/ 844550 w 1303338"/>
                  <a:gd name="connsiteY73" fmla="*/ 41725 h 468313"/>
                  <a:gd name="connsiteX74" fmla="*/ 821267 w 1303338"/>
                  <a:gd name="connsiteY74" fmla="*/ 38163 h 468313"/>
                  <a:gd name="connsiteX75" fmla="*/ 806450 w 1303338"/>
                  <a:gd name="connsiteY75" fmla="*/ 36025 h 468313"/>
                  <a:gd name="connsiteX76" fmla="*/ 790928 w 1303338"/>
                  <a:gd name="connsiteY76" fmla="*/ 34600 h 468313"/>
                  <a:gd name="connsiteX77" fmla="*/ 749300 w 1303338"/>
                  <a:gd name="connsiteY77" fmla="*/ 31750 h 468313"/>
                  <a:gd name="connsiteX78" fmla="*/ 717551 w 1303338"/>
                  <a:gd name="connsiteY78" fmla="*/ 31750 h 468313"/>
                  <a:gd name="connsiteX79" fmla="*/ 620713 w 1303338"/>
                  <a:gd name="connsiteY79" fmla="*/ 41725 h 468313"/>
                  <a:gd name="connsiteX80" fmla="*/ 620713 w 1303338"/>
                  <a:gd name="connsiteY80" fmla="*/ 212725 h 468313"/>
                  <a:gd name="connsiteX81" fmla="*/ 717551 w 1303338"/>
                  <a:gd name="connsiteY81" fmla="*/ 212725 h 468313"/>
                  <a:gd name="connsiteX82" fmla="*/ 717551 w 1303338"/>
                  <a:gd name="connsiteY82" fmla="*/ 31750 h 468313"/>
                  <a:gd name="connsiteX83" fmla="*/ 733426 w 1303338"/>
                  <a:gd name="connsiteY83" fmla="*/ 0 h 468313"/>
                  <a:gd name="connsiteX84" fmla="*/ 791228 w 1303338"/>
                  <a:gd name="connsiteY84" fmla="*/ 2855 h 468313"/>
                  <a:gd name="connsiteX85" fmla="*/ 806927 w 1303338"/>
                  <a:gd name="connsiteY85" fmla="*/ 4282 h 468313"/>
                  <a:gd name="connsiteX86" fmla="*/ 821913 w 1303338"/>
                  <a:gd name="connsiteY86" fmla="*/ 5710 h 468313"/>
                  <a:gd name="connsiteX87" fmla="*/ 861161 w 1303338"/>
                  <a:gd name="connsiteY87" fmla="*/ 12846 h 468313"/>
                  <a:gd name="connsiteX88" fmla="*/ 915395 w 1303338"/>
                  <a:gd name="connsiteY88" fmla="*/ 25692 h 468313"/>
                  <a:gd name="connsiteX89" fmla="*/ 993892 w 1303338"/>
                  <a:gd name="connsiteY89" fmla="*/ 54239 h 468313"/>
                  <a:gd name="connsiteX90" fmla="*/ 998174 w 1303338"/>
                  <a:gd name="connsiteY90" fmla="*/ 55667 h 468313"/>
                  <a:gd name="connsiteX91" fmla="*/ 1098792 w 1303338"/>
                  <a:gd name="connsiteY91" fmla="*/ 110619 h 468313"/>
                  <a:gd name="connsiteX92" fmla="*/ 1128050 w 1303338"/>
                  <a:gd name="connsiteY92" fmla="*/ 131316 h 468313"/>
                  <a:gd name="connsiteX93" fmla="*/ 1131618 w 1303338"/>
                  <a:gd name="connsiteY93" fmla="*/ 94919 h 468313"/>
                  <a:gd name="connsiteX94" fmla="*/ 1132332 w 1303338"/>
                  <a:gd name="connsiteY94" fmla="*/ 89209 h 468313"/>
                  <a:gd name="connsiteX95" fmla="*/ 1148031 w 1303338"/>
                  <a:gd name="connsiteY95" fmla="*/ 74936 h 468313"/>
                  <a:gd name="connsiteX96" fmla="*/ 1185139 w 1303338"/>
                  <a:gd name="connsiteY96" fmla="*/ 74936 h 468313"/>
                  <a:gd name="connsiteX97" fmla="*/ 1200838 w 1303338"/>
                  <a:gd name="connsiteY97" fmla="*/ 74936 h 468313"/>
                  <a:gd name="connsiteX98" fmla="*/ 1202979 w 1303338"/>
                  <a:gd name="connsiteY98" fmla="*/ 74936 h 468313"/>
                  <a:gd name="connsiteX99" fmla="*/ 1215824 w 1303338"/>
                  <a:gd name="connsiteY99" fmla="*/ 83500 h 468313"/>
                  <a:gd name="connsiteX100" fmla="*/ 1217965 w 1303338"/>
                  <a:gd name="connsiteY100" fmla="*/ 89209 h 468313"/>
                  <a:gd name="connsiteX101" fmla="*/ 1249363 w 1303338"/>
                  <a:gd name="connsiteY101" fmla="*/ 403225 h 468313"/>
                  <a:gd name="connsiteX102" fmla="*/ 1232950 w 1303338"/>
                  <a:gd name="connsiteY102" fmla="*/ 403225 h 468313"/>
                  <a:gd name="connsiteX103" fmla="*/ 1217251 w 1303338"/>
                  <a:gd name="connsiteY103" fmla="*/ 403225 h 468313"/>
                  <a:gd name="connsiteX104" fmla="*/ 1132332 w 1303338"/>
                  <a:gd name="connsiteY104" fmla="*/ 403225 h 468313"/>
                  <a:gd name="connsiteX105" fmla="*/ 1116632 w 1303338"/>
                  <a:gd name="connsiteY105" fmla="*/ 403225 h 468313"/>
                  <a:gd name="connsiteX106" fmla="*/ 1100933 w 1303338"/>
                  <a:gd name="connsiteY106" fmla="*/ 403225 h 468313"/>
                  <a:gd name="connsiteX107" fmla="*/ 1113778 w 1303338"/>
                  <a:gd name="connsiteY107" fmla="*/ 275478 h 468313"/>
                  <a:gd name="connsiteX108" fmla="*/ 1116632 w 1303338"/>
                  <a:gd name="connsiteY108" fmla="*/ 244076 h 468313"/>
                  <a:gd name="connsiteX109" fmla="*/ 1085234 w 1303338"/>
                  <a:gd name="connsiteY109" fmla="*/ 244076 h 468313"/>
                  <a:gd name="connsiteX110" fmla="*/ 382331 w 1303338"/>
                  <a:gd name="connsiteY110" fmla="*/ 244076 h 468313"/>
                  <a:gd name="connsiteX111" fmla="*/ 350219 w 1303338"/>
                  <a:gd name="connsiteY111" fmla="*/ 244076 h 468313"/>
                  <a:gd name="connsiteX112" fmla="*/ 353787 w 1303338"/>
                  <a:gd name="connsiteY112" fmla="*/ 275478 h 468313"/>
                  <a:gd name="connsiteX113" fmla="*/ 366632 w 1303338"/>
                  <a:gd name="connsiteY113" fmla="*/ 403225 h 468313"/>
                  <a:gd name="connsiteX114" fmla="*/ 350219 w 1303338"/>
                  <a:gd name="connsiteY114" fmla="*/ 403225 h 468313"/>
                  <a:gd name="connsiteX115" fmla="*/ 334520 w 1303338"/>
                  <a:gd name="connsiteY115" fmla="*/ 403225 h 468313"/>
                  <a:gd name="connsiteX116" fmla="*/ 251741 w 1303338"/>
                  <a:gd name="connsiteY116" fmla="*/ 403225 h 468313"/>
                  <a:gd name="connsiteX117" fmla="*/ 248887 w 1303338"/>
                  <a:gd name="connsiteY117" fmla="*/ 403225 h 468313"/>
                  <a:gd name="connsiteX118" fmla="*/ 236042 w 1303338"/>
                  <a:gd name="connsiteY118" fmla="*/ 403225 h 468313"/>
                  <a:gd name="connsiteX119" fmla="*/ 233188 w 1303338"/>
                  <a:gd name="connsiteY119" fmla="*/ 403225 h 468313"/>
                  <a:gd name="connsiteX120" fmla="*/ 219629 w 1303338"/>
                  <a:gd name="connsiteY120" fmla="*/ 403225 h 468313"/>
                  <a:gd name="connsiteX121" fmla="*/ 217488 w 1303338"/>
                  <a:gd name="connsiteY121" fmla="*/ 403225 h 468313"/>
                  <a:gd name="connsiteX122" fmla="*/ 248887 w 1303338"/>
                  <a:gd name="connsiteY122" fmla="*/ 89209 h 468313"/>
                  <a:gd name="connsiteX123" fmla="*/ 264586 w 1303338"/>
                  <a:gd name="connsiteY123" fmla="*/ 74936 h 468313"/>
                  <a:gd name="connsiteX124" fmla="*/ 319534 w 1303338"/>
                  <a:gd name="connsiteY124" fmla="*/ 74936 h 468313"/>
                  <a:gd name="connsiteX125" fmla="*/ 333806 w 1303338"/>
                  <a:gd name="connsiteY125" fmla="*/ 84213 h 468313"/>
                  <a:gd name="connsiteX126" fmla="*/ 335233 w 1303338"/>
                  <a:gd name="connsiteY126" fmla="*/ 89209 h 468313"/>
                  <a:gd name="connsiteX127" fmla="*/ 335947 w 1303338"/>
                  <a:gd name="connsiteY127" fmla="*/ 94919 h 468313"/>
                  <a:gd name="connsiteX128" fmla="*/ 335947 w 1303338"/>
                  <a:gd name="connsiteY128" fmla="*/ 99914 h 468313"/>
                  <a:gd name="connsiteX129" fmla="*/ 338088 w 1303338"/>
                  <a:gd name="connsiteY129" fmla="*/ 116329 h 468313"/>
                  <a:gd name="connsiteX130" fmla="*/ 339515 w 1303338"/>
                  <a:gd name="connsiteY130" fmla="*/ 131316 h 468313"/>
                  <a:gd name="connsiteX131" fmla="*/ 368773 w 1303338"/>
                  <a:gd name="connsiteY131" fmla="*/ 110619 h 468313"/>
                  <a:gd name="connsiteX132" fmla="*/ 398744 w 1303338"/>
                  <a:gd name="connsiteY132" fmla="*/ 91350 h 468313"/>
                  <a:gd name="connsiteX133" fmla="*/ 467964 w 1303338"/>
                  <a:gd name="connsiteY133" fmla="*/ 55667 h 468313"/>
                  <a:gd name="connsiteX134" fmla="*/ 472959 w 1303338"/>
                  <a:gd name="connsiteY134" fmla="*/ 54239 h 468313"/>
                  <a:gd name="connsiteX135" fmla="*/ 579287 w 1303338"/>
                  <a:gd name="connsiteY135" fmla="*/ 18556 h 468313"/>
                  <a:gd name="connsiteX136" fmla="*/ 733426 w 1303338"/>
                  <a:gd name="connsiteY136" fmla="*/ 0 h 46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1303338" h="468313">
                    <a:moveTo>
                      <a:pt x="15703" y="434975"/>
                    </a:moveTo>
                    <a:cubicBezTo>
                      <a:pt x="15703" y="434975"/>
                      <a:pt x="15703" y="434975"/>
                      <a:pt x="77087" y="434975"/>
                    </a:cubicBezTo>
                    <a:cubicBezTo>
                      <a:pt x="77087" y="434975"/>
                      <a:pt x="77087" y="434975"/>
                      <a:pt x="92790" y="434975"/>
                    </a:cubicBezTo>
                    <a:cubicBezTo>
                      <a:pt x="92790" y="434975"/>
                      <a:pt x="92790" y="434975"/>
                      <a:pt x="108493" y="434975"/>
                    </a:cubicBezTo>
                    <a:cubicBezTo>
                      <a:pt x="108493" y="434975"/>
                      <a:pt x="108493" y="434975"/>
                      <a:pt x="182011" y="434975"/>
                    </a:cubicBezTo>
                    <a:cubicBezTo>
                      <a:pt x="182011" y="434975"/>
                      <a:pt x="182011" y="434975"/>
                      <a:pt x="213416" y="434975"/>
                    </a:cubicBezTo>
                    <a:cubicBezTo>
                      <a:pt x="213416" y="434975"/>
                      <a:pt x="213416" y="434975"/>
                      <a:pt x="214844" y="434975"/>
                    </a:cubicBezTo>
                    <a:cubicBezTo>
                      <a:pt x="214844" y="434975"/>
                      <a:pt x="214844" y="434975"/>
                      <a:pt x="229119" y="434975"/>
                    </a:cubicBezTo>
                    <a:cubicBezTo>
                      <a:pt x="229119" y="434975"/>
                      <a:pt x="229119" y="434975"/>
                      <a:pt x="230547" y="434975"/>
                    </a:cubicBezTo>
                    <a:cubicBezTo>
                      <a:pt x="230547" y="434975"/>
                      <a:pt x="230547" y="434975"/>
                      <a:pt x="246964" y="434975"/>
                    </a:cubicBezTo>
                    <a:cubicBezTo>
                      <a:pt x="246964" y="434975"/>
                      <a:pt x="246964" y="434975"/>
                      <a:pt x="352601" y="434975"/>
                    </a:cubicBezTo>
                    <a:cubicBezTo>
                      <a:pt x="352601" y="434975"/>
                      <a:pt x="352601" y="434975"/>
                      <a:pt x="368304" y="434975"/>
                    </a:cubicBezTo>
                    <a:cubicBezTo>
                      <a:pt x="368304" y="434975"/>
                      <a:pt x="368304" y="434975"/>
                      <a:pt x="398996" y="434975"/>
                    </a:cubicBezTo>
                    <a:cubicBezTo>
                      <a:pt x="398996" y="434975"/>
                      <a:pt x="398996" y="434975"/>
                      <a:pt x="1066368" y="434975"/>
                    </a:cubicBezTo>
                    <a:cubicBezTo>
                      <a:pt x="1066368" y="434975"/>
                      <a:pt x="1066368" y="434975"/>
                      <a:pt x="1097060" y="434975"/>
                    </a:cubicBezTo>
                    <a:cubicBezTo>
                      <a:pt x="1097060" y="434975"/>
                      <a:pt x="1097060" y="434975"/>
                      <a:pt x="1112762" y="434975"/>
                    </a:cubicBezTo>
                    <a:cubicBezTo>
                      <a:pt x="1112762" y="434975"/>
                      <a:pt x="1112762" y="434975"/>
                      <a:pt x="1236244" y="434975"/>
                    </a:cubicBezTo>
                    <a:cubicBezTo>
                      <a:pt x="1236244" y="434975"/>
                      <a:pt x="1236244" y="434975"/>
                      <a:pt x="1251947" y="434975"/>
                    </a:cubicBezTo>
                    <a:cubicBezTo>
                      <a:pt x="1251947" y="434975"/>
                      <a:pt x="1251947" y="434975"/>
                      <a:pt x="1283353" y="434975"/>
                    </a:cubicBezTo>
                    <a:cubicBezTo>
                      <a:pt x="1283353" y="434975"/>
                      <a:pt x="1283353" y="434975"/>
                      <a:pt x="1287635" y="434975"/>
                    </a:cubicBezTo>
                    <a:cubicBezTo>
                      <a:pt x="1296201" y="434975"/>
                      <a:pt x="1303338" y="442384"/>
                      <a:pt x="1303338" y="452015"/>
                    </a:cubicBezTo>
                    <a:cubicBezTo>
                      <a:pt x="1303338" y="460905"/>
                      <a:pt x="1296201" y="468313"/>
                      <a:pt x="1287635" y="468313"/>
                    </a:cubicBezTo>
                    <a:cubicBezTo>
                      <a:pt x="1287635" y="468313"/>
                      <a:pt x="1287635" y="468313"/>
                      <a:pt x="1271219" y="468313"/>
                    </a:cubicBezTo>
                    <a:cubicBezTo>
                      <a:pt x="1271219" y="468313"/>
                      <a:pt x="1271219" y="468313"/>
                      <a:pt x="1078502" y="468313"/>
                    </a:cubicBezTo>
                    <a:cubicBezTo>
                      <a:pt x="1078502" y="468313"/>
                      <a:pt x="1078502" y="468313"/>
                      <a:pt x="387576" y="468313"/>
                    </a:cubicBezTo>
                    <a:cubicBezTo>
                      <a:pt x="387576" y="468313"/>
                      <a:pt x="387576" y="468313"/>
                      <a:pt x="229119" y="468313"/>
                    </a:cubicBezTo>
                    <a:cubicBezTo>
                      <a:pt x="229119" y="468313"/>
                      <a:pt x="229119" y="468313"/>
                      <a:pt x="194145" y="468313"/>
                    </a:cubicBezTo>
                    <a:cubicBezTo>
                      <a:pt x="194145" y="468313"/>
                      <a:pt x="194145" y="468313"/>
                      <a:pt x="92790" y="468313"/>
                    </a:cubicBezTo>
                    <a:cubicBezTo>
                      <a:pt x="92790" y="468313"/>
                      <a:pt x="92790" y="468313"/>
                      <a:pt x="15703" y="468313"/>
                    </a:cubicBezTo>
                    <a:cubicBezTo>
                      <a:pt x="7138" y="468313"/>
                      <a:pt x="0" y="460905"/>
                      <a:pt x="0" y="452015"/>
                    </a:cubicBezTo>
                    <a:cubicBezTo>
                      <a:pt x="0" y="442384"/>
                      <a:pt x="7138" y="434975"/>
                      <a:pt x="15703" y="434975"/>
                    </a:cubicBezTo>
                    <a:close/>
                    <a:moveTo>
                      <a:pt x="1004888" y="92075"/>
                    </a:moveTo>
                    <a:cubicBezTo>
                      <a:pt x="1004888" y="92075"/>
                      <a:pt x="1004888" y="92075"/>
                      <a:pt x="1004888" y="152400"/>
                    </a:cubicBezTo>
                    <a:cubicBezTo>
                      <a:pt x="1004888" y="152400"/>
                      <a:pt x="1004888" y="152400"/>
                      <a:pt x="1004888" y="168200"/>
                    </a:cubicBezTo>
                    <a:cubicBezTo>
                      <a:pt x="1004888" y="168200"/>
                      <a:pt x="1004888" y="168200"/>
                      <a:pt x="1004888" y="183281"/>
                    </a:cubicBezTo>
                    <a:cubicBezTo>
                      <a:pt x="1004888" y="183281"/>
                      <a:pt x="1004888" y="183281"/>
                      <a:pt x="1004888" y="212725"/>
                    </a:cubicBezTo>
                    <a:cubicBezTo>
                      <a:pt x="1004888" y="212725"/>
                      <a:pt x="1004888" y="212725"/>
                      <a:pt x="1087591" y="212725"/>
                    </a:cubicBezTo>
                    <a:cubicBezTo>
                      <a:pt x="1087591" y="212725"/>
                      <a:pt x="1087591" y="212725"/>
                      <a:pt x="1119674" y="212725"/>
                    </a:cubicBezTo>
                    <a:cubicBezTo>
                      <a:pt x="1119674" y="212725"/>
                      <a:pt x="1119674" y="212725"/>
                      <a:pt x="1122525" y="183281"/>
                    </a:cubicBezTo>
                    <a:cubicBezTo>
                      <a:pt x="1122525" y="183281"/>
                      <a:pt x="1122525" y="183281"/>
                      <a:pt x="1123951" y="168200"/>
                    </a:cubicBezTo>
                    <a:cubicBezTo>
                      <a:pt x="1123951" y="168200"/>
                      <a:pt x="1123951" y="168200"/>
                      <a:pt x="1123238" y="168200"/>
                    </a:cubicBezTo>
                    <a:cubicBezTo>
                      <a:pt x="1116822" y="162454"/>
                      <a:pt x="1109692" y="157427"/>
                      <a:pt x="1103276" y="152400"/>
                    </a:cubicBezTo>
                    <a:cubicBezTo>
                      <a:pt x="1100424" y="150246"/>
                      <a:pt x="1097572" y="148091"/>
                      <a:pt x="1094720" y="145937"/>
                    </a:cubicBezTo>
                    <a:cubicBezTo>
                      <a:pt x="1066202" y="125110"/>
                      <a:pt x="1036258" y="107875"/>
                      <a:pt x="1004888" y="92075"/>
                    </a:cubicBezTo>
                    <a:close/>
                    <a:moveTo>
                      <a:pt x="460375" y="92075"/>
                    </a:moveTo>
                    <a:cubicBezTo>
                      <a:pt x="429761" y="107875"/>
                      <a:pt x="400570" y="125110"/>
                      <a:pt x="372091" y="145937"/>
                    </a:cubicBezTo>
                    <a:cubicBezTo>
                      <a:pt x="362123" y="153118"/>
                      <a:pt x="352156" y="160300"/>
                      <a:pt x="342900" y="168200"/>
                    </a:cubicBezTo>
                    <a:cubicBezTo>
                      <a:pt x="342900" y="168200"/>
                      <a:pt x="342900" y="168200"/>
                      <a:pt x="347172" y="212725"/>
                    </a:cubicBezTo>
                    <a:cubicBezTo>
                      <a:pt x="347172" y="212725"/>
                      <a:pt x="347172" y="212725"/>
                      <a:pt x="378499" y="212725"/>
                    </a:cubicBezTo>
                    <a:cubicBezTo>
                      <a:pt x="378499" y="212725"/>
                      <a:pt x="378499" y="212725"/>
                      <a:pt x="460375" y="212725"/>
                    </a:cubicBezTo>
                    <a:cubicBezTo>
                      <a:pt x="460375" y="212725"/>
                      <a:pt x="460375" y="212725"/>
                      <a:pt x="460375" y="92075"/>
                    </a:cubicBezTo>
                    <a:close/>
                    <a:moveTo>
                      <a:pt x="876300" y="49213"/>
                    </a:moveTo>
                    <a:cubicBezTo>
                      <a:pt x="876300" y="49213"/>
                      <a:pt x="876300" y="49213"/>
                      <a:pt x="876300" y="153008"/>
                    </a:cubicBezTo>
                    <a:cubicBezTo>
                      <a:pt x="876300" y="153008"/>
                      <a:pt x="876300" y="153008"/>
                      <a:pt x="876300" y="168649"/>
                    </a:cubicBezTo>
                    <a:cubicBezTo>
                      <a:pt x="876300" y="168649"/>
                      <a:pt x="876300" y="168649"/>
                      <a:pt x="876300" y="183578"/>
                    </a:cubicBezTo>
                    <a:cubicBezTo>
                      <a:pt x="876300" y="183578"/>
                      <a:pt x="876300" y="183578"/>
                      <a:pt x="876300" y="212726"/>
                    </a:cubicBezTo>
                    <a:cubicBezTo>
                      <a:pt x="876300" y="212726"/>
                      <a:pt x="876300" y="212726"/>
                      <a:pt x="973138" y="212726"/>
                    </a:cubicBezTo>
                    <a:cubicBezTo>
                      <a:pt x="973138" y="212726"/>
                      <a:pt x="973138" y="212726"/>
                      <a:pt x="973138" y="183578"/>
                    </a:cubicBezTo>
                    <a:cubicBezTo>
                      <a:pt x="973138" y="183578"/>
                      <a:pt x="973138" y="183578"/>
                      <a:pt x="973138" y="168649"/>
                    </a:cubicBezTo>
                    <a:cubicBezTo>
                      <a:pt x="973138" y="168649"/>
                      <a:pt x="973138" y="168649"/>
                      <a:pt x="973138" y="153008"/>
                    </a:cubicBezTo>
                    <a:cubicBezTo>
                      <a:pt x="973138" y="153008"/>
                      <a:pt x="973138" y="153008"/>
                      <a:pt x="973138" y="79783"/>
                    </a:cubicBezTo>
                    <a:cubicBezTo>
                      <a:pt x="941808" y="66986"/>
                      <a:pt x="909766" y="56322"/>
                      <a:pt x="876300" y="49213"/>
                    </a:cubicBezTo>
                    <a:close/>
                    <a:moveTo>
                      <a:pt x="588963" y="49213"/>
                    </a:moveTo>
                    <a:cubicBezTo>
                      <a:pt x="556209" y="56322"/>
                      <a:pt x="523455" y="66986"/>
                      <a:pt x="492125" y="79783"/>
                    </a:cubicBezTo>
                    <a:cubicBezTo>
                      <a:pt x="492125" y="79783"/>
                      <a:pt x="492125" y="79783"/>
                      <a:pt x="492125" y="212726"/>
                    </a:cubicBezTo>
                    <a:cubicBezTo>
                      <a:pt x="492125" y="212726"/>
                      <a:pt x="492125" y="212726"/>
                      <a:pt x="588963" y="212726"/>
                    </a:cubicBezTo>
                    <a:cubicBezTo>
                      <a:pt x="588963" y="212726"/>
                      <a:pt x="588963" y="212726"/>
                      <a:pt x="588963" y="49213"/>
                    </a:cubicBezTo>
                    <a:close/>
                    <a:moveTo>
                      <a:pt x="749300" y="31750"/>
                    </a:moveTo>
                    <a:cubicBezTo>
                      <a:pt x="749300" y="31750"/>
                      <a:pt x="749300" y="31750"/>
                      <a:pt x="749300" y="212725"/>
                    </a:cubicBezTo>
                    <a:cubicBezTo>
                      <a:pt x="749300" y="212725"/>
                      <a:pt x="749300" y="212725"/>
                      <a:pt x="844550" y="212725"/>
                    </a:cubicBezTo>
                    <a:cubicBezTo>
                      <a:pt x="844550" y="212725"/>
                      <a:pt x="844550" y="212725"/>
                      <a:pt x="844550" y="183513"/>
                    </a:cubicBezTo>
                    <a:cubicBezTo>
                      <a:pt x="844550" y="183513"/>
                      <a:pt x="844550" y="183513"/>
                      <a:pt x="844550" y="168550"/>
                    </a:cubicBezTo>
                    <a:cubicBezTo>
                      <a:pt x="844550" y="168550"/>
                      <a:pt x="844550" y="168550"/>
                      <a:pt x="844550" y="152875"/>
                    </a:cubicBezTo>
                    <a:cubicBezTo>
                      <a:pt x="844550" y="152875"/>
                      <a:pt x="844550" y="152875"/>
                      <a:pt x="844550" y="41725"/>
                    </a:cubicBezTo>
                    <a:cubicBezTo>
                      <a:pt x="836789" y="40300"/>
                      <a:pt x="829028" y="38875"/>
                      <a:pt x="821267" y="38163"/>
                    </a:cubicBezTo>
                    <a:cubicBezTo>
                      <a:pt x="816328" y="37450"/>
                      <a:pt x="811389" y="36738"/>
                      <a:pt x="806450" y="36025"/>
                    </a:cubicBezTo>
                    <a:cubicBezTo>
                      <a:pt x="801511" y="35313"/>
                      <a:pt x="795867" y="34600"/>
                      <a:pt x="790928" y="34600"/>
                    </a:cubicBezTo>
                    <a:cubicBezTo>
                      <a:pt x="777522" y="33175"/>
                      <a:pt x="763411" y="32463"/>
                      <a:pt x="749300" y="31750"/>
                    </a:cubicBezTo>
                    <a:close/>
                    <a:moveTo>
                      <a:pt x="717551" y="31750"/>
                    </a:moveTo>
                    <a:cubicBezTo>
                      <a:pt x="684797" y="32463"/>
                      <a:pt x="652755" y="36025"/>
                      <a:pt x="620713" y="41725"/>
                    </a:cubicBezTo>
                    <a:cubicBezTo>
                      <a:pt x="620713" y="41725"/>
                      <a:pt x="620713" y="41725"/>
                      <a:pt x="620713" y="212725"/>
                    </a:cubicBezTo>
                    <a:cubicBezTo>
                      <a:pt x="620713" y="212725"/>
                      <a:pt x="620713" y="212725"/>
                      <a:pt x="717551" y="212725"/>
                    </a:cubicBezTo>
                    <a:cubicBezTo>
                      <a:pt x="717551" y="212725"/>
                      <a:pt x="717551" y="212725"/>
                      <a:pt x="717551" y="31750"/>
                    </a:cubicBezTo>
                    <a:close/>
                    <a:moveTo>
                      <a:pt x="733426" y="0"/>
                    </a:moveTo>
                    <a:cubicBezTo>
                      <a:pt x="752693" y="0"/>
                      <a:pt x="771960" y="714"/>
                      <a:pt x="791228" y="2855"/>
                    </a:cubicBezTo>
                    <a:cubicBezTo>
                      <a:pt x="796223" y="2855"/>
                      <a:pt x="801932" y="3568"/>
                      <a:pt x="806927" y="4282"/>
                    </a:cubicBezTo>
                    <a:cubicBezTo>
                      <a:pt x="811922" y="4996"/>
                      <a:pt x="816918" y="5710"/>
                      <a:pt x="821913" y="5710"/>
                    </a:cubicBezTo>
                    <a:cubicBezTo>
                      <a:pt x="834758" y="7851"/>
                      <a:pt x="848316" y="9992"/>
                      <a:pt x="861161" y="12846"/>
                    </a:cubicBezTo>
                    <a:cubicBezTo>
                      <a:pt x="879715" y="16415"/>
                      <a:pt x="897555" y="20697"/>
                      <a:pt x="915395" y="25692"/>
                    </a:cubicBezTo>
                    <a:cubicBezTo>
                      <a:pt x="941799" y="33543"/>
                      <a:pt x="968202" y="42820"/>
                      <a:pt x="993892" y="54239"/>
                    </a:cubicBezTo>
                    <a:cubicBezTo>
                      <a:pt x="995319" y="54239"/>
                      <a:pt x="996747" y="54953"/>
                      <a:pt x="998174" y="55667"/>
                    </a:cubicBezTo>
                    <a:cubicBezTo>
                      <a:pt x="1033140" y="70654"/>
                      <a:pt x="1066680" y="89209"/>
                      <a:pt x="1098792" y="110619"/>
                    </a:cubicBezTo>
                    <a:cubicBezTo>
                      <a:pt x="1108783" y="117042"/>
                      <a:pt x="1118060" y="124179"/>
                      <a:pt x="1128050" y="131316"/>
                    </a:cubicBezTo>
                    <a:cubicBezTo>
                      <a:pt x="1128050" y="131316"/>
                      <a:pt x="1128050" y="131316"/>
                      <a:pt x="1131618" y="94919"/>
                    </a:cubicBezTo>
                    <a:cubicBezTo>
                      <a:pt x="1131618" y="94919"/>
                      <a:pt x="1131618" y="94919"/>
                      <a:pt x="1132332" y="89209"/>
                    </a:cubicBezTo>
                    <a:cubicBezTo>
                      <a:pt x="1133045" y="81359"/>
                      <a:pt x="1139468" y="74936"/>
                      <a:pt x="1148031" y="74936"/>
                    </a:cubicBezTo>
                    <a:cubicBezTo>
                      <a:pt x="1148031" y="74936"/>
                      <a:pt x="1148031" y="74936"/>
                      <a:pt x="1185139" y="74936"/>
                    </a:cubicBezTo>
                    <a:cubicBezTo>
                      <a:pt x="1185139" y="74936"/>
                      <a:pt x="1185139" y="74936"/>
                      <a:pt x="1200838" y="74936"/>
                    </a:cubicBezTo>
                    <a:cubicBezTo>
                      <a:pt x="1200838" y="74936"/>
                      <a:pt x="1200838" y="74936"/>
                      <a:pt x="1202979" y="74936"/>
                    </a:cubicBezTo>
                    <a:cubicBezTo>
                      <a:pt x="1208688" y="74936"/>
                      <a:pt x="1213683" y="78504"/>
                      <a:pt x="1215824" y="83500"/>
                    </a:cubicBezTo>
                    <a:cubicBezTo>
                      <a:pt x="1217251" y="84927"/>
                      <a:pt x="1217965" y="87068"/>
                      <a:pt x="1217965" y="89209"/>
                    </a:cubicBezTo>
                    <a:cubicBezTo>
                      <a:pt x="1217965" y="89209"/>
                      <a:pt x="1217965" y="89209"/>
                      <a:pt x="1249363" y="403225"/>
                    </a:cubicBezTo>
                    <a:cubicBezTo>
                      <a:pt x="1249363" y="403225"/>
                      <a:pt x="1249363" y="403225"/>
                      <a:pt x="1232950" y="403225"/>
                    </a:cubicBezTo>
                    <a:cubicBezTo>
                      <a:pt x="1232950" y="403225"/>
                      <a:pt x="1232950" y="403225"/>
                      <a:pt x="1217251" y="403225"/>
                    </a:cubicBezTo>
                    <a:cubicBezTo>
                      <a:pt x="1217251" y="403225"/>
                      <a:pt x="1217251" y="403225"/>
                      <a:pt x="1132332" y="403225"/>
                    </a:cubicBezTo>
                    <a:cubicBezTo>
                      <a:pt x="1132332" y="403225"/>
                      <a:pt x="1132332" y="403225"/>
                      <a:pt x="1116632" y="403225"/>
                    </a:cubicBezTo>
                    <a:cubicBezTo>
                      <a:pt x="1116632" y="403225"/>
                      <a:pt x="1116632" y="403225"/>
                      <a:pt x="1100933" y="403225"/>
                    </a:cubicBezTo>
                    <a:cubicBezTo>
                      <a:pt x="1100933" y="403225"/>
                      <a:pt x="1100933" y="403225"/>
                      <a:pt x="1113778" y="275478"/>
                    </a:cubicBezTo>
                    <a:cubicBezTo>
                      <a:pt x="1113778" y="275478"/>
                      <a:pt x="1113778" y="275478"/>
                      <a:pt x="1116632" y="244076"/>
                    </a:cubicBezTo>
                    <a:cubicBezTo>
                      <a:pt x="1116632" y="244076"/>
                      <a:pt x="1116632" y="244076"/>
                      <a:pt x="1085234" y="244076"/>
                    </a:cubicBezTo>
                    <a:cubicBezTo>
                      <a:pt x="1085234" y="244076"/>
                      <a:pt x="1085234" y="244076"/>
                      <a:pt x="382331" y="244076"/>
                    </a:cubicBezTo>
                    <a:cubicBezTo>
                      <a:pt x="382331" y="244076"/>
                      <a:pt x="382331" y="244076"/>
                      <a:pt x="350219" y="244076"/>
                    </a:cubicBezTo>
                    <a:cubicBezTo>
                      <a:pt x="350219" y="244076"/>
                      <a:pt x="350219" y="244076"/>
                      <a:pt x="353787" y="275478"/>
                    </a:cubicBezTo>
                    <a:cubicBezTo>
                      <a:pt x="353787" y="275478"/>
                      <a:pt x="353787" y="275478"/>
                      <a:pt x="366632" y="403225"/>
                    </a:cubicBezTo>
                    <a:cubicBezTo>
                      <a:pt x="366632" y="403225"/>
                      <a:pt x="366632" y="403225"/>
                      <a:pt x="350219" y="403225"/>
                    </a:cubicBezTo>
                    <a:cubicBezTo>
                      <a:pt x="350219" y="403225"/>
                      <a:pt x="350219" y="403225"/>
                      <a:pt x="334520" y="403225"/>
                    </a:cubicBezTo>
                    <a:cubicBezTo>
                      <a:pt x="334520" y="403225"/>
                      <a:pt x="334520" y="403225"/>
                      <a:pt x="251741" y="403225"/>
                    </a:cubicBezTo>
                    <a:cubicBezTo>
                      <a:pt x="251741" y="403225"/>
                      <a:pt x="251741" y="403225"/>
                      <a:pt x="248887" y="403225"/>
                    </a:cubicBezTo>
                    <a:cubicBezTo>
                      <a:pt x="248887" y="403225"/>
                      <a:pt x="248887" y="403225"/>
                      <a:pt x="236042" y="403225"/>
                    </a:cubicBezTo>
                    <a:cubicBezTo>
                      <a:pt x="236042" y="403225"/>
                      <a:pt x="236042" y="403225"/>
                      <a:pt x="233188" y="403225"/>
                    </a:cubicBezTo>
                    <a:cubicBezTo>
                      <a:pt x="233188" y="403225"/>
                      <a:pt x="233188" y="403225"/>
                      <a:pt x="219629" y="403225"/>
                    </a:cubicBezTo>
                    <a:cubicBezTo>
                      <a:pt x="219629" y="403225"/>
                      <a:pt x="219629" y="403225"/>
                      <a:pt x="217488" y="403225"/>
                    </a:cubicBezTo>
                    <a:cubicBezTo>
                      <a:pt x="217488" y="403225"/>
                      <a:pt x="217488" y="403225"/>
                      <a:pt x="248887" y="89209"/>
                    </a:cubicBezTo>
                    <a:cubicBezTo>
                      <a:pt x="249601" y="81359"/>
                      <a:pt x="256023" y="74936"/>
                      <a:pt x="264586" y="74936"/>
                    </a:cubicBezTo>
                    <a:cubicBezTo>
                      <a:pt x="264586" y="74936"/>
                      <a:pt x="264586" y="74936"/>
                      <a:pt x="319534" y="74936"/>
                    </a:cubicBezTo>
                    <a:cubicBezTo>
                      <a:pt x="325956" y="74936"/>
                      <a:pt x="330952" y="78504"/>
                      <a:pt x="333806" y="84213"/>
                    </a:cubicBezTo>
                    <a:cubicBezTo>
                      <a:pt x="334520" y="85641"/>
                      <a:pt x="335233" y="87068"/>
                      <a:pt x="335233" y="89209"/>
                    </a:cubicBezTo>
                    <a:cubicBezTo>
                      <a:pt x="335233" y="89209"/>
                      <a:pt x="335233" y="89209"/>
                      <a:pt x="335947" y="94919"/>
                    </a:cubicBezTo>
                    <a:cubicBezTo>
                      <a:pt x="335947" y="94919"/>
                      <a:pt x="335947" y="94919"/>
                      <a:pt x="335947" y="99914"/>
                    </a:cubicBezTo>
                    <a:cubicBezTo>
                      <a:pt x="335947" y="99914"/>
                      <a:pt x="335947" y="99914"/>
                      <a:pt x="338088" y="116329"/>
                    </a:cubicBezTo>
                    <a:cubicBezTo>
                      <a:pt x="338088" y="116329"/>
                      <a:pt x="338088" y="116329"/>
                      <a:pt x="339515" y="131316"/>
                    </a:cubicBezTo>
                    <a:cubicBezTo>
                      <a:pt x="348792" y="124179"/>
                      <a:pt x="358782" y="117042"/>
                      <a:pt x="368773" y="110619"/>
                    </a:cubicBezTo>
                    <a:cubicBezTo>
                      <a:pt x="378763" y="103483"/>
                      <a:pt x="388754" y="97773"/>
                      <a:pt x="398744" y="91350"/>
                    </a:cubicBezTo>
                    <a:cubicBezTo>
                      <a:pt x="420866" y="77790"/>
                      <a:pt x="444415" y="66372"/>
                      <a:pt x="467964" y="55667"/>
                    </a:cubicBezTo>
                    <a:cubicBezTo>
                      <a:pt x="469391" y="54953"/>
                      <a:pt x="470819" y="54239"/>
                      <a:pt x="472959" y="54239"/>
                    </a:cubicBezTo>
                    <a:cubicBezTo>
                      <a:pt x="507212" y="39252"/>
                      <a:pt x="542893" y="27120"/>
                      <a:pt x="579287" y="18556"/>
                    </a:cubicBezTo>
                    <a:cubicBezTo>
                      <a:pt x="629239" y="6423"/>
                      <a:pt x="681332" y="0"/>
                      <a:pt x="733426"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173" name="Freeform 14">
                <a:extLst>
                  <a:ext uri="{FF2B5EF4-FFF2-40B4-BE49-F238E27FC236}">
                    <a16:creationId xmlns:a16="http://schemas.microsoft.com/office/drawing/2014/main" id="{668A9983-5141-4664-9120-0E8546679ABC}"/>
                  </a:ext>
                </a:extLst>
              </p:cNvPr>
              <p:cNvSpPr>
                <a:spLocks/>
              </p:cNvSpPr>
              <p:nvPr/>
            </p:nvSpPr>
            <p:spPr bwMode="auto">
              <a:xfrm>
                <a:off x="5521325" y="2725738"/>
                <a:ext cx="1139825" cy="1290638"/>
              </a:xfrm>
              <a:custGeom>
                <a:avLst/>
                <a:gdLst>
                  <a:gd name="connsiteX0" fmla="*/ 958086 w 1139825"/>
                  <a:gd name="connsiteY0" fmla="*/ 833437 h 1290638"/>
                  <a:gd name="connsiteX1" fmla="*/ 950913 w 1139825"/>
                  <a:gd name="connsiteY1" fmla="*/ 840524 h 1290638"/>
                  <a:gd name="connsiteX2" fmla="*/ 950913 w 1139825"/>
                  <a:gd name="connsiteY2" fmla="*/ 905725 h 1290638"/>
                  <a:gd name="connsiteX3" fmla="*/ 958086 w 1139825"/>
                  <a:gd name="connsiteY3" fmla="*/ 912812 h 1290638"/>
                  <a:gd name="connsiteX4" fmla="*/ 1062804 w 1139825"/>
                  <a:gd name="connsiteY4" fmla="*/ 912812 h 1290638"/>
                  <a:gd name="connsiteX5" fmla="*/ 1069976 w 1139825"/>
                  <a:gd name="connsiteY5" fmla="*/ 905725 h 1290638"/>
                  <a:gd name="connsiteX6" fmla="*/ 1069976 w 1139825"/>
                  <a:gd name="connsiteY6" fmla="*/ 840524 h 1290638"/>
                  <a:gd name="connsiteX7" fmla="*/ 1062804 w 1139825"/>
                  <a:gd name="connsiteY7" fmla="*/ 833437 h 1290638"/>
                  <a:gd name="connsiteX8" fmla="*/ 958086 w 1139825"/>
                  <a:gd name="connsiteY8" fmla="*/ 833437 h 1290638"/>
                  <a:gd name="connsiteX9" fmla="*/ 453345 w 1139825"/>
                  <a:gd name="connsiteY9" fmla="*/ 769937 h 1290638"/>
                  <a:gd name="connsiteX10" fmla="*/ 446088 w 1139825"/>
                  <a:gd name="connsiteY10" fmla="*/ 777024 h 1290638"/>
                  <a:gd name="connsiteX11" fmla="*/ 446088 w 1139825"/>
                  <a:gd name="connsiteY11" fmla="*/ 842225 h 1290638"/>
                  <a:gd name="connsiteX12" fmla="*/ 453345 w 1139825"/>
                  <a:gd name="connsiteY12" fmla="*/ 849312 h 1290638"/>
                  <a:gd name="connsiteX13" fmla="*/ 489631 w 1139825"/>
                  <a:gd name="connsiteY13" fmla="*/ 849312 h 1290638"/>
                  <a:gd name="connsiteX14" fmla="*/ 496888 w 1139825"/>
                  <a:gd name="connsiteY14" fmla="*/ 842225 h 1290638"/>
                  <a:gd name="connsiteX15" fmla="*/ 496888 w 1139825"/>
                  <a:gd name="connsiteY15" fmla="*/ 777024 h 1290638"/>
                  <a:gd name="connsiteX16" fmla="*/ 489631 w 1139825"/>
                  <a:gd name="connsiteY16" fmla="*/ 769937 h 1290638"/>
                  <a:gd name="connsiteX17" fmla="*/ 453345 w 1139825"/>
                  <a:gd name="connsiteY17" fmla="*/ 769937 h 1290638"/>
                  <a:gd name="connsiteX18" fmla="*/ 362631 w 1139825"/>
                  <a:gd name="connsiteY18" fmla="*/ 769937 h 1290638"/>
                  <a:gd name="connsiteX19" fmla="*/ 355600 w 1139825"/>
                  <a:gd name="connsiteY19" fmla="*/ 777024 h 1290638"/>
                  <a:gd name="connsiteX20" fmla="*/ 355600 w 1139825"/>
                  <a:gd name="connsiteY20" fmla="*/ 842225 h 1290638"/>
                  <a:gd name="connsiteX21" fmla="*/ 362631 w 1139825"/>
                  <a:gd name="connsiteY21" fmla="*/ 849312 h 1290638"/>
                  <a:gd name="connsiteX22" fmla="*/ 397783 w 1139825"/>
                  <a:gd name="connsiteY22" fmla="*/ 849312 h 1290638"/>
                  <a:gd name="connsiteX23" fmla="*/ 404813 w 1139825"/>
                  <a:gd name="connsiteY23" fmla="*/ 842225 h 1290638"/>
                  <a:gd name="connsiteX24" fmla="*/ 404813 w 1139825"/>
                  <a:gd name="connsiteY24" fmla="*/ 777024 h 1290638"/>
                  <a:gd name="connsiteX25" fmla="*/ 397783 w 1139825"/>
                  <a:gd name="connsiteY25" fmla="*/ 769937 h 1290638"/>
                  <a:gd name="connsiteX26" fmla="*/ 362631 w 1139825"/>
                  <a:gd name="connsiteY26" fmla="*/ 769937 h 1290638"/>
                  <a:gd name="connsiteX27" fmla="*/ 272246 w 1139825"/>
                  <a:gd name="connsiteY27" fmla="*/ 769937 h 1290638"/>
                  <a:gd name="connsiteX28" fmla="*/ 265113 w 1139825"/>
                  <a:gd name="connsiteY28" fmla="*/ 777024 h 1290638"/>
                  <a:gd name="connsiteX29" fmla="*/ 265113 w 1139825"/>
                  <a:gd name="connsiteY29" fmla="*/ 842225 h 1290638"/>
                  <a:gd name="connsiteX30" fmla="*/ 272246 w 1139825"/>
                  <a:gd name="connsiteY30" fmla="*/ 849312 h 1290638"/>
                  <a:gd name="connsiteX31" fmla="*/ 307194 w 1139825"/>
                  <a:gd name="connsiteY31" fmla="*/ 849312 h 1290638"/>
                  <a:gd name="connsiteX32" fmla="*/ 314326 w 1139825"/>
                  <a:gd name="connsiteY32" fmla="*/ 842225 h 1290638"/>
                  <a:gd name="connsiteX33" fmla="*/ 314326 w 1139825"/>
                  <a:gd name="connsiteY33" fmla="*/ 777024 h 1290638"/>
                  <a:gd name="connsiteX34" fmla="*/ 307194 w 1139825"/>
                  <a:gd name="connsiteY34" fmla="*/ 769937 h 1290638"/>
                  <a:gd name="connsiteX35" fmla="*/ 272246 w 1139825"/>
                  <a:gd name="connsiteY35" fmla="*/ 769937 h 1290638"/>
                  <a:gd name="connsiteX36" fmla="*/ 181882 w 1139825"/>
                  <a:gd name="connsiteY36" fmla="*/ 769937 h 1290638"/>
                  <a:gd name="connsiteX37" fmla="*/ 174625 w 1139825"/>
                  <a:gd name="connsiteY37" fmla="*/ 777024 h 1290638"/>
                  <a:gd name="connsiteX38" fmla="*/ 174625 w 1139825"/>
                  <a:gd name="connsiteY38" fmla="*/ 842225 h 1290638"/>
                  <a:gd name="connsiteX39" fmla="*/ 181882 w 1139825"/>
                  <a:gd name="connsiteY39" fmla="*/ 849312 h 1290638"/>
                  <a:gd name="connsiteX40" fmla="*/ 218168 w 1139825"/>
                  <a:gd name="connsiteY40" fmla="*/ 849312 h 1290638"/>
                  <a:gd name="connsiteX41" fmla="*/ 225425 w 1139825"/>
                  <a:gd name="connsiteY41" fmla="*/ 842225 h 1290638"/>
                  <a:gd name="connsiteX42" fmla="*/ 225425 w 1139825"/>
                  <a:gd name="connsiteY42" fmla="*/ 777024 h 1290638"/>
                  <a:gd name="connsiteX43" fmla="*/ 218168 w 1139825"/>
                  <a:gd name="connsiteY43" fmla="*/ 769937 h 1290638"/>
                  <a:gd name="connsiteX44" fmla="*/ 181882 w 1139825"/>
                  <a:gd name="connsiteY44" fmla="*/ 769937 h 1290638"/>
                  <a:gd name="connsiteX45" fmla="*/ 91395 w 1139825"/>
                  <a:gd name="connsiteY45" fmla="*/ 769937 h 1290638"/>
                  <a:gd name="connsiteX46" fmla="*/ 84138 w 1139825"/>
                  <a:gd name="connsiteY46" fmla="*/ 777024 h 1290638"/>
                  <a:gd name="connsiteX47" fmla="*/ 84138 w 1139825"/>
                  <a:gd name="connsiteY47" fmla="*/ 842225 h 1290638"/>
                  <a:gd name="connsiteX48" fmla="*/ 91395 w 1139825"/>
                  <a:gd name="connsiteY48" fmla="*/ 849312 h 1290638"/>
                  <a:gd name="connsiteX49" fmla="*/ 127681 w 1139825"/>
                  <a:gd name="connsiteY49" fmla="*/ 849312 h 1290638"/>
                  <a:gd name="connsiteX50" fmla="*/ 134938 w 1139825"/>
                  <a:gd name="connsiteY50" fmla="*/ 842225 h 1290638"/>
                  <a:gd name="connsiteX51" fmla="*/ 134938 w 1139825"/>
                  <a:gd name="connsiteY51" fmla="*/ 777024 h 1290638"/>
                  <a:gd name="connsiteX52" fmla="*/ 127681 w 1139825"/>
                  <a:gd name="connsiteY52" fmla="*/ 769937 h 1290638"/>
                  <a:gd name="connsiteX53" fmla="*/ 91395 w 1139825"/>
                  <a:gd name="connsiteY53" fmla="*/ 769937 h 1290638"/>
                  <a:gd name="connsiteX54" fmla="*/ 958086 w 1139825"/>
                  <a:gd name="connsiteY54" fmla="*/ 714375 h 1290638"/>
                  <a:gd name="connsiteX55" fmla="*/ 950913 w 1139825"/>
                  <a:gd name="connsiteY55" fmla="*/ 721604 h 1290638"/>
                  <a:gd name="connsiteX56" fmla="*/ 950913 w 1139825"/>
                  <a:gd name="connsiteY56" fmla="*/ 788109 h 1290638"/>
                  <a:gd name="connsiteX57" fmla="*/ 958086 w 1139825"/>
                  <a:gd name="connsiteY57" fmla="*/ 795338 h 1290638"/>
                  <a:gd name="connsiteX58" fmla="*/ 1062804 w 1139825"/>
                  <a:gd name="connsiteY58" fmla="*/ 795338 h 1290638"/>
                  <a:gd name="connsiteX59" fmla="*/ 1069976 w 1139825"/>
                  <a:gd name="connsiteY59" fmla="*/ 788109 h 1290638"/>
                  <a:gd name="connsiteX60" fmla="*/ 1069976 w 1139825"/>
                  <a:gd name="connsiteY60" fmla="*/ 721604 h 1290638"/>
                  <a:gd name="connsiteX61" fmla="*/ 1062804 w 1139825"/>
                  <a:gd name="connsiteY61" fmla="*/ 714375 h 1290638"/>
                  <a:gd name="connsiteX62" fmla="*/ 958086 w 1139825"/>
                  <a:gd name="connsiteY62" fmla="*/ 714375 h 1290638"/>
                  <a:gd name="connsiteX63" fmla="*/ 792890 w 1139825"/>
                  <a:gd name="connsiteY63" fmla="*/ 714375 h 1290638"/>
                  <a:gd name="connsiteX64" fmla="*/ 785813 w 1139825"/>
                  <a:gd name="connsiteY64" fmla="*/ 721604 h 1290638"/>
                  <a:gd name="connsiteX65" fmla="*/ 785813 w 1139825"/>
                  <a:gd name="connsiteY65" fmla="*/ 788109 h 1290638"/>
                  <a:gd name="connsiteX66" fmla="*/ 792890 w 1139825"/>
                  <a:gd name="connsiteY66" fmla="*/ 795338 h 1290638"/>
                  <a:gd name="connsiteX67" fmla="*/ 896211 w 1139825"/>
                  <a:gd name="connsiteY67" fmla="*/ 795338 h 1290638"/>
                  <a:gd name="connsiteX68" fmla="*/ 903288 w 1139825"/>
                  <a:gd name="connsiteY68" fmla="*/ 788109 h 1290638"/>
                  <a:gd name="connsiteX69" fmla="*/ 903288 w 1139825"/>
                  <a:gd name="connsiteY69" fmla="*/ 721604 h 1290638"/>
                  <a:gd name="connsiteX70" fmla="*/ 896211 w 1139825"/>
                  <a:gd name="connsiteY70" fmla="*/ 714375 h 1290638"/>
                  <a:gd name="connsiteX71" fmla="*/ 792890 w 1139825"/>
                  <a:gd name="connsiteY71" fmla="*/ 714375 h 1290638"/>
                  <a:gd name="connsiteX72" fmla="*/ 453345 w 1139825"/>
                  <a:gd name="connsiteY72" fmla="*/ 628650 h 1290638"/>
                  <a:gd name="connsiteX73" fmla="*/ 446088 w 1139825"/>
                  <a:gd name="connsiteY73" fmla="*/ 635801 h 1290638"/>
                  <a:gd name="connsiteX74" fmla="*/ 446088 w 1139825"/>
                  <a:gd name="connsiteY74" fmla="*/ 700874 h 1290638"/>
                  <a:gd name="connsiteX75" fmla="*/ 453345 w 1139825"/>
                  <a:gd name="connsiteY75" fmla="*/ 708025 h 1290638"/>
                  <a:gd name="connsiteX76" fmla="*/ 489631 w 1139825"/>
                  <a:gd name="connsiteY76" fmla="*/ 708025 h 1290638"/>
                  <a:gd name="connsiteX77" fmla="*/ 496888 w 1139825"/>
                  <a:gd name="connsiteY77" fmla="*/ 700874 h 1290638"/>
                  <a:gd name="connsiteX78" fmla="*/ 496888 w 1139825"/>
                  <a:gd name="connsiteY78" fmla="*/ 635801 h 1290638"/>
                  <a:gd name="connsiteX79" fmla="*/ 489631 w 1139825"/>
                  <a:gd name="connsiteY79" fmla="*/ 628650 h 1290638"/>
                  <a:gd name="connsiteX80" fmla="*/ 453345 w 1139825"/>
                  <a:gd name="connsiteY80" fmla="*/ 628650 h 1290638"/>
                  <a:gd name="connsiteX81" fmla="*/ 362631 w 1139825"/>
                  <a:gd name="connsiteY81" fmla="*/ 628650 h 1290638"/>
                  <a:gd name="connsiteX82" fmla="*/ 355600 w 1139825"/>
                  <a:gd name="connsiteY82" fmla="*/ 635801 h 1290638"/>
                  <a:gd name="connsiteX83" fmla="*/ 355600 w 1139825"/>
                  <a:gd name="connsiteY83" fmla="*/ 700874 h 1290638"/>
                  <a:gd name="connsiteX84" fmla="*/ 362631 w 1139825"/>
                  <a:gd name="connsiteY84" fmla="*/ 708025 h 1290638"/>
                  <a:gd name="connsiteX85" fmla="*/ 397783 w 1139825"/>
                  <a:gd name="connsiteY85" fmla="*/ 708025 h 1290638"/>
                  <a:gd name="connsiteX86" fmla="*/ 404813 w 1139825"/>
                  <a:gd name="connsiteY86" fmla="*/ 700874 h 1290638"/>
                  <a:gd name="connsiteX87" fmla="*/ 404813 w 1139825"/>
                  <a:gd name="connsiteY87" fmla="*/ 635801 h 1290638"/>
                  <a:gd name="connsiteX88" fmla="*/ 397783 w 1139825"/>
                  <a:gd name="connsiteY88" fmla="*/ 628650 h 1290638"/>
                  <a:gd name="connsiteX89" fmla="*/ 362631 w 1139825"/>
                  <a:gd name="connsiteY89" fmla="*/ 628650 h 1290638"/>
                  <a:gd name="connsiteX90" fmla="*/ 272246 w 1139825"/>
                  <a:gd name="connsiteY90" fmla="*/ 628650 h 1290638"/>
                  <a:gd name="connsiteX91" fmla="*/ 265113 w 1139825"/>
                  <a:gd name="connsiteY91" fmla="*/ 635801 h 1290638"/>
                  <a:gd name="connsiteX92" fmla="*/ 265113 w 1139825"/>
                  <a:gd name="connsiteY92" fmla="*/ 700874 h 1290638"/>
                  <a:gd name="connsiteX93" fmla="*/ 272246 w 1139825"/>
                  <a:gd name="connsiteY93" fmla="*/ 708025 h 1290638"/>
                  <a:gd name="connsiteX94" fmla="*/ 307194 w 1139825"/>
                  <a:gd name="connsiteY94" fmla="*/ 708025 h 1290638"/>
                  <a:gd name="connsiteX95" fmla="*/ 314326 w 1139825"/>
                  <a:gd name="connsiteY95" fmla="*/ 700874 h 1290638"/>
                  <a:gd name="connsiteX96" fmla="*/ 314326 w 1139825"/>
                  <a:gd name="connsiteY96" fmla="*/ 635801 h 1290638"/>
                  <a:gd name="connsiteX97" fmla="*/ 307194 w 1139825"/>
                  <a:gd name="connsiteY97" fmla="*/ 628650 h 1290638"/>
                  <a:gd name="connsiteX98" fmla="*/ 272246 w 1139825"/>
                  <a:gd name="connsiteY98" fmla="*/ 628650 h 1290638"/>
                  <a:gd name="connsiteX99" fmla="*/ 181882 w 1139825"/>
                  <a:gd name="connsiteY99" fmla="*/ 628650 h 1290638"/>
                  <a:gd name="connsiteX100" fmla="*/ 174625 w 1139825"/>
                  <a:gd name="connsiteY100" fmla="*/ 635801 h 1290638"/>
                  <a:gd name="connsiteX101" fmla="*/ 174625 w 1139825"/>
                  <a:gd name="connsiteY101" fmla="*/ 700874 h 1290638"/>
                  <a:gd name="connsiteX102" fmla="*/ 181882 w 1139825"/>
                  <a:gd name="connsiteY102" fmla="*/ 708025 h 1290638"/>
                  <a:gd name="connsiteX103" fmla="*/ 218168 w 1139825"/>
                  <a:gd name="connsiteY103" fmla="*/ 708025 h 1290638"/>
                  <a:gd name="connsiteX104" fmla="*/ 225425 w 1139825"/>
                  <a:gd name="connsiteY104" fmla="*/ 700874 h 1290638"/>
                  <a:gd name="connsiteX105" fmla="*/ 225425 w 1139825"/>
                  <a:gd name="connsiteY105" fmla="*/ 635801 h 1290638"/>
                  <a:gd name="connsiteX106" fmla="*/ 218168 w 1139825"/>
                  <a:gd name="connsiteY106" fmla="*/ 628650 h 1290638"/>
                  <a:gd name="connsiteX107" fmla="*/ 181882 w 1139825"/>
                  <a:gd name="connsiteY107" fmla="*/ 628650 h 1290638"/>
                  <a:gd name="connsiteX108" fmla="*/ 958086 w 1139825"/>
                  <a:gd name="connsiteY108" fmla="*/ 596900 h 1290638"/>
                  <a:gd name="connsiteX109" fmla="*/ 950913 w 1139825"/>
                  <a:gd name="connsiteY109" fmla="*/ 603987 h 1290638"/>
                  <a:gd name="connsiteX110" fmla="*/ 950913 w 1139825"/>
                  <a:gd name="connsiteY110" fmla="*/ 669188 h 1290638"/>
                  <a:gd name="connsiteX111" fmla="*/ 958086 w 1139825"/>
                  <a:gd name="connsiteY111" fmla="*/ 676275 h 1290638"/>
                  <a:gd name="connsiteX112" fmla="*/ 1062804 w 1139825"/>
                  <a:gd name="connsiteY112" fmla="*/ 676275 h 1290638"/>
                  <a:gd name="connsiteX113" fmla="*/ 1069976 w 1139825"/>
                  <a:gd name="connsiteY113" fmla="*/ 669188 h 1290638"/>
                  <a:gd name="connsiteX114" fmla="*/ 1069976 w 1139825"/>
                  <a:gd name="connsiteY114" fmla="*/ 603987 h 1290638"/>
                  <a:gd name="connsiteX115" fmla="*/ 1062804 w 1139825"/>
                  <a:gd name="connsiteY115" fmla="*/ 596900 h 1290638"/>
                  <a:gd name="connsiteX116" fmla="*/ 958086 w 1139825"/>
                  <a:gd name="connsiteY116" fmla="*/ 596900 h 1290638"/>
                  <a:gd name="connsiteX117" fmla="*/ 792890 w 1139825"/>
                  <a:gd name="connsiteY117" fmla="*/ 596900 h 1290638"/>
                  <a:gd name="connsiteX118" fmla="*/ 785813 w 1139825"/>
                  <a:gd name="connsiteY118" fmla="*/ 603987 h 1290638"/>
                  <a:gd name="connsiteX119" fmla="*/ 785813 w 1139825"/>
                  <a:gd name="connsiteY119" fmla="*/ 669188 h 1290638"/>
                  <a:gd name="connsiteX120" fmla="*/ 792890 w 1139825"/>
                  <a:gd name="connsiteY120" fmla="*/ 676275 h 1290638"/>
                  <a:gd name="connsiteX121" fmla="*/ 896211 w 1139825"/>
                  <a:gd name="connsiteY121" fmla="*/ 676275 h 1290638"/>
                  <a:gd name="connsiteX122" fmla="*/ 903288 w 1139825"/>
                  <a:gd name="connsiteY122" fmla="*/ 669188 h 1290638"/>
                  <a:gd name="connsiteX123" fmla="*/ 903288 w 1139825"/>
                  <a:gd name="connsiteY123" fmla="*/ 603987 h 1290638"/>
                  <a:gd name="connsiteX124" fmla="*/ 896211 w 1139825"/>
                  <a:gd name="connsiteY124" fmla="*/ 596900 h 1290638"/>
                  <a:gd name="connsiteX125" fmla="*/ 792890 w 1139825"/>
                  <a:gd name="connsiteY125" fmla="*/ 596900 h 1290638"/>
                  <a:gd name="connsiteX126" fmla="*/ 453345 w 1139825"/>
                  <a:gd name="connsiteY126" fmla="*/ 487362 h 1290638"/>
                  <a:gd name="connsiteX127" fmla="*/ 446088 w 1139825"/>
                  <a:gd name="connsiteY127" fmla="*/ 494513 h 1290638"/>
                  <a:gd name="connsiteX128" fmla="*/ 446088 w 1139825"/>
                  <a:gd name="connsiteY128" fmla="*/ 559586 h 1290638"/>
                  <a:gd name="connsiteX129" fmla="*/ 453345 w 1139825"/>
                  <a:gd name="connsiteY129" fmla="*/ 566737 h 1290638"/>
                  <a:gd name="connsiteX130" fmla="*/ 489631 w 1139825"/>
                  <a:gd name="connsiteY130" fmla="*/ 566737 h 1290638"/>
                  <a:gd name="connsiteX131" fmla="*/ 496888 w 1139825"/>
                  <a:gd name="connsiteY131" fmla="*/ 559586 h 1290638"/>
                  <a:gd name="connsiteX132" fmla="*/ 496888 w 1139825"/>
                  <a:gd name="connsiteY132" fmla="*/ 494513 h 1290638"/>
                  <a:gd name="connsiteX133" fmla="*/ 489631 w 1139825"/>
                  <a:gd name="connsiteY133" fmla="*/ 487362 h 1290638"/>
                  <a:gd name="connsiteX134" fmla="*/ 453345 w 1139825"/>
                  <a:gd name="connsiteY134" fmla="*/ 487362 h 1290638"/>
                  <a:gd name="connsiteX135" fmla="*/ 362631 w 1139825"/>
                  <a:gd name="connsiteY135" fmla="*/ 487362 h 1290638"/>
                  <a:gd name="connsiteX136" fmla="*/ 355600 w 1139825"/>
                  <a:gd name="connsiteY136" fmla="*/ 494513 h 1290638"/>
                  <a:gd name="connsiteX137" fmla="*/ 355600 w 1139825"/>
                  <a:gd name="connsiteY137" fmla="*/ 559586 h 1290638"/>
                  <a:gd name="connsiteX138" fmla="*/ 362631 w 1139825"/>
                  <a:gd name="connsiteY138" fmla="*/ 566737 h 1290638"/>
                  <a:gd name="connsiteX139" fmla="*/ 397783 w 1139825"/>
                  <a:gd name="connsiteY139" fmla="*/ 566737 h 1290638"/>
                  <a:gd name="connsiteX140" fmla="*/ 404813 w 1139825"/>
                  <a:gd name="connsiteY140" fmla="*/ 559586 h 1290638"/>
                  <a:gd name="connsiteX141" fmla="*/ 404813 w 1139825"/>
                  <a:gd name="connsiteY141" fmla="*/ 494513 h 1290638"/>
                  <a:gd name="connsiteX142" fmla="*/ 397783 w 1139825"/>
                  <a:gd name="connsiteY142" fmla="*/ 487362 h 1290638"/>
                  <a:gd name="connsiteX143" fmla="*/ 362631 w 1139825"/>
                  <a:gd name="connsiteY143" fmla="*/ 487362 h 1290638"/>
                  <a:gd name="connsiteX144" fmla="*/ 272246 w 1139825"/>
                  <a:gd name="connsiteY144" fmla="*/ 487362 h 1290638"/>
                  <a:gd name="connsiteX145" fmla="*/ 265113 w 1139825"/>
                  <a:gd name="connsiteY145" fmla="*/ 494513 h 1290638"/>
                  <a:gd name="connsiteX146" fmla="*/ 265113 w 1139825"/>
                  <a:gd name="connsiteY146" fmla="*/ 559586 h 1290638"/>
                  <a:gd name="connsiteX147" fmla="*/ 272246 w 1139825"/>
                  <a:gd name="connsiteY147" fmla="*/ 566737 h 1290638"/>
                  <a:gd name="connsiteX148" fmla="*/ 307194 w 1139825"/>
                  <a:gd name="connsiteY148" fmla="*/ 566737 h 1290638"/>
                  <a:gd name="connsiteX149" fmla="*/ 314326 w 1139825"/>
                  <a:gd name="connsiteY149" fmla="*/ 559586 h 1290638"/>
                  <a:gd name="connsiteX150" fmla="*/ 314326 w 1139825"/>
                  <a:gd name="connsiteY150" fmla="*/ 494513 h 1290638"/>
                  <a:gd name="connsiteX151" fmla="*/ 307194 w 1139825"/>
                  <a:gd name="connsiteY151" fmla="*/ 487362 h 1290638"/>
                  <a:gd name="connsiteX152" fmla="*/ 272246 w 1139825"/>
                  <a:gd name="connsiteY152" fmla="*/ 487362 h 1290638"/>
                  <a:gd name="connsiteX153" fmla="*/ 958086 w 1139825"/>
                  <a:gd name="connsiteY153" fmla="*/ 477837 h 1290638"/>
                  <a:gd name="connsiteX154" fmla="*/ 950913 w 1139825"/>
                  <a:gd name="connsiteY154" fmla="*/ 484924 h 1290638"/>
                  <a:gd name="connsiteX155" fmla="*/ 950913 w 1139825"/>
                  <a:gd name="connsiteY155" fmla="*/ 550125 h 1290638"/>
                  <a:gd name="connsiteX156" fmla="*/ 958086 w 1139825"/>
                  <a:gd name="connsiteY156" fmla="*/ 557212 h 1290638"/>
                  <a:gd name="connsiteX157" fmla="*/ 1062804 w 1139825"/>
                  <a:gd name="connsiteY157" fmla="*/ 557212 h 1290638"/>
                  <a:gd name="connsiteX158" fmla="*/ 1069976 w 1139825"/>
                  <a:gd name="connsiteY158" fmla="*/ 550125 h 1290638"/>
                  <a:gd name="connsiteX159" fmla="*/ 1069976 w 1139825"/>
                  <a:gd name="connsiteY159" fmla="*/ 484924 h 1290638"/>
                  <a:gd name="connsiteX160" fmla="*/ 1062804 w 1139825"/>
                  <a:gd name="connsiteY160" fmla="*/ 477837 h 1290638"/>
                  <a:gd name="connsiteX161" fmla="*/ 958086 w 1139825"/>
                  <a:gd name="connsiteY161" fmla="*/ 477837 h 1290638"/>
                  <a:gd name="connsiteX162" fmla="*/ 792890 w 1139825"/>
                  <a:gd name="connsiteY162" fmla="*/ 477837 h 1290638"/>
                  <a:gd name="connsiteX163" fmla="*/ 785813 w 1139825"/>
                  <a:gd name="connsiteY163" fmla="*/ 484924 h 1290638"/>
                  <a:gd name="connsiteX164" fmla="*/ 785813 w 1139825"/>
                  <a:gd name="connsiteY164" fmla="*/ 550125 h 1290638"/>
                  <a:gd name="connsiteX165" fmla="*/ 792890 w 1139825"/>
                  <a:gd name="connsiteY165" fmla="*/ 557212 h 1290638"/>
                  <a:gd name="connsiteX166" fmla="*/ 896211 w 1139825"/>
                  <a:gd name="connsiteY166" fmla="*/ 557212 h 1290638"/>
                  <a:gd name="connsiteX167" fmla="*/ 903288 w 1139825"/>
                  <a:gd name="connsiteY167" fmla="*/ 550125 h 1290638"/>
                  <a:gd name="connsiteX168" fmla="*/ 903288 w 1139825"/>
                  <a:gd name="connsiteY168" fmla="*/ 484924 h 1290638"/>
                  <a:gd name="connsiteX169" fmla="*/ 896211 w 1139825"/>
                  <a:gd name="connsiteY169" fmla="*/ 477837 h 1290638"/>
                  <a:gd name="connsiteX170" fmla="*/ 792890 w 1139825"/>
                  <a:gd name="connsiteY170" fmla="*/ 477837 h 1290638"/>
                  <a:gd name="connsiteX171" fmla="*/ 958086 w 1139825"/>
                  <a:gd name="connsiteY171" fmla="*/ 358775 h 1290638"/>
                  <a:gd name="connsiteX172" fmla="*/ 950913 w 1139825"/>
                  <a:gd name="connsiteY172" fmla="*/ 366004 h 1290638"/>
                  <a:gd name="connsiteX173" fmla="*/ 950913 w 1139825"/>
                  <a:gd name="connsiteY173" fmla="*/ 432509 h 1290638"/>
                  <a:gd name="connsiteX174" fmla="*/ 958086 w 1139825"/>
                  <a:gd name="connsiteY174" fmla="*/ 439738 h 1290638"/>
                  <a:gd name="connsiteX175" fmla="*/ 1062804 w 1139825"/>
                  <a:gd name="connsiteY175" fmla="*/ 439738 h 1290638"/>
                  <a:gd name="connsiteX176" fmla="*/ 1069976 w 1139825"/>
                  <a:gd name="connsiteY176" fmla="*/ 432509 h 1290638"/>
                  <a:gd name="connsiteX177" fmla="*/ 1069976 w 1139825"/>
                  <a:gd name="connsiteY177" fmla="*/ 366004 h 1290638"/>
                  <a:gd name="connsiteX178" fmla="*/ 1062804 w 1139825"/>
                  <a:gd name="connsiteY178" fmla="*/ 358775 h 1290638"/>
                  <a:gd name="connsiteX179" fmla="*/ 958086 w 1139825"/>
                  <a:gd name="connsiteY179" fmla="*/ 358775 h 1290638"/>
                  <a:gd name="connsiteX180" fmla="*/ 792890 w 1139825"/>
                  <a:gd name="connsiteY180" fmla="*/ 358775 h 1290638"/>
                  <a:gd name="connsiteX181" fmla="*/ 785813 w 1139825"/>
                  <a:gd name="connsiteY181" fmla="*/ 366004 h 1290638"/>
                  <a:gd name="connsiteX182" fmla="*/ 785813 w 1139825"/>
                  <a:gd name="connsiteY182" fmla="*/ 432509 h 1290638"/>
                  <a:gd name="connsiteX183" fmla="*/ 792890 w 1139825"/>
                  <a:gd name="connsiteY183" fmla="*/ 439738 h 1290638"/>
                  <a:gd name="connsiteX184" fmla="*/ 896211 w 1139825"/>
                  <a:gd name="connsiteY184" fmla="*/ 439738 h 1290638"/>
                  <a:gd name="connsiteX185" fmla="*/ 903288 w 1139825"/>
                  <a:gd name="connsiteY185" fmla="*/ 432509 h 1290638"/>
                  <a:gd name="connsiteX186" fmla="*/ 903288 w 1139825"/>
                  <a:gd name="connsiteY186" fmla="*/ 366004 h 1290638"/>
                  <a:gd name="connsiteX187" fmla="*/ 896211 w 1139825"/>
                  <a:gd name="connsiteY187" fmla="*/ 358775 h 1290638"/>
                  <a:gd name="connsiteX188" fmla="*/ 792890 w 1139825"/>
                  <a:gd name="connsiteY188" fmla="*/ 358775 h 1290638"/>
                  <a:gd name="connsiteX189" fmla="*/ 453345 w 1139825"/>
                  <a:gd name="connsiteY189" fmla="*/ 346075 h 1290638"/>
                  <a:gd name="connsiteX190" fmla="*/ 446088 w 1139825"/>
                  <a:gd name="connsiteY190" fmla="*/ 353304 h 1290638"/>
                  <a:gd name="connsiteX191" fmla="*/ 446088 w 1139825"/>
                  <a:gd name="connsiteY191" fmla="*/ 419809 h 1290638"/>
                  <a:gd name="connsiteX192" fmla="*/ 453345 w 1139825"/>
                  <a:gd name="connsiteY192" fmla="*/ 427038 h 1290638"/>
                  <a:gd name="connsiteX193" fmla="*/ 489631 w 1139825"/>
                  <a:gd name="connsiteY193" fmla="*/ 427038 h 1290638"/>
                  <a:gd name="connsiteX194" fmla="*/ 496888 w 1139825"/>
                  <a:gd name="connsiteY194" fmla="*/ 419809 h 1290638"/>
                  <a:gd name="connsiteX195" fmla="*/ 496888 w 1139825"/>
                  <a:gd name="connsiteY195" fmla="*/ 353304 h 1290638"/>
                  <a:gd name="connsiteX196" fmla="*/ 489631 w 1139825"/>
                  <a:gd name="connsiteY196" fmla="*/ 346075 h 1290638"/>
                  <a:gd name="connsiteX197" fmla="*/ 453345 w 1139825"/>
                  <a:gd name="connsiteY197" fmla="*/ 346075 h 1290638"/>
                  <a:gd name="connsiteX198" fmla="*/ 362631 w 1139825"/>
                  <a:gd name="connsiteY198" fmla="*/ 346075 h 1290638"/>
                  <a:gd name="connsiteX199" fmla="*/ 355600 w 1139825"/>
                  <a:gd name="connsiteY199" fmla="*/ 353304 h 1290638"/>
                  <a:gd name="connsiteX200" fmla="*/ 355600 w 1139825"/>
                  <a:gd name="connsiteY200" fmla="*/ 419809 h 1290638"/>
                  <a:gd name="connsiteX201" fmla="*/ 362631 w 1139825"/>
                  <a:gd name="connsiteY201" fmla="*/ 427038 h 1290638"/>
                  <a:gd name="connsiteX202" fmla="*/ 397783 w 1139825"/>
                  <a:gd name="connsiteY202" fmla="*/ 427038 h 1290638"/>
                  <a:gd name="connsiteX203" fmla="*/ 404813 w 1139825"/>
                  <a:gd name="connsiteY203" fmla="*/ 419809 h 1290638"/>
                  <a:gd name="connsiteX204" fmla="*/ 404813 w 1139825"/>
                  <a:gd name="connsiteY204" fmla="*/ 353304 h 1290638"/>
                  <a:gd name="connsiteX205" fmla="*/ 397783 w 1139825"/>
                  <a:gd name="connsiteY205" fmla="*/ 346075 h 1290638"/>
                  <a:gd name="connsiteX206" fmla="*/ 362631 w 1139825"/>
                  <a:gd name="connsiteY206" fmla="*/ 346075 h 1290638"/>
                  <a:gd name="connsiteX207" fmla="*/ 285558 w 1139825"/>
                  <a:gd name="connsiteY207" fmla="*/ 266700 h 1290638"/>
                  <a:gd name="connsiteX208" fmla="*/ 573258 w 1139825"/>
                  <a:gd name="connsiteY208" fmla="*/ 266700 h 1290638"/>
                  <a:gd name="connsiteX209" fmla="*/ 588963 w 1139825"/>
                  <a:gd name="connsiteY209" fmla="*/ 282398 h 1290638"/>
                  <a:gd name="connsiteX210" fmla="*/ 588963 w 1139825"/>
                  <a:gd name="connsiteY210" fmla="*/ 858229 h 1290638"/>
                  <a:gd name="connsiteX211" fmla="*/ 566832 w 1139825"/>
                  <a:gd name="connsiteY211" fmla="*/ 861084 h 1290638"/>
                  <a:gd name="connsiteX212" fmla="*/ 491160 w 1139825"/>
                  <a:gd name="connsiteY212" fmla="*/ 874641 h 1290638"/>
                  <a:gd name="connsiteX213" fmla="*/ 305547 w 1139825"/>
                  <a:gd name="connsiteY213" fmla="*/ 950277 h 1290638"/>
                  <a:gd name="connsiteX214" fmla="*/ 285558 w 1139825"/>
                  <a:gd name="connsiteY214" fmla="*/ 962407 h 1290638"/>
                  <a:gd name="connsiteX215" fmla="*/ 284130 w 1139825"/>
                  <a:gd name="connsiteY215" fmla="*/ 958839 h 1290638"/>
                  <a:gd name="connsiteX216" fmla="*/ 240583 w 1139825"/>
                  <a:gd name="connsiteY216" fmla="*/ 930298 h 1290638"/>
                  <a:gd name="connsiteX217" fmla="*/ 185613 w 1139825"/>
                  <a:gd name="connsiteY217" fmla="*/ 930298 h 1290638"/>
                  <a:gd name="connsiteX218" fmla="*/ 138496 w 1139825"/>
                  <a:gd name="connsiteY218" fmla="*/ 973110 h 1290638"/>
                  <a:gd name="connsiteX219" fmla="*/ 107084 w 1139825"/>
                  <a:gd name="connsiteY219" fmla="*/ 1290638 h 1290638"/>
                  <a:gd name="connsiteX220" fmla="*/ 31412 w 1139825"/>
                  <a:gd name="connsiteY220" fmla="*/ 1290638 h 1290638"/>
                  <a:gd name="connsiteX221" fmla="*/ 15706 w 1139825"/>
                  <a:gd name="connsiteY221" fmla="*/ 1290638 h 1290638"/>
                  <a:gd name="connsiteX222" fmla="*/ 0 w 1139825"/>
                  <a:gd name="connsiteY222" fmla="*/ 1290638 h 1290638"/>
                  <a:gd name="connsiteX223" fmla="*/ 0 w 1139825"/>
                  <a:gd name="connsiteY223" fmla="*/ 788302 h 1290638"/>
                  <a:gd name="connsiteX224" fmla="*/ 2142 w 1139825"/>
                  <a:gd name="connsiteY224" fmla="*/ 780453 h 1290638"/>
                  <a:gd name="connsiteX225" fmla="*/ 269852 w 1139825"/>
                  <a:gd name="connsiteY225" fmla="*/ 343763 h 1290638"/>
                  <a:gd name="connsiteX226" fmla="*/ 269852 w 1139825"/>
                  <a:gd name="connsiteY226" fmla="*/ 282398 h 1290638"/>
                  <a:gd name="connsiteX227" fmla="*/ 285558 w 1139825"/>
                  <a:gd name="connsiteY227" fmla="*/ 266700 h 1290638"/>
                  <a:gd name="connsiteX228" fmla="*/ 958086 w 1139825"/>
                  <a:gd name="connsiteY228" fmla="*/ 241300 h 1290638"/>
                  <a:gd name="connsiteX229" fmla="*/ 950913 w 1139825"/>
                  <a:gd name="connsiteY229" fmla="*/ 248387 h 1290638"/>
                  <a:gd name="connsiteX230" fmla="*/ 950913 w 1139825"/>
                  <a:gd name="connsiteY230" fmla="*/ 313588 h 1290638"/>
                  <a:gd name="connsiteX231" fmla="*/ 958086 w 1139825"/>
                  <a:gd name="connsiteY231" fmla="*/ 320675 h 1290638"/>
                  <a:gd name="connsiteX232" fmla="*/ 1062804 w 1139825"/>
                  <a:gd name="connsiteY232" fmla="*/ 320675 h 1290638"/>
                  <a:gd name="connsiteX233" fmla="*/ 1069976 w 1139825"/>
                  <a:gd name="connsiteY233" fmla="*/ 313588 h 1290638"/>
                  <a:gd name="connsiteX234" fmla="*/ 1069976 w 1139825"/>
                  <a:gd name="connsiteY234" fmla="*/ 248387 h 1290638"/>
                  <a:gd name="connsiteX235" fmla="*/ 1062804 w 1139825"/>
                  <a:gd name="connsiteY235" fmla="*/ 241300 h 1290638"/>
                  <a:gd name="connsiteX236" fmla="*/ 958086 w 1139825"/>
                  <a:gd name="connsiteY236" fmla="*/ 241300 h 1290638"/>
                  <a:gd name="connsiteX237" fmla="*/ 792890 w 1139825"/>
                  <a:gd name="connsiteY237" fmla="*/ 241300 h 1290638"/>
                  <a:gd name="connsiteX238" fmla="*/ 785813 w 1139825"/>
                  <a:gd name="connsiteY238" fmla="*/ 248387 h 1290638"/>
                  <a:gd name="connsiteX239" fmla="*/ 785813 w 1139825"/>
                  <a:gd name="connsiteY239" fmla="*/ 313588 h 1290638"/>
                  <a:gd name="connsiteX240" fmla="*/ 792890 w 1139825"/>
                  <a:gd name="connsiteY240" fmla="*/ 320675 h 1290638"/>
                  <a:gd name="connsiteX241" fmla="*/ 896211 w 1139825"/>
                  <a:gd name="connsiteY241" fmla="*/ 320675 h 1290638"/>
                  <a:gd name="connsiteX242" fmla="*/ 903288 w 1139825"/>
                  <a:gd name="connsiteY242" fmla="*/ 313588 h 1290638"/>
                  <a:gd name="connsiteX243" fmla="*/ 903288 w 1139825"/>
                  <a:gd name="connsiteY243" fmla="*/ 248387 h 1290638"/>
                  <a:gd name="connsiteX244" fmla="*/ 896211 w 1139825"/>
                  <a:gd name="connsiteY244" fmla="*/ 241300 h 1290638"/>
                  <a:gd name="connsiteX245" fmla="*/ 792890 w 1139825"/>
                  <a:gd name="connsiteY245" fmla="*/ 241300 h 1290638"/>
                  <a:gd name="connsiteX246" fmla="*/ 927458 w 1139825"/>
                  <a:gd name="connsiteY246" fmla="*/ 0 h 1290638"/>
                  <a:gd name="connsiteX247" fmla="*/ 943189 w 1139825"/>
                  <a:gd name="connsiteY247" fmla="*/ 15692 h 1290638"/>
                  <a:gd name="connsiteX248" fmla="*/ 943189 w 1139825"/>
                  <a:gd name="connsiteY248" fmla="*/ 108416 h 1290638"/>
                  <a:gd name="connsiteX249" fmla="*/ 1081192 w 1139825"/>
                  <a:gd name="connsiteY249" fmla="*/ 108416 h 1290638"/>
                  <a:gd name="connsiteX250" fmla="*/ 1096923 w 1139825"/>
                  <a:gd name="connsiteY250" fmla="*/ 124107 h 1290638"/>
                  <a:gd name="connsiteX251" fmla="*/ 1096923 w 1139825"/>
                  <a:gd name="connsiteY251" fmla="*/ 169043 h 1290638"/>
                  <a:gd name="connsiteX252" fmla="*/ 1124809 w 1139825"/>
                  <a:gd name="connsiteY252" fmla="*/ 169043 h 1290638"/>
                  <a:gd name="connsiteX253" fmla="*/ 1139825 w 1139825"/>
                  <a:gd name="connsiteY253" fmla="*/ 184734 h 1290638"/>
                  <a:gd name="connsiteX254" fmla="*/ 1139825 w 1139825"/>
                  <a:gd name="connsiteY254" fmla="*/ 933656 h 1290638"/>
                  <a:gd name="connsiteX255" fmla="*/ 1126954 w 1139825"/>
                  <a:gd name="connsiteY255" fmla="*/ 931516 h 1290638"/>
                  <a:gd name="connsiteX256" fmla="*/ 1124809 w 1139825"/>
                  <a:gd name="connsiteY256" fmla="*/ 931516 h 1290638"/>
                  <a:gd name="connsiteX257" fmla="*/ 1109078 w 1139825"/>
                  <a:gd name="connsiteY257" fmla="*/ 931516 h 1290638"/>
                  <a:gd name="connsiteX258" fmla="*/ 1071896 w 1139825"/>
                  <a:gd name="connsiteY258" fmla="*/ 931516 h 1290638"/>
                  <a:gd name="connsiteX259" fmla="*/ 1026849 w 1139825"/>
                  <a:gd name="connsiteY259" fmla="*/ 963613 h 1290638"/>
                  <a:gd name="connsiteX260" fmla="*/ 903861 w 1139825"/>
                  <a:gd name="connsiteY260" fmla="*/ 901560 h 1290638"/>
                  <a:gd name="connsiteX261" fmla="*/ 903861 w 1139825"/>
                  <a:gd name="connsiteY261" fmla="*/ 840219 h 1290638"/>
                  <a:gd name="connsiteX262" fmla="*/ 896711 w 1139825"/>
                  <a:gd name="connsiteY262" fmla="*/ 833087 h 1290638"/>
                  <a:gd name="connsiteX263" fmla="*/ 792315 w 1139825"/>
                  <a:gd name="connsiteY263" fmla="*/ 833087 h 1290638"/>
                  <a:gd name="connsiteX264" fmla="*/ 785164 w 1139825"/>
                  <a:gd name="connsiteY264" fmla="*/ 840219 h 1290638"/>
                  <a:gd name="connsiteX265" fmla="*/ 785164 w 1139825"/>
                  <a:gd name="connsiteY265" fmla="*/ 868036 h 1290638"/>
                  <a:gd name="connsiteX266" fmla="*/ 745837 w 1139825"/>
                  <a:gd name="connsiteY266" fmla="*/ 861617 h 1290638"/>
                  <a:gd name="connsiteX267" fmla="*/ 730106 w 1139825"/>
                  <a:gd name="connsiteY267" fmla="*/ 860191 h 1290638"/>
                  <a:gd name="connsiteX268" fmla="*/ 714375 w 1139825"/>
                  <a:gd name="connsiteY268" fmla="*/ 858051 h 1290638"/>
                  <a:gd name="connsiteX269" fmla="*/ 714375 w 1139825"/>
                  <a:gd name="connsiteY269" fmla="*/ 184734 h 1290638"/>
                  <a:gd name="connsiteX270" fmla="*/ 730106 w 1139825"/>
                  <a:gd name="connsiteY270" fmla="*/ 169043 h 1290638"/>
                  <a:gd name="connsiteX271" fmla="*/ 758708 w 1139825"/>
                  <a:gd name="connsiteY271" fmla="*/ 169043 h 1290638"/>
                  <a:gd name="connsiteX272" fmla="*/ 758708 w 1139825"/>
                  <a:gd name="connsiteY272" fmla="*/ 124107 h 1290638"/>
                  <a:gd name="connsiteX273" fmla="*/ 774439 w 1139825"/>
                  <a:gd name="connsiteY273" fmla="*/ 108416 h 1290638"/>
                  <a:gd name="connsiteX274" fmla="*/ 911727 w 1139825"/>
                  <a:gd name="connsiteY274" fmla="*/ 108416 h 1290638"/>
                  <a:gd name="connsiteX275" fmla="*/ 911727 w 1139825"/>
                  <a:gd name="connsiteY275" fmla="*/ 15692 h 1290638"/>
                  <a:gd name="connsiteX276" fmla="*/ 927458 w 1139825"/>
                  <a:gd name="connsiteY276" fmla="*/ 0 h 129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Lst>
                <a:rect l="l" t="t" r="r" b="b"/>
                <a:pathLst>
                  <a:path w="1139825" h="1290638">
                    <a:moveTo>
                      <a:pt x="958086" y="833437"/>
                    </a:moveTo>
                    <a:cubicBezTo>
                      <a:pt x="953782" y="833437"/>
                      <a:pt x="950913" y="836981"/>
                      <a:pt x="950913" y="840524"/>
                    </a:cubicBezTo>
                    <a:cubicBezTo>
                      <a:pt x="950913" y="840524"/>
                      <a:pt x="950913" y="840524"/>
                      <a:pt x="950913" y="905725"/>
                    </a:cubicBezTo>
                    <a:cubicBezTo>
                      <a:pt x="950913" y="909977"/>
                      <a:pt x="953782" y="912812"/>
                      <a:pt x="958086" y="912812"/>
                    </a:cubicBezTo>
                    <a:cubicBezTo>
                      <a:pt x="958086" y="912812"/>
                      <a:pt x="958086" y="912812"/>
                      <a:pt x="1062804" y="912812"/>
                    </a:cubicBezTo>
                    <a:cubicBezTo>
                      <a:pt x="1067107" y="912812"/>
                      <a:pt x="1069976" y="909977"/>
                      <a:pt x="1069976" y="905725"/>
                    </a:cubicBezTo>
                    <a:cubicBezTo>
                      <a:pt x="1069976" y="905725"/>
                      <a:pt x="1069976" y="905725"/>
                      <a:pt x="1069976" y="840524"/>
                    </a:cubicBezTo>
                    <a:cubicBezTo>
                      <a:pt x="1069976" y="836981"/>
                      <a:pt x="1067107" y="833437"/>
                      <a:pt x="1062804" y="833437"/>
                    </a:cubicBezTo>
                    <a:cubicBezTo>
                      <a:pt x="1062804" y="833437"/>
                      <a:pt x="1062804" y="833437"/>
                      <a:pt x="958086" y="833437"/>
                    </a:cubicBezTo>
                    <a:close/>
                    <a:moveTo>
                      <a:pt x="453345" y="769937"/>
                    </a:moveTo>
                    <a:cubicBezTo>
                      <a:pt x="449717" y="769937"/>
                      <a:pt x="446088" y="773481"/>
                      <a:pt x="446088" y="777024"/>
                    </a:cubicBezTo>
                    <a:cubicBezTo>
                      <a:pt x="446088" y="777024"/>
                      <a:pt x="446088" y="777024"/>
                      <a:pt x="446088" y="842225"/>
                    </a:cubicBezTo>
                    <a:cubicBezTo>
                      <a:pt x="446088" y="846477"/>
                      <a:pt x="449717" y="849312"/>
                      <a:pt x="453345" y="849312"/>
                    </a:cubicBezTo>
                    <a:cubicBezTo>
                      <a:pt x="453345" y="849312"/>
                      <a:pt x="453345" y="849312"/>
                      <a:pt x="489631" y="849312"/>
                    </a:cubicBezTo>
                    <a:cubicBezTo>
                      <a:pt x="493985" y="849312"/>
                      <a:pt x="496888" y="846477"/>
                      <a:pt x="496888" y="842225"/>
                    </a:cubicBezTo>
                    <a:cubicBezTo>
                      <a:pt x="496888" y="842225"/>
                      <a:pt x="496888" y="842225"/>
                      <a:pt x="496888" y="777024"/>
                    </a:cubicBezTo>
                    <a:cubicBezTo>
                      <a:pt x="496888" y="773481"/>
                      <a:pt x="493985" y="769937"/>
                      <a:pt x="489631" y="769937"/>
                    </a:cubicBezTo>
                    <a:cubicBezTo>
                      <a:pt x="489631" y="769937"/>
                      <a:pt x="489631" y="769937"/>
                      <a:pt x="453345" y="769937"/>
                    </a:cubicBezTo>
                    <a:close/>
                    <a:moveTo>
                      <a:pt x="362631" y="769937"/>
                    </a:moveTo>
                    <a:cubicBezTo>
                      <a:pt x="359115" y="769937"/>
                      <a:pt x="355600" y="773481"/>
                      <a:pt x="355600" y="777024"/>
                    </a:cubicBezTo>
                    <a:cubicBezTo>
                      <a:pt x="355600" y="777024"/>
                      <a:pt x="355600" y="777024"/>
                      <a:pt x="355600" y="842225"/>
                    </a:cubicBezTo>
                    <a:cubicBezTo>
                      <a:pt x="355600" y="846477"/>
                      <a:pt x="359115" y="849312"/>
                      <a:pt x="362631" y="849312"/>
                    </a:cubicBezTo>
                    <a:cubicBezTo>
                      <a:pt x="362631" y="849312"/>
                      <a:pt x="362631" y="849312"/>
                      <a:pt x="397783" y="849312"/>
                    </a:cubicBezTo>
                    <a:cubicBezTo>
                      <a:pt x="402001" y="849312"/>
                      <a:pt x="404813" y="846477"/>
                      <a:pt x="404813" y="842225"/>
                    </a:cubicBezTo>
                    <a:cubicBezTo>
                      <a:pt x="404813" y="842225"/>
                      <a:pt x="404813" y="842225"/>
                      <a:pt x="404813" y="777024"/>
                    </a:cubicBezTo>
                    <a:cubicBezTo>
                      <a:pt x="404813" y="773481"/>
                      <a:pt x="402001" y="769937"/>
                      <a:pt x="397783" y="769937"/>
                    </a:cubicBezTo>
                    <a:cubicBezTo>
                      <a:pt x="397783" y="769937"/>
                      <a:pt x="397783" y="769937"/>
                      <a:pt x="362631" y="769937"/>
                    </a:cubicBezTo>
                    <a:close/>
                    <a:moveTo>
                      <a:pt x="272246" y="769937"/>
                    </a:moveTo>
                    <a:cubicBezTo>
                      <a:pt x="268679" y="769937"/>
                      <a:pt x="265113" y="773481"/>
                      <a:pt x="265113" y="777024"/>
                    </a:cubicBezTo>
                    <a:cubicBezTo>
                      <a:pt x="265113" y="777024"/>
                      <a:pt x="265113" y="777024"/>
                      <a:pt x="265113" y="842225"/>
                    </a:cubicBezTo>
                    <a:cubicBezTo>
                      <a:pt x="265113" y="846477"/>
                      <a:pt x="268679" y="849312"/>
                      <a:pt x="272246" y="849312"/>
                    </a:cubicBezTo>
                    <a:cubicBezTo>
                      <a:pt x="272246" y="849312"/>
                      <a:pt x="272246" y="849312"/>
                      <a:pt x="307194" y="849312"/>
                    </a:cubicBezTo>
                    <a:cubicBezTo>
                      <a:pt x="311473" y="849312"/>
                      <a:pt x="314326" y="846477"/>
                      <a:pt x="314326" y="842225"/>
                    </a:cubicBezTo>
                    <a:cubicBezTo>
                      <a:pt x="314326" y="842225"/>
                      <a:pt x="314326" y="842225"/>
                      <a:pt x="314326" y="777024"/>
                    </a:cubicBezTo>
                    <a:cubicBezTo>
                      <a:pt x="314326" y="773481"/>
                      <a:pt x="311473" y="769937"/>
                      <a:pt x="307194" y="769937"/>
                    </a:cubicBezTo>
                    <a:cubicBezTo>
                      <a:pt x="307194" y="769937"/>
                      <a:pt x="307194" y="769937"/>
                      <a:pt x="272246" y="769937"/>
                    </a:cubicBezTo>
                    <a:close/>
                    <a:moveTo>
                      <a:pt x="181882" y="769937"/>
                    </a:moveTo>
                    <a:cubicBezTo>
                      <a:pt x="178254" y="769937"/>
                      <a:pt x="174625" y="773481"/>
                      <a:pt x="174625" y="777024"/>
                    </a:cubicBezTo>
                    <a:cubicBezTo>
                      <a:pt x="174625" y="777024"/>
                      <a:pt x="174625" y="777024"/>
                      <a:pt x="174625" y="842225"/>
                    </a:cubicBezTo>
                    <a:cubicBezTo>
                      <a:pt x="174625" y="846477"/>
                      <a:pt x="178254" y="849312"/>
                      <a:pt x="181882" y="849312"/>
                    </a:cubicBezTo>
                    <a:cubicBezTo>
                      <a:pt x="181882" y="849312"/>
                      <a:pt x="181882" y="849312"/>
                      <a:pt x="218168" y="849312"/>
                    </a:cubicBezTo>
                    <a:cubicBezTo>
                      <a:pt x="222522" y="849312"/>
                      <a:pt x="225425" y="846477"/>
                      <a:pt x="225425" y="842225"/>
                    </a:cubicBezTo>
                    <a:cubicBezTo>
                      <a:pt x="225425" y="842225"/>
                      <a:pt x="225425" y="842225"/>
                      <a:pt x="225425" y="777024"/>
                    </a:cubicBezTo>
                    <a:cubicBezTo>
                      <a:pt x="225425" y="773481"/>
                      <a:pt x="222522" y="769937"/>
                      <a:pt x="218168" y="769937"/>
                    </a:cubicBezTo>
                    <a:cubicBezTo>
                      <a:pt x="218168" y="769937"/>
                      <a:pt x="218168" y="769937"/>
                      <a:pt x="181882" y="769937"/>
                    </a:cubicBezTo>
                    <a:close/>
                    <a:moveTo>
                      <a:pt x="91395" y="769937"/>
                    </a:moveTo>
                    <a:cubicBezTo>
                      <a:pt x="87767" y="769937"/>
                      <a:pt x="84138" y="773481"/>
                      <a:pt x="84138" y="777024"/>
                    </a:cubicBezTo>
                    <a:cubicBezTo>
                      <a:pt x="84138" y="777024"/>
                      <a:pt x="84138" y="777024"/>
                      <a:pt x="84138" y="842225"/>
                    </a:cubicBezTo>
                    <a:cubicBezTo>
                      <a:pt x="84138" y="846477"/>
                      <a:pt x="87767" y="849312"/>
                      <a:pt x="91395" y="849312"/>
                    </a:cubicBezTo>
                    <a:cubicBezTo>
                      <a:pt x="91395" y="849312"/>
                      <a:pt x="91395" y="849312"/>
                      <a:pt x="127681" y="849312"/>
                    </a:cubicBezTo>
                    <a:cubicBezTo>
                      <a:pt x="132035" y="849312"/>
                      <a:pt x="134938" y="846477"/>
                      <a:pt x="134938" y="842225"/>
                    </a:cubicBezTo>
                    <a:cubicBezTo>
                      <a:pt x="134938" y="842225"/>
                      <a:pt x="134938" y="842225"/>
                      <a:pt x="134938" y="777024"/>
                    </a:cubicBezTo>
                    <a:cubicBezTo>
                      <a:pt x="134938" y="773481"/>
                      <a:pt x="132035" y="769937"/>
                      <a:pt x="127681" y="769937"/>
                    </a:cubicBezTo>
                    <a:cubicBezTo>
                      <a:pt x="127681" y="769937"/>
                      <a:pt x="127681" y="769937"/>
                      <a:pt x="91395" y="769937"/>
                    </a:cubicBezTo>
                    <a:close/>
                    <a:moveTo>
                      <a:pt x="958086" y="714375"/>
                    </a:moveTo>
                    <a:cubicBezTo>
                      <a:pt x="953782" y="714375"/>
                      <a:pt x="950913" y="717990"/>
                      <a:pt x="950913" y="721604"/>
                    </a:cubicBezTo>
                    <a:cubicBezTo>
                      <a:pt x="950913" y="721604"/>
                      <a:pt x="950913" y="721604"/>
                      <a:pt x="950913" y="788109"/>
                    </a:cubicBezTo>
                    <a:cubicBezTo>
                      <a:pt x="950913" y="792447"/>
                      <a:pt x="953782" y="795338"/>
                      <a:pt x="958086" y="795338"/>
                    </a:cubicBezTo>
                    <a:cubicBezTo>
                      <a:pt x="958086" y="795338"/>
                      <a:pt x="958086" y="795338"/>
                      <a:pt x="1062804" y="795338"/>
                    </a:cubicBezTo>
                    <a:cubicBezTo>
                      <a:pt x="1067107" y="795338"/>
                      <a:pt x="1069976" y="792447"/>
                      <a:pt x="1069976" y="788109"/>
                    </a:cubicBezTo>
                    <a:cubicBezTo>
                      <a:pt x="1069976" y="788109"/>
                      <a:pt x="1069976" y="788109"/>
                      <a:pt x="1069976" y="721604"/>
                    </a:cubicBezTo>
                    <a:cubicBezTo>
                      <a:pt x="1069976" y="717990"/>
                      <a:pt x="1067107" y="714375"/>
                      <a:pt x="1062804" y="714375"/>
                    </a:cubicBezTo>
                    <a:cubicBezTo>
                      <a:pt x="1062804" y="714375"/>
                      <a:pt x="1062804" y="714375"/>
                      <a:pt x="958086" y="714375"/>
                    </a:cubicBezTo>
                    <a:close/>
                    <a:moveTo>
                      <a:pt x="792890" y="714375"/>
                    </a:moveTo>
                    <a:cubicBezTo>
                      <a:pt x="788644" y="714375"/>
                      <a:pt x="785813" y="717990"/>
                      <a:pt x="785813" y="721604"/>
                    </a:cubicBezTo>
                    <a:cubicBezTo>
                      <a:pt x="785813" y="721604"/>
                      <a:pt x="785813" y="721604"/>
                      <a:pt x="785813" y="788109"/>
                    </a:cubicBezTo>
                    <a:cubicBezTo>
                      <a:pt x="785813" y="792447"/>
                      <a:pt x="788644" y="795338"/>
                      <a:pt x="792890" y="795338"/>
                    </a:cubicBezTo>
                    <a:cubicBezTo>
                      <a:pt x="792890" y="795338"/>
                      <a:pt x="792890" y="795338"/>
                      <a:pt x="896211" y="795338"/>
                    </a:cubicBezTo>
                    <a:cubicBezTo>
                      <a:pt x="899750" y="795338"/>
                      <a:pt x="903288" y="792447"/>
                      <a:pt x="903288" y="788109"/>
                    </a:cubicBezTo>
                    <a:cubicBezTo>
                      <a:pt x="903288" y="788109"/>
                      <a:pt x="903288" y="788109"/>
                      <a:pt x="903288" y="721604"/>
                    </a:cubicBezTo>
                    <a:cubicBezTo>
                      <a:pt x="903288" y="717990"/>
                      <a:pt x="899750" y="714375"/>
                      <a:pt x="896211" y="714375"/>
                    </a:cubicBezTo>
                    <a:cubicBezTo>
                      <a:pt x="896211" y="714375"/>
                      <a:pt x="896211" y="714375"/>
                      <a:pt x="792890" y="714375"/>
                    </a:cubicBezTo>
                    <a:close/>
                    <a:moveTo>
                      <a:pt x="453345" y="628650"/>
                    </a:moveTo>
                    <a:cubicBezTo>
                      <a:pt x="449717" y="628650"/>
                      <a:pt x="446088" y="631510"/>
                      <a:pt x="446088" y="635801"/>
                    </a:cubicBezTo>
                    <a:cubicBezTo>
                      <a:pt x="446088" y="635801"/>
                      <a:pt x="446088" y="635801"/>
                      <a:pt x="446088" y="700874"/>
                    </a:cubicBezTo>
                    <a:cubicBezTo>
                      <a:pt x="446088" y="704450"/>
                      <a:pt x="449717" y="708025"/>
                      <a:pt x="453345" y="708025"/>
                    </a:cubicBezTo>
                    <a:cubicBezTo>
                      <a:pt x="453345" y="708025"/>
                      <a:pt x="453345" y="708025"/>
                      <a:pt x="489631" y="708025"/>
                    </a:cubicBezTo>
                    <a:cubicBezTo>
                      <a:pt x="493985" y="708025"/>
                      <a:pt x="496888" y="704450"/>
                      <a:pt x="496888" y="700874"/>
                    </a:cubicBezTo>
                    <a:cubicBezTo>
                      <a:pt x="496888" y="700874"/>
                      <a:pt x="496888" y="700874"/>
                      <a:pt x="496888" y="635801"/>
                    </a:cubicBezTo>
                    <a:cubicBezTo>
                      <a:pt x="496888" y="631510"/>
                      <a:pt x="493985" y="628650"/>
                      <a:pt x="489631" y="628650"/>
                    </a:cubicBezTo>
                    <a:cubicBezTo>
                      <a:pt x="489631" y="628650"/>
                      <a:pt x="489631" y="628650"/>
                      <a:pt x="453345" y="628650"/>
                    </a:cubicBezTo>
                    <a:close/>
                    <a:moveTo>
                      <a:pt x="362631" y="628650"/>
                    </a:moveTo>
                    <a:cubicBezTo>
                      <a:pt x="359115" y="628650"/>
                      <a:pt x="355600" y="631510"/>
                      <a:pt x="355600" y="635801"/>
                    </a:cubicBezTo>
                    <a:cubicBezTo>
                      <a:pt x="355600" y="635801"/>
                      <a:pt x="355600" y="635801"/>
                      <a:pt x="355600" y="700874"/>
                    </a:cubicBezTo>
                    <a:cubicBezTo>
                      <a:pt x="355600" y="704450"/>
                      <a:pt x="359115" y="708025"/>
                      <a:pt x="362631" y="708025"/>
                    </a:cubicBezTo>
                    <a:cubicBezTo>
                      <a:pt x="362631" y="708025"/>
                      <a:pt x="362631" y="708025"/>
                      <a:pt x="397783" y="708025"/>
                    </a:cubicBezTo>
                    <a:cubicBezTo>
                      <a:pt x="402001" y="708025"/>
                      <a:pt x="404813" y="704450"/>
                      <a:pt x="404813" y="700874"/>
                    </a:cubicBezTo>
                    <a:cubicBezTo>
                      <a:pt x="404813" y="700874"/>
                      <a:pt x="404813" y="700874"/>
                      <a:pt x="404813" y="635801"/>
                    </a:cubicBezTo>
                    <a:cubicBezTo>
                      <a:pt x="404813" y="631510"/>
                      <a:pt x="402001" y="628650"/>
                      <a:pt x="397783" y="628650"/>
                    </a:cubicBezTo>
                    <a:cubicBezTo>
                      <a:pt x="397783" y="628650"/>
                      <a:pt x="397783" y="628650"/>
                      <a:pt x="362631" y="628650"/>
                    </a:cubicBezTo>
                    <a:close/>
                    <a:moveTo>
                      <a:pt x="272246" y="628650"/>
                    </a:moveTo>
                    <a:cubicBezTo>
                      <a:pt x="268679" y="628650"/>
                      <a:pt x="265113" y="631510"/>
                      <a:pt x="265113" y="635801"/>
                    </a:cubicBezTo>
                    <a:cubicBezTo>
                      <a:pt x="265113" y="635801"/>
                      <a:pt x="265113" y="635801"/>
                      <a:pt x="265113" y="700874"/>
                    </a:cubicBezTo>
                    <a:cubicBezTo>
                      <a:pt x="265113" y="704450"/>
                      <a:pt x="268679" y="708025"/>
                      <a:pt x="272246" y="708025"/>
                    </a:cubicBezTo>
                    <a:cubicBezTo>
                      <a:pt x="272246" y="708025"/>
                      <a:pt x="272246" y="708025"/>
                      <a:pt x="307194" y="708025"/>
                    </a:cubicBezTo>
                    <a:cubicBezTo>
                      <a:pt x="311473" y="708025"/>
                      <a:pt x="314326" y="704450"/>
                      <a:pt x="314326" y="700874"/>
                    </a:cubicBezTo>
                    <a:cubicBezTo>
                      <a:pt x="314326" y="700874"/>
                      <a:pt x="314326" y="700874"/>
                      <a:pt x="314326" y="635801"/>
                    </a:cubicBezTo>
                    <a:cubicBezTo>
                      <a:pt x="314326" y="631510"/>
                      <a:pt x="311473" y="628650"/>
                      <a:pt x="307194" y="628650"/>
                    </a:cubicBezTo>
                    <a:cubicBezTo>
                      <a:pt x="307194" y="628650"/>
                      <a:pt x="307194" y="628650"/>
                      <a:pt x="272246" y="628650"/>
                    </a:cubicBezTo>
                    <a:close/>
                    <a:moveTo>
                      <a:pt x="181882" y="628650"/>
                    </a:moveTo>
                    <a:cubicBezTo>
                      <a:pt x="178254" y="628650"/>
                      <a:pt x="174625" y="631510"/>
                      <a:pt x="174625" y="635801"/>
                    </a:cubicBezTo>
                    <a:cubicBezTo>
                      <a:pt x="174625" y="635801"/>
                      <a:pt x="174625" y="635801"/>
                      <a:pt x="174625" y="700874"/>
                    </a:cubicBezTo>
                    <a:cubicBezTo>
                      <a:pt x="174625" y="704450"/>
                      <a:pt x="178254" y="708025"/>
                      <a:pt x="181882" y="708025"/>
                    </a:cubicBezTo>
                    <a:cubicBezTo>
                      <a:pt x="181882" y="708025"/>
                      <a:pt x="181882" y="708025"/>
                      <a:pt x="218168" y="708025"/>
                    </a:cubicBezTo>
                    <a:cubicBezTo>
                      <a:pt x="222522" y="708025"/>
                      <a:pt x="225425" y="704450"/>
                      <a:pt x="225425" y="700874"/>
                    </a:cubicBezTo>
                    <a:cubicBezTo>
                      <a:pt x="225425" y="700874"/>
                      <a:pt x="225425" y="700874"/>
                      <a:pt x="225425" y="635801"/>
                    </a:cubicBezTo>
                    <a:cubicBezTo>
                      <a:pt x="225425" y="631510"/>
                      <a:pt x="222522" y="628650"/>
                      <a:pt x="218168" y="628650"/>
                    </a:cubicBezTo>
                    <a:cubicBezTo>
                      <a:pt x="218168" y="628650"/>
                      <a:pt x="218168" y="628650"/>
                      <a:pt x="181882" y="628650"/>
                    </a:cubicBezTo>
                    <a:close/>
                    <a:moveTo>
                      <a:pt x="958086" y="596900"/>
                    </a:moveTo>
                    <a:cubicBezTo>
                      <a:pt x="953782" y="596900"/>
                      <a:pt x="950913" y="600444"/>
                      <a:pt x="950913" y="603987"/>
                    </a:cubicBezTo>
                    <a:cubicBezTo>
                      <a:pt x="950913" y="603987"/>
                      <a:pt x="950913" y="603987"/>
                      <a:pt x="950913" y="669188"/>
                    </a:cubicBezTo>
                    <a:cubicBezTo>
                      <a:pt x="950913" y="673440"/>
                      <a:pt x="953782" y="676275"/>
                      <a:pt x="958086" y="676275"/>
                    </a:cubicBezTo>
                    <a:cubicBezTo>
                      <a:pt x="958086" y="676275"/>
                      <a:pt x="958086" y="676275"/>
                      <a:pt x="1062804" y="676275"/>
                    </a:cubicBezTo>
                    <a:cubicBezTo>
                      <a:pt x="1067107" y="676275"/>
                      <a:pt x="1069976" y="673440"/>
                      <a:pt x="1069976" y="669188"/>
                    </a:cubicBezTo>
                    <a:cubicBezTo>
                      <a:pt x="1069976" y="669188"/>
                      <a:pt x="1069976" y="669188"/>
                      <a:pt x="1069976" y="603987"/>
                    </a:cubicBezTo>
                    <a:cubicBezTo>
                      <a:pt x="1069976" y="600444"/>
                      <a:pt x="1067107" y="596900"/>
                      <a:pt x="1062804" y="596900"/>
                    </a:cubicBezTo>
                    <a:cubicBezTo>
                      <a:pt x="1062804" y="596900"/>
                      <a:pt x="1062804" y="596900"/>
                      <a:pt x="958086" y="596900"/>
                    </a:cubicBezTo>
                    <a:close/>
                    <a:moveTo>
                      <a:pt x="792890" y="596900"/>
                    </a:moveTo>
                    <a:cubicBezTo>
                      <a:pt x="788644" y="596900"/>
                      <a:pt x="785813" y="600444"/>
                      <a:pt x="785813" y="603987"/>
                    </a:cubicBezTo>
                    <a:cubicBezTo>
                      <a:pt x="785813" y="603987"/>
                      <a:pt x="785813" y="603987"/>
                      <a:pt x="785813" y="669188"/>
                    </a:cubicBezTo>
                    <a:cubicBezTo>
                      <a:pt x="785813" y="673440"/>
                      <a:pt x="788644" y="676275"/>
                      <a:pt x="792890" y="676275"/>
                    </a:cubicBezTo>
                    <a:cubicBezTo>
                      <a:pt x="792890" y="676275"/>
                      <a:pt x="792890" y="676275"/>
                      <a:pt x="896211" y="676275"/>
                    </a:cubicBezTo>
                    <a:cubicBezTo>
                      <a:pt x="899750" y="676275"/>
                      <a:pt x="903288" y="673440"/>
                      <a:pt x="903288" y="669188"/>
                    </a:cubicBezTo>
                    <a:cubicBezTo>
                      <a:pt x="903288" y="669188"/>
                      <a:pt x="903288" y="669188"/>
                      <a:pt x="903288" y="603987"/>
                    </a:cubicBezTo>
                    <a:cubicBezTo>
                      <a:pt x="903288" y="600444"/>
                      <a:pt x="899750" y="596900"/>
                      <a:pt x="896211" y="596900"/>
                    </a:cubicBezTo>
                    <a:cubicBezTo>
                      <a:pt x="896211" y="596900"/>
                      <a:pt x="896211" y="596900"/>
                      <a:pt x="792890" y="596900"/>
                    </a:cubicBezTo>
                    <a:close/>
                    <a:moveTo>
                      <a:pt x="453345" y="487362"/>
                    </a:moveTo>
                    <a:cubicBezTo>
                      <a:pt x="449717" y="487362"/>
                      <a:pt x="446088" y="490938"/>
                      <a:pt x="446088" y="494513"/>
                    </a:cubicBezTo>
                    <a:cubicBezTo>
                      <a:pt x="446088" y="494513"/>
                      <a:pt x="446088" y="494513"/>
                      <a:pt x="446088" y="559586"/>
                    </a:cubicBezTo>
                    <a:cubicBezTo>
                      <a:pt x="446088" y="563877"/>
                      <a:pt x="449717" y="566737"/>
                      <a:pt x="453345" y="566737"/>
                    </a:cubicBezTo>
                    <a:cubicBezTo>
                      <a:pt x="453345" y="566737"/>
                      <a:pt x="453345" y="566737"/>
                      <a:pt x="489631" y="566737"/>
                    </a:cubicBezTo>
                    <a:cubicBezTo>
                      <a:pt x="493985" y="566737"/>
                      <a:pt x="496888" y="563877"/>
                      <a:pt x="496888" y="559586"/>
                    </a:cubicBezTo>
                    <a:cubicBezTo>
                      <a:pt x="496888" y="559586"/>
                      <a:pt x="496888" y="559586"/>
                      <a:pt x="496888" y="494513"/>
                    </a:cubicBezTo>
                    <a:cubicBezTo>
                      <a:pt x="496888" y="490938"/>
                      <a:pt x="493985" y="487362"/>
                      <a:pt x="489631" y="487362"/>
                    </a:cubicBezTo>
                    <a:cubicBezTo>
                      <a:pt x="489631" y="487362"/>
                      <a:pt x="489631" y="487362"/>
                      <a:pt x="453345" y="487362"/>
                    </a:cubicBezTo>
                    <a:close/>
                    <a:moveTo>
                      <a:pt x="362631" y="487362"/>
                    </a:moveTo>
                    <a:cubicBezTo>
                      <a:pt x="359115" y="487362"/>
                      <a:pt x="355600" y="490938"/>
                      <a:pt x="355600" y="494513"/>
                    </a:cubicBezTo>
                    <a:cubicBezTo>
                      <a:pt x="355600" y="494513"/>
                      <a:pt x="355600" y="494513"/>
                      <a:pt x="355600" y="559586"/>
                    </a:cubicBezTo>
                    <a:cubicBezTo>
                      <a:pt x="355600" y="563877"/>
                      <a:pt x="359115" y="566737"/>
                      <a:pt x="362631" y="566737"/>
                    </a:cubicBezTo>
                    <a:cubicBezTo>
                      <a:pt x="362631" y="566737"/>
                      <a:pt x="362631" y="566737"/>
                      <a:pt x="397783" y="566737"/>
                    </a:cubicBezTo>
                    <a:cubicBezTo>
                      <a:pt x="402001" y="566737"/>
                      <a:pt x="404813" y="563877"/>
                      <a:pt x="404813" y="559586"/>
                    </a:cubicBezTo>
                    <a:cubicBezTo>
                      <a:pt x="404813" y="559586"/>
                      <a:pt x="404813" y="559586"/>
                      <a:pt x="404813" y="494513"/>
                    </a:cubicBezTo>
                    <a:cubicBezTo>
                      <a:pt x="404813" y="490938"/>
                      <a:pt x="402001" y="487362"/>
                      <a:pt x="397783" y="487362"/>
                    </a:cubicBezTo>
                    <a:cubicBezTo>
                      <a:pt x="397783" y="487362"/>
                      <a:pt x="397783" y="487362"/>
                      <a:pt x="362631" y="487362"/>
                    </a:cubicBezTo>
                    <a:close/>
                    <a:moveTo>
                      <a:pt x="272246" y="487362"/>
                    </a:moveTo>
                    <a:cubicBezTo>
                      <a:pt x="268679" y="487362"/>
                      <a:pt x="265113" y="490938"/>
                      <a:pt x="265113" y="494513"/>
                    </a:cubicBezTo>
                    <a:cubicBezTo>
                      <a:pt x="265113" y="494513"/>
                      <a:pt x="265113" y="494513"/>
                      <a:pt x="265113" y="559586"/>
                    </a:cubicBezTo>
                    <a:cubicBezTo>
                      <a:pt x="265113" y="563877"/>
                      <a:pt x="268679" y="566737"/>
                      <a:pt x="272246" y="566737"/>
                    </a:cubicBezTo>
                    <a:cubicBezTo>
                      <a:pt x="272246" y="566737"/>
                      <a:pt x="272246" y="566737"/>
                      <a:pt x="307194" y="566737"/>
                    </a:cubicBezTo>
                    <a:cubicBezTo>
                      <a:pt x="311473" y="566737"/>
                      <a:pt x="314326" y="563877"/>
                      <a:pt x="314326" y="559586"/>
                    </a:cubicBezTo>
                    <a:cubicBezTo>
                      <a:pt x="314326" y="559586"/>
                      <a:pt x="314326" y="559586"/>
                      <a:pt x="314326" y="494513"/>
                    </a:cubicBezTo>
                    <a:cubicBezTo>
                      <a:pt x="314326" y="490938"/>
                      <a:pt x="311473" y="487362"/>
                      <a:pt x="307194" y="487362"/>
                    </a:cubicBezTo>
                    <a:cubicBezTo>
                      <a:pt x="307194" y="487362"/>
                      <a:pt x="307194" y="487362"/>
                      <a:pt x="272246" y="487362"/>
                    </a:cubicBezTo>
                    <a:close/>
                    <a:moveTo>
                      <a:pt x="958086" y="477837"/>
                    </a:moveTo>
                    <a:cubicBezTo>
                      <a:pt x="953782" y="477837"/>
                      <a:pt x="950913" y="481381"/>
                      <a:pt x="950913" y="484924"/>
                    </a:cubicBezTo>
                    <a:cubicBezTo>
                      <a:pt x="950913" y="484924"/>
                      <a:pt x="950913" y="484924"/>
                      <a:pt x="950913" y="550125"/>
                    </a:cubicBezTo>
                    <a:cubicBezTo>
                      <a:pt x="950913" y="554377"/>
                      <a:pt x="953782" y="557212"/>
                      <a:pt x="958086" y="557212"/>
                    </a:cubicBezTo>
                    <a:cubicBezTo>
                      <a:pt x="958086" y="557212"/>
                      <a:pt x="958086" y="557212"/>
                      <a:pt x="1062804" y="557212"/>
                    </a:cubicBezTo>
                    <a:cubicBezTo>
                      <a:pt x="1067107" y="557212"/>
                      <a:pt x="1069976" y="554377"/>
                      <a:pt x="1069976" y="550125"/>
                    </a:cubicBezTo>
                    <a:cubicBezTo>
                      <a:pt x="1069976" y="550125"/>
                      <a:pt x="1069976" y="550125"/>
                      <a:pt x="1069976" y="484924"/>
                    </a:cubicBezTo>
                    <a:cubicBezTo>
                      <a:pt x="1069976" y="481381"/>
                      <a:pt x="1067107" y="477837"/>
                      <a:pt x="1062804" y="477837"/>
                    </a:cubicBezTo>
                    <a:cubicBezTo>
                      <a:pt x="1062804" y="477837"/>
                      <a:pt x="1062804" y="477837"/>
                      <a:pt x="958086" y="477837"/>
                    </a:cubicBezTo>
                    <a:close/>
                    <a:moveTo>
                      <a:pt x="792890" y="477837"/>
                    </a:moveTo>
                    <a:cubicBezTo>
                      <a:pt x="788644" y="477837"/>
                      <a:pt x="785813" y="481381"/>
                      <a:pt x="785813" y="484924"/>
                    </a:cubicBezTo>
                    <a:cubicBezTo>
                      <a:pt x="785813" y="484924"/>
                      <a:pt x="785813" y="484924"/>
                      <a:pt x="785813" y="550125"/>
                    </a:cubicBezTo>
                    <a:cubicBezTo>
                      <a:pt x="785813" y="554377"/>
                      <a:pt x="788644" y="557212"/>
                      <a:pt x="792890" y="557212"/>
                    </a:cubicBezTo>
                    <a:cubicBezTo>
                      <a:pt x="792890" y="557212"/>
                      <a:pt x="792890" y="557212"/>
                      <a:pt x="896211" y="557212"/>
                    </a:cubicBezTo>
                    <a:cubicBezTo>
                      <a:pt x="899750" y="557212"/>
                      <a:pt x="903288" y="554377"/>
                      <a:pt x="903288" y="550125"/>
                    </a:cubicBezTo>
                    <a:cubicBezTo>
                      <a:pt x="903288" y="550125"/>
                      <a:pt x="903288" y="550125"/>
                      <a:pt x="903288" y="484924"/>
                    </a:cubicBezTo>
                    <a:cubicBezTo>
                      <a:pt x="903288" y="481381"/>
                      <a:pt x="899750" y="477837"/>
                      <a:pt x="896211" y="477837"/>
                    </a:cubicBezTo>
                    <a:cubicBezTo>
                      <a:pt x="896211" y="477837"/>
                      <a:pt x="896211" y="477837"/>
                      <a:pt x="792890" y="477837"/>
                    </a:cubicBezTo>
                    <a:close/>
                    <a:moveTo>
                      <a:pt x="958086" y="358775"/>
                    </a:moveTo>
                    <a:cubicBezTo>
                      <a:pt x="953782" y="358775"/>
                      <a:pt x="950913" y="362390"/>
                      <a:pt x="950913" y="366004"/>
                    </a:cubicBezTo>
                    <a:cubicBezTo>
                      <a:pt x="950913" y="366004"/>
                      <a:pt x="950913" y="366004"/>
                      <a:pt x="950913" y="432509"/>
                    </a:cubicBezTo>
                    <a:cubicBezTo>
                      <a:pt x="950913" y="436847"/>
                      <a:pt x="953782" y="439738"/>
                      <a:pt x="958086" y="439738"/>
                    </a:cubicBezTo>
                    <a:cubicBezTo>
                      <a:pt x="958086" y="439738"/>
                      <a:pt x="958086" y="439738"/>
                      <a:pt x="1062804" y="439738"/>
                    </a:cubicBezTo>
                    <a:cubicBezTo>
                      <a:pt x="1067107" y="439738"/>
                      <a:pt x="1069976" y="436847"/>
                      <a:pt x="1069976" y="432509"/>
                    </a:cubicBezTo>
                    <a:cubicBezTo>
                      <a:pt x="1069976" y="432509"/>
                      <a:pt x="1069976" y="432509"/>
                      <a:pt x="1069976" y="366004"/>
                    </a:cubicBezTo>
                    <a:cubicBezTo>
                      <a:pt x="1069976" y="362390"/>
                      <a:pt x="1067107" y="358775"/>
                      <a:pt x="1062804" y="358775"/>
                    </a:cubicBezTo>
                    <a:cubicBezTo>
                      <a:pt x="1062804" y="358775"/>
                      <a:pt x="1062804" y="358775"/>
                      <a:pt x="958086" y="358775"/>
                    </a:cubicBezTo>
                    <a:close/>
                    <a:moveTo>
                      <a:pt x="792890" y="358775"/>
                    </a:moveTo>
                    <a:cubicBezTo>
                      <a:pt x="788644" y="358775"/>
                      <a:pt x="785813" y="362390"/>
                      <a:pt x="785813" y="366004"/>
                    </a:cubicBezTo>
                    <a:cubicBezTo>
                      <a:pt x="785813" y="366004"/>
                      <a:pt x="785813" y="366004"/>
                      <a:pt x="785813" y="432509"/>
                    </a:cubicBezTo>
                    <a:cubicBezTo>
                      <a:pt x="785813" y="436847"/>
                      <a:pt x="788644" y="439738"/>
                      <a:pt x="792890" y="439738"/>
                    </a:cubicBezTo>
                    <a:cubicBezTo>
                      <a:pt x="792890" y="439738"/>
                      <a:pt x="792890" y="439738"/>
                      <a:pt x="896211" y="439738"/>
                    </a:cubicBezTo>
                    <a:cubicBezTo>
                      <a:pt x="899750" y="439738"/>
                      <a:pt x="903288" y="436847"/>
                      <a:pt x="903288" y="432509"/>
                    </a:cubicBezTo>
                    <a:cubicBezTo>
                      <a:pt x="903288" y="432509"/>
                      <a:pt x="903288" y="432509"/>
                      <a:pt x="903288" y="366004"/>
                    </a:cubicBezTo>
                    <a:cubicBezTo>
                      <a:pt x="903288" y="362390"/>
                      <a:pt x="899750" y="358775"/>
                      <a:pt x="896211" y="358775"/>
                    </a:cubicBezTo>
                    <a:cubicBezTo>
                      <a:pt x="896211" y="358775"/>
                      <a:pt x="896211" y="358775"/>
                      <a:pt x="792890" y="358775"/>
                    </a:cubicBezTo>
                    <a:close/>
                    <a:moveTo>
                      <a:pt x="453345" y="346075"/>
                    </a:moveTo>
                    <a:cubicBezTo>
                      <a:pt x="449717" y="346075"/>
                      <a:pt x="446088" y="348967"/>
                      <a:pt x="446088" y="353304"/>
                    </a:cubicBezTo>
                    <a:cubicBezTo>
                      <a:pt x="446088" y="353304"/>
                      <a:pt x="446088" y="353304"/>
                      <a:pt x="446088" y="419809"/>
                    </a:cubicBezTo>
                    <a:cubicBezTo>
                      <a:pt x="446088" y="423424"/>
                      <a:pt x="449717" y="427038"/>
                      <a:pt x="453345" y="427038"/>
                    </a:cubicBezTo>
                    <a:cubicBezTo>
                      <a:pt x="453345" y="427038"/>
                      <a:pt x="453345" y="427038"/>
                      <a:pt x="489631" y="427038"/>
                    </a:cubicBezTo>
                    <a:cubicBezTo>
                      <a:pt x="493985" y="427038"/>
                      <a:pt x="496888" y="423424"/>
                      <a:pt x="496888" y="419809"/>
                    </a:cubicBezTo>
                    <a:cubicBezTo>
                      <a:pt x="496888" y="419809"/>
                      <a:pt x="496888" y="419809"/>
                      <a:pt x="496888" y="353304"/>
                    </a:cubicBezTo>
                    <a:cubicBezTo>
                      <a:pt x="496888" y="348967"/>
                      <a:pt x="493985" y="346075"/>
                      <a:pt x="489631" y="346075"/>
                    </a:cubicBezTo>
                    <a:cubicBezTo>
                      <a:pt x="489631" y="346075"/>
                      <a:pt x="489631" y="346075"/>
                      <a:pt x="453345" y="346075"/>
                    </a:cubicBezTo>
                    <a:close/>
                    <a:moveTo>
                      <a:pt x="362631" y="346075"/>
                    </a:moveTo>
                    <a:cubicBezTo>
                      <a:pt x="359115" y="346075"/>
                      <a:pt x="355600" y="348967"/>
                      <a:pt x="355600" y="353304"/>
                    </a:cubicBezTo>
                    <a:cubicBezTo>
                      <a:pt x="355600" y="353304"/>
                      <a:pt x="355600" y="353304"/>
                      <a:pt x="355600" y="419809"/>
                    </a:cubicBezTo>
                    <a:cubicBezTo>
                      <a:pt x="355600" y="423424"/>
                      <a:pt x="359115" y="427038"/>
                      <a:pt x="362631" y="427038"/>
                    </a:cubicBezTo>
                    <a:cubicBezTo>
                      <a:pt x="362631" y="427038"/>
                      <a:pt x="362631" y="427038"/>
                      <a:pt x="397783" y="427038"/>
                    </a:cubicBezTo>
                    <a:cubicBezTo>
                      <a:pt x="402001" y="427038"/>
                      <a:pt x="404813" y="423424"/>
                      <a:pt x="404813" y="419809"/>
                    </a:cubicBezTo>
                    <a:cubicBezTo>
                      <a:pt x="404813" y="419809"/>
                      <a:pt x="404813" y="419809"/>
                      <a:pt x="404813" y="353304"/>
                    </a:cubicBezTo>
                    <a:cubicBezTo>
                      <a:pt x="404813" y="348967"/>
                      <a:pt x="402001" y="346075"/>
                      <a:pt x="397783" y="346075"/>
                    </a:cubicBezTo>
                    <a:cubicBezTo>
                      <a:pt x="397783" y="346075"/>
                      <a:pt x="397783" y="346075"/>
                      <a:pt x="362631" y="346075"/>
                    </a:cubicBezTo>
                    <a:close/>
                    <a:moveTo>
                      <a:pt x="285558" y="266700"/>
                    </a:moveTo>
                    <a:cubicBezTo>
                      <a:pt x="285558" y="266700"/>
                      <a:pt x="285558" y="266700"/>
                      <a:pt x="573258" y="266700"/>
                    </a:cubicBezTo>
                    <a:cubicBezTo>
                      <a:pt x="581824" y="266700"/>
                      <a:pt x="588963" y="273836"/>
                      <a:pt x="588963" y="282398"/>
                    </a:cubicBezTo>
                    <a:cubicBezTo>
                      <a:pt x="588963" y="282398"/>
                      <a:pt x="588963" y="282398"/>
                      <a:pt x="588963" y="858229"/>
                    </a:cubicBezTo>
                    <a:cubicBezTo>
                      <a:pt x="581110" y="858943"/>
                      <a:pt x="573971" y="860370"/>
                      <a:pt x="566832" y="861084"/>
                    </a:cubicBezTo>
                    <a:cubicBezTo>
                      <a:pt x="541846" y="863938"/>
                      <a:pt x="516146" y="868933"/>
                      <a:pt x="491160" y="874641"/>
                    </a:cubicBezTo>
                    <a:cubicBezTo>
                      <a:pt x="425481" y="891053"/>
                      <a:pt x="363373" y="916027"/>
                      <a:pt x="305547" y="950277"/>
                    </a:cubicBezTo>
                    <a:cubicBezTo>
                      <a:pt x="299122" y="953845"/>
                      <a:pt x="291983" y="958126"/>
                      <a:pt x="285558" y="962407"/>
                    </a:cubicBezTo>
                    <a:cubicBezTo>
                      <a:pt x="284844" y="961694"/>
                      <a:pt x="284130" y="960267"/>
                      <a:pt x="284130" y="958839"/>
                    </a:cubicBezTo>
                    <a:cubicBezTo>
                      <a:pt x="276991" y="941714"/>
                      <a:pt x="259858" y="930298"/>
                      <a:pt x="240583" y="930298"/>
                    </a:cubicBezTo>
                    <a:cubicBezTo>
                      <a:pt x="240583" y="930298"/>
                      <a:pt x="240583" y="930298"/>
                      <a:pt x="185613" y="930298"/>
                    </a:cubicBezTo>
                    <a:cubicBezTo>
                      <a:pt x="161340" y="930298"/>
                      <a:pt x="140637" y="948850"/>
                      <a:pt x="138496" y="973110"/>
                    </a:cubicBezTo>
                    <a:cubicBezTo>
                      <a:pt x="138496" y="973110"/>
                      <a:pt x="138496" y="973110"/>
                      <a:pt x="107084" y="1290638"/>
                    </a:cubicBezTo>
                    <a:cubicBezTo>
                      <a:pt x="107084" y="1290638"/>
                      <a:pt x="107084" y="1290638"/>
                      <a:pt x="31412" y="1290638"/>
                    </a:cubicBezTo>
                    <a:cubicBezTo>
                      <a:pt x="31412" y="1290638"/>
                      <a:pt x="31412" y="1290638"/>
                      <a:pt x="15706" y="1290638"/>
                    </a:cubicBezTo>
                    <a:cubicBezTo>
                      <a:pt x="15706" y="1290638"/>
                      <a:pt x="15706" y="1290638"/>
                      <a:pt x="0" y="1290638"/>
                    </a:cubicBezTo>
                    <a:cubicBezTo>
                      <a:pt x="0" y="1290638"/>
                      <a:pt x="0" y="1290638"/>
                      <a:pt x="0" y="788302"/>
                    </a:cubicBezTo>
                    <a:cubicBezTo>
                      <a:pt x="0" y="785448"/>
                      <a:pt x="714" y="782594"/>
                      <a:pt x="2142" y="780453"/>
                    </a:cubicBezTo>
                    <a:cubicBezTo>
                      <a:pt x="2142" y="780453"/>
                      <a:pt x="2142" y="780453"/>
                      <a:pt x="269852" y="343763"/>
                    </a:cubicBezTo>
                    <a:cubicBezTo>
                      <a:pt x="269852" y="343763"/>
                      <a:pt x="269852" y="343763"/>
                      <a:pt x="269852" y="282398"/>
                    </a:cubicBezTo>
                    <a:cubicBezTo>
                      <a:pt x="269852" y="273836"/>
                      <a:pt x="276991" y="266700"/>
                      <a:pt x="285558" y="266700"/>
                    </a:cubicBezTo>
                    <a:close/>
                    <a:moveTo>
                      <a:pt x="958086" y="241300"/>
                    </a:moveTo>
                    <a:cubicBezTo>
                      <a:pt x="953782" y="241300"/>
                      <a:pt x="950913" y="244844"/>
                      <a:pt x="950913" y="248387"/>
                    </a:cubicBezTo>
                    <a:cubicBezTo>
                      <a:pt x="950913" y="248387"/>
                      <a:pt x="950913" y="248387"/>
                      <a:pt x="950913" y="313588"/>
                    </a:cubicBezTo>
                    <a:cubicBezTo>
                      <a:pt x="950913" y="317840"/>
                      <a:pt x="953782" y="320675"/>
                      <a:pt x="958086" y="320675"/>
                    </a:cubicBezTo>
                    <a:cubicBezTo>
                      <a:pt x="958086" y="320675"/>
                      <a:pt x="958086" y="320675"/>
                      <a:pt x="1062804" y="320675"/>
                    </a:cubicBezTo>
                    <a:cubicBezTo>
                      <a:pt x="1067107" y="320675"/>
                      <a:pt x="1069976" y="317840"/>
                      <a:pt x="1069976" y="313588"/>
                    </a:cubicBezTo>
                    <a:cubicBezTo>
                      <a:pt x="1069976" y="313588"/>
                      <a:pt x="1069976" y="313588"/>
                      <a:pt x="1069976" y="248387"/>
                    </a:cubicBezTo>
                    <a:cubicBezTo>
                      <a:pt x="1069976" y="244844"/>
                      <a:pt x="1067107" y="241300"/>
                      <a:pt x="1062804" y="241300"/>
                    </a:cubicBezTo>
                    <a:cubicBezTo>
                      <a:pt x="1062804" y="241300"/>
                      <a:pt x="1062804" y="241300"/>
                      <a:pt x="958086" y="241300"/>
                    </a:cubicBezTo>
                    <a:close/>
                    <a:moveTo>
                      <a:pt x="792890" y="241300"/>
                    </a:moveTo>
                    <a:cubicBezTo>
                      <a:pt x="788644" y="241300"/>
                      <a:pt x="785813" y="244844"/>
                      <a:pt x="785813" y="248387"/>
                    </a:cubicBezTo>
                    <a:cubicBezTo>
                      <a:pt x="785813" y="248387"/>
                      <a:pt x="785813" y="248387"/>
                      <a:pt x="785813" y="313588"/>
                    </a:cubicBezTo>
                    <a:cubicBezTo>
                      <a:pt x="785813" y="317840"/>
                      <a:pt x="788644" y="320675"/>
                      <a:pt x="792890" y="320675"/>
                    </a:cubicBezTo>
                    <a:cubicBezTo>
                      <a:pt x="792890" y="320675"/>
                      <a:pt x="792890" y="320675"/>
                      <a:pt x="896211" y="320675"/>
                    </a:cubicBezTo>
                    <a:cubicBezTo>
                      <a:pt x="899750" y="320675"/>
                      <a:pt x="903288" y="317840"/>
                      <a:pt x="903288" y="313588"/>
                    </a:cubicBezTo>
                    <a:cubicBezTo>
                      <a:pt x="903288" y="313588"/>
                      <a:pt x="903288" y="313588"/>
                      <a:pt x="903288" y="248387"/>
                    </a:cubicBezTo>
                    <a:cubicBezTo>
                      <a:pt x="903288" y="244844"/>
                      <a:pt x="899750" y="241300"/>
                      <a:pt x="896211" y="241300"/>
                    </a:cubicBezTo>
                    <a:cubicBezTo>
                      <a:pt x="896211" y="241300"/>
                      <a:pt x="896211" y="241300"/>
                      <a:pt x="792890" y="241300"/>
                    </a:cubicBezTo>
                    <a:close/>
                    <a:moveTo>
                      <a:pt x="927458" y="0"/>
                    </a:moveTo>
                    <a:cubicBezTo>
                      <a:pt x="936038" y="0"/>
                      <a:pt x="943189" y="7133"/>
                      <a:pt x="943189" y="15692"/>
                    </a:cubicBezTo>
                    <a:cubicBezTo>
                      <a:pt x="943189" y="15692"/>
                      <a:pt x="943189" y="15692"/>
                      <a:pt x="943189" y="108416"/>
                    </a:cubicBezTo>
                    <a:cubicBezTo>
                      <a:pt x="943189" y="108416"/>
                      <a:pt x="943189" y="108416"/>
                      <a:pt x="1081192" y="108416"/>
                    </a:cubicBezTo>
                    <a:cubicBezTo>
                      <a:pt x="1089772" y="108416"/>
                      <a:pt x="1096923" y="115548"/>
                      <a:pt x="1096923" y="124107"/>
                    </a:cubicBezTo>
                    <a:cubicBezTo>
                      <a:pt x="1096923" y="124107"/>
                      <a:pt x="1096923" y="124107"/>
                      <a:pt x="1096923" y="169043"/>
                    </a:cubicBezTo>
                    <a:cubicBezTo>
                      <a:pt x="1096923" y="169043"/>
                      <a:pt x="1096923" y="169043"/>
                      <a:pt x="1124809" y="169043"/>
                    </a:cubicBezTo>
                    <a:cubicBezTo>
                      <a:pt x="1132675" y="169043"/>
                      <a:pt x="1139825" y="176175"/>
                      <a:pt x="1139825" y="184734"/>
                    </a:cubicBezTo>
                    <a:cubicBezTo>
                      <a:pt x="1139825" y="184734"/>
                      <a:pt x="1139825" y="184734"/>
                      <a:pt x="1139825" y="933656"/>
                    </a:cubicBezTo>
                    <a:cubicBezTo>
                      <a:pt x="1135535" y="932230"/>
                      <a:pt x="1131960" y="931516"/>
                      <a:pt x="1126954" y="931516"/>
                    </a:cubicBezTo>
                    <a:cubicBezTo>
                      <a:pt x="1126954" y="931516"/>
                      <a:pt x="1126954" y="931516"/>
                      <a:pt x="1124809" y="931516"/>
                    </a:cubicBezTo>
                    <a:cubicBezTo>
                      <a:pt x="1124809" y="931516"/>
                      <a:pt x="1124809" y="931516"/>
                      <a:pt x="1109078" y="931516"/>
                    </a:cubicBezTo>
                    <a:cubicBezTo>
                      <a:pt x="1109078" y="931516"/>
                      <a:pt x="1109078" y="931516"/>
                      <a:pt x="1071896" y="931516"/>
                    </a:cubicBezTo>
                    <a:cubicBezTo>
                      <a:pt x="1051160" y="931516"/>
                      <a:pt x="1033284" y="945068"/>
                      <a:pt x="1026849" y="963613"/>
                    </a:cubicBezTo>
                    <a:cubicBezTo>
                      <a:pt x="988236" y="938649"/>
                      <a:pt x="946764" y="917965"/>
                      <a:pt x="903861" y="901560"/>
                    </a:cubicBezTo>
                    <a:cubicBezTo>
                      <a:pt x="903861" y="901560"/>
                      <a:pt x="903861" y="901560"/>
                      <a:pt x="903861" y="840219"/>
                    </a:cubicBezTo>
                    <a:cubicBezTo>
                      <a:pt x="903861" y="836653"/>
                      <a:pt x="900286" y="833087"/>
                      <a:pt x="896711" y="833087"/>
                    </a:cubicBezTo>
                    <a:cubicBezTo>
                      <a:pt x="896711" y="833087"/>
                      <a:pt x="896711" y="833087"/>
                      <a:pt x="792315" y="833087"/>
                    </a:cubicBezTo>
                    <a:cubicBezTo>
                      <a:pt x="788025" y="833087"/>
                      <a:pt x="785164" y="836653"/>
                      <a:pt x="785164" y="840219"/>
                    </a:cubicBezTo>
                    <a:cubicBezTo>
                      <a:pt x="785164" y="840219"/>
                      <a:pt x="785164" y="840219"/>
                      <a:pt x="785164" y="868036"/>
                    </a:cubicBezTo>
                    <a:cubicBezTo>
                      <a:pt x="772294" y="865183"/>
                      <a:pt x="758708" y="863044"/>
                      <a:pt x="745837" y="861617"/>
                    </a:cubicBezTo>
                    <a:cubicBezTo>
                      <a:pt x="740832" y="860904"/>
                      <a:pt x="735111" y="860191"/>
                      <a:pt x="730106" y="860191"/>
                    </a:cubicBezTo>
                    <a:cubicBezTo>
                      <a:pt x="725101" y="859477"/>
                      <a:pt x="719381" y="858764"/>
                      <a:pt x="714375" y="858051"/>
                    </a:cubicBezTo>
                    <a:cubicBezTo>
                      <a:pt x="714375" y="858051"/>
                      <a:pt x="714375" y="858051"/>
                      <a:pt x="714375" y="184734"/>
                    </a:cubicBezTo>
                    <a:cubicBezTo>
                      <a:pt x="714375" y="176175"/>
                      <a:pt x="721526" y="169043"/>
                      <a:pt x="730106" y="169043"/>
                    </a:cubicBezTo>
                    <a:cubicBezTo>
                      <a:pt x="730106" y="169043"/>
                      <a:pt x="730106" y="169043"/>
                      <a:pt x="758708" y="169043"/>
                    </a:cubicBezTo>
                    <a:cubicBezTo>
                      <a:pt x="758708" y="169043"/>
                      <a:pt x="758708" y="169043"/>
                      <a:pt x="758708" y="124107"/>
                    </a:cubicBezTo>
                    <a:cubicBezTo>
                      <a:pt x="758708" y="115548"/>
                      <a:pt x="765858" y="108416"/>
                      <a:pt x="774439" y="108416"/>
                    </a:cubicBezTo>
                    <a:cubicBezTo>
                      <a:pt x="774439" y="108416"/>
                      <a:pt x="774439" y="108416"/>
                      <a:pt x="911727" y="108416"/>
                    </a:cubicBezTo>
                    <a:cubicBezTo>
                      <a:pt x="911727" y="108416"/>
                      <a:pt x="911727" y="108416"/>
                      <a:pt x="911727" y="15692"/>
                    </a:cubicBezTo>
                    <a:cubicBezTo>
                      <a:pt x="911727" y="7133"/>
                      <a:pt x="918877" y="0"/>
                      <a:pt x="927458"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76" name="Group 175">
            <a:extLst>
              <a:ext uri="{FF2B5EF4-FFF2-40B4-BE49-F238E27FC236}">
                <a16:creationId xmlns:a16="http://schemas.microsoft.com/office/drawing/2014/main" id="{0FBCE1BC-F43A-47A9-8372-5F7324CCA4D9}"/>
              </a:ext>
            </a:extLst>
          </p:cNvPr>
          <p:cNvGrpSpPr>
            <a:grpSpLocks noChangeAspect="1"/>
          </p:cNvGrpSpPr>
          <p:nvPr/>
        </p:nvGrpSpPr>
        <p:grpSpPr>
          <a:xfrm>
            <a:off x="2569207" y="3633006"/>
            <a:ext cx="926191" cy="927085"/>
            <a:chOff x="5273675" y="2605088"/>
            <a:chExt cx="1644650" cy="1646237"/>
          </a:xfrm>
        </p:grpSpPr>
        <p:sp>
          <p:nvSpPr>
            <p:cNvPr id="177" name="AutoShape 33">
              <a:extLst>
                <a:ext uri="{FF2B5EF4-FFF2-40B4-BE49-F238E27FC236}">
                  <a16:creationId xmlns:a16="http://schemas.microsoft.com/office/drawing/2014/main" id="{65BFACF2-8C1C-4818-A300-C9F3C0BD1850}"/>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78" name="Group 177">
              <a:extLst>
                <a:ext uri="{FF2B5EF4-FFF2-40B4-BE49-F238E27FC236}">
                  <a16:creationId xmlns:a16="http://schemas.microsoft.com/office/drawing/2014/main" id="{BC0CAB8F-663E-4D70-ADEE-4778CA831A20}"/>
                </a:ext>
              </a:extLst>
            </p:cNvPr>
            <p:cNvGrpSpPr/>
            <p:nvPr/>
          </p:nvGrpSpPr>
          <p:grpSpPr>
            <a:xfrm>
              <a:off x="5445180" y="3044571"/>
              <a:ext cx="1301641" cy="767271"/>
              <a:chOff x="5445707" y="3042729"/>
              <a:chExt cx="1301641" cy="767271"/>
            </a:xfrm>
          </p:grpSpPr>
          <p:sp>
            <p:nvSpPr>
              <p:cNvPr id="179" name="Freeform 5">
                <a:extLst>
                  <a:ext uri="{FF2B5EF4-FFF2-40B4-BE49-F238E27FC236}">
                    <a16:creationId xmlns:a16="http://schemas.microsoft.com/office/drawing/2014/main" id="{CE971976-A6A2-42F9-84C6-D7DFB5A11284}"/>
                  </a:ext>
                </a:extLst>
              </p:cNvPr>
              <p:cNvSpPr>
                <a:spLocks/>
              </p:cNvSpPr>
              <p:nvPr/>
            </p:nvSpPr>
            <p:spPr bwMode="auto">
              <a:xfrm>
                <a:off x="5514975" y="3565525"/>
                <a:ext cx="1155701" cy="244475"/>
              </a:xfrm>
              <a:custGeom>
                <a:avLst/>
                <a:gdLst>
                  <a:gd name="connsiteX0" fmla="*/ 1031957 w 1155701"/>
                  <a:gd name="connsiteY0" fmla="*/ 31750 h 244475"/>
                  <a:gd name="connsiteX1" fmla="*/ 941388 w 1155701"/>
                  <a:gd name="connsiteY1" fmla="*/ 122592 h 244475"/>
                  <a:gd name="connsiteX2" fmla="*/ 950659 w 1155701"/>
                  <a:gd name="connsiteY2" fmla="*/ 162336 h 244475"/>
                  <a:gd name="connsiteX3" fmla="*/ 1031957 w 1155701"/>
                  <a:gd name="connsiteY3" fmla="*/ 212725 h 244475"/>
                  <a:gd name="connsiteX4" fmla="*/ 1114680 w 1155701"/>
                  <a:gd name="connsiteY4" fmla="*/ 162336 h 244475"/>
                  <a:gd name="connsiteX5" fmla="*/ 1123951 w 1155701"/>
                  <a:gd name="connsiteY5" fmla="*/ 122592 h 244475"/>
                  <a:gd name="connsiteX6" fmla="*/ 1031957 w 1155701"/>
                  <a:gd name="connsiteY6" fmla="*/ 31750 h 244475"/>
                  <a:gd name="connsiteX7" fmla="*/ 121883 w 1155701"/>
                  <a:gd name="connsiteY7" fmla="*/ 31750 h 244475"/>
                  <a:gd name="connsiteX8" fmla="*/ 31750 w 1155701"/>
                  <a:gd name="connsiteY8" fmla="*/ 116205 h 244475"/>
                  <a:gd name="connsiteX9" fmla="*/ 31750 w 1155701"/>
                  <a:gd name="connsiteY9" fmla="*/ 122592 h 244475"/>
                  <a:gd name="connsiteX10" fmla="*/ 121883 w 1155701"/>
                  <a:gd name="connsiteY10" fmla="*/ 212725 h 244475"/>
                  <a:gd name="connsiteX11" fmla="*/ 211306 w 1155701"/>
                  <a:gd name="connsiteY11" fmla="*/ 138206 h 244475"/>
                  <a:gd name="connsiteX12" fmla="*/ 212725 w 1155701"/>
                  <a:gd name="connsiteY12" fmla="*/ 122592 h 244475"/>
                  <a:gd name="connsiteX13" fmla="*/ 121883 w 1155701"/>
                  <a:gd name="connsiteY13" fmla="*/ 31750 h 244475"/>
                  <a:gd name="connsiteX14" fmla="*/ 1031954 w 1155701"/>
                  <a:gd name="connsiteY14" fmla="*/ 0 h 244475"/>
                  <a:gd name="connsiteX15" fmla="*/ 1155701 w 1155701"/>
                  <a:gd name="connsiteY15" fmla="*/ 122594 h 244475"/>
                  <a:gd name="connsiteX16" fmla="*/ 1148548 w 1155701"/>
                  <a:gd name="connsiteY16" fmla="*/ 162508 h 244475"/>
                  <a:gd name="connsiteX17" fmla="*/ 1031954 w 1155701"/>
                  <a:gd name="connsiteY17" fmla="*/ 244475 h 244475"/>
                  <a:gd name="connsiteX18" fmla="*/ 916791 w 1155701"/>
                  <a:gd name="connsiteY18" fmla="*/ 162508 h 244475"/>
                  <a:gd name="connsiteX19" fmla="*/ 909638 w 1155701"/>
                  <a:gd name="connsiteY19" fmla="*/ 122594 h 244475"/>
                  <a:gd name="connsiteX20" fmla="*/ 1031954 w 1155701"/>
                  <a:gd name="connsiteY20" fmla="*/ 0 h 244475"/>
                  <a:gd name="connsiteX21" fmla="*/ 121881 w 1155701"/>
                  <a:gd name="connsiteY21" fmla="*/ 0 h 244475"/>
                  <a:gd name="connsiteX22" fmla="*/ 244475 w 1155701"/>
                  <a:gd name="connsiteY22" fmla="*/ 122594 h 244475"/>
                  <a:gd name="connsiteX23" fmla="*/ 243050 w 1155701"/>
                  <a:gd name="connsiteY23" fmla="*/ 141838 h 244475"/>
                  <a:gd name="connsiteX24" fmla="*/ 121881 w 1155701"/>
                  <a:gd name="connsiteY24" fmla="*/ 244475 h 244475"/>
                  <a:gd name="connsiteX25" fmla="*/ 0 w 1155701"/>
                  <a:gd name="connsiteY25" fmla="*/ 122594 h 244475"/>
                  <a:gd name="connsiteX26" fmla="*/ 0 w 1155701"/>
                  <a:gd name="connsiteY26" fmla="*/ 112615 h 244475"/>
                  <a:gd name="connsiteX27" fmla="*/ 121881 w 1155701"/>
                  <a:gd name="connsiteY27" fmla="*/ 0 h 24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55701" h="244475">
                    <a:moveTo>
                      <a:pt x="1031957" y="31750"/>
                    </a:moveTo>
                    <a:cubicBezTo>
                      <a:pt x="982750" y="31750"/>
                      <a:pt x="941388" y="72203"/>
                      <a:pt x="941388" y="122592"/>
                    </a:cubicBezTo>
                    <a:cubicBezTo>
                      <a:pt x="941388" y="136787"/>
                      <a:pt x="944954" y="150271"/>
                      <a:pt x="950659" y="162336"/>
                    </a:cubicBezTo>
                    <a:cubicBezTo>
                      <a:pt x="965635" y="191434"/>
                      <a:pt x="997013" y="212725"/>
                      <a:pt x="1031957" y="212725"/>
                    </a:cubicBezTo>
                    <a:cubicBezTo>
                      <a:pt x="1068327" y="212725"/>
                      <a:pt x="1099705" y="191434"/>
                      <a:pt x="1114680" y="162336"/>
                    </a:cubicBezTo>
                    <a:cubicBezTo>
                      <a:pt x="1120386" y="150271"/>
                      <a:pt x="1123951" y="136787"/>
                      <a:pt x="1123951" y="122592"/>
                    </a:cubicBezTo>
                    <a:cubicBezTo>
                      <a:pt x="1123951" y="72203"/>
                      <a:pt x="1082589" y="31750"/>
                      <a:pt x="1031957" y="31750"/>
                    </a:cubicBezTo>
                    <a:close/>
                    <a:moveTo>
                      <a:pt x="121883" y="31750"/>
                    </a:moveTo>
                    <a:cubicBezTo>
                      <a:pt x="74333" y="31750"/>
                      <a:pt x="34589" y="69365"/>
                      <a:pt x="31750" y="116205"/>
                    </a:cubicBezTo>
                    <a:cubicBezTo>
                      <a:pt x="31750" y="118334"/>
                      <a:pt x="31750" y="120463"/>
                      <a:pt x="31750" y="122592"/>
                    </a:cubicBezTo>
                    <a:cubicBezTo>
                      <a:pt x="31750" y="172272"/>
                      <a:pt x="72203" y="212725"/>
                      <a:pt x="121883" y="212725"/>
                    </a:cubicBezTo>
                    <a:cubicBezTo>
                      <a:pt x="166594" y="212725"/>
                      <a:pt x="204209" y="180788"/>
                      <a:pt x="211306" y="138206"/>
                    </a:cubicBezTo>
                    <a:cubicBezTo>
                      <a:pt x="212725" y="132528"/>
                      <a:pt x="212725" y="127560"/>
                      <a:pt x="212725" y="122592"/>
                    </a:cubicBezTo>
                    <a:cubicBezTo>
                      <a:pt x="212725" y="72203"/>
                      <a:pt x="172272" y="31750"/>
                      <a:pt x="121883" y="31750"/>
                    </a:cubicBezTo>
                    <a:close/>
                    <a:moveTo>
                      <a:pt x="1031954" y="0"/>
                    </a:moveTo>
                    <a:cubicBezTo>
                      <a:pt x="1099908" y="0"/>
                      <a:pt x="1155701" y="54882"/>
                      <a:pt x="1155701" y="122594"/>
                    </a:cubicBezTo>
                    <a:cubicBezTo>
                      <a:pt x="1155701" y="136136"/>
                      <a:pt x="1152840" y="149679"/>
                      <a:pt x="1148548" y="162508"/>
                    </a:cubicBezTo>
                    <a:cubicBezTo>
                      <a:pt x="1132096" y="209550"/>
                      <a:pt x="1086317" y="244475"/>
                      <a:pt x="1031954" y="244475"/>
                    </a:cubicBezTo>
                    <a:cubicBezTo>
                      <a:pt x="979022" y="244475"/>
                      <a:pt x="933243" y="209550"/>
                      <a:pt x="916791" y="162508"/>
                    </a:cubicBezTo>
                    <a:cubicBezTo>
                      <a:pt x="912499" y="149679"/>
                      <a:pt x="909638" y="136136"/>
                      <a:pt x="909638" y="122594"/>
                    </a:cubicBezTo>
                    <a:cubicBezTo>
                      <a:pt x="909638" y="54882"/>
                      <a:pt x="964716" y="0"/>
                      <a:pt x="1031954" y="0"/>
                    </a:cubicBezTo>
                    <a:close/>
                    <a:moveTo>
                      <a:pt x="121881" y="0"/>
                    </a:moveTo>
                    <a:cubicBezTo>
                      <a:pt x="189593" y="0"/>
                      <a:pt x="244475" y="54882"/>
                      <a:pt x="244475" y="122594"/>
                    </a:cubicBezTo>
                    <a:cubicBezTo>
                      <a:pt x="244475" y="129009"/>
                      <a:pt x="243762" y="135424"/>
                      <a:pt x="243050" y="141838"/>
                    </a:cubicBezTo>
                    <a:cubicBezTo>
                      <a:pt x="233784" y="199572"/>
                      <a:pt x="183178" y="244475"/>
                      <a:pt x="121881" y="244475"/>
                    </a:cubicBezTo>
                    <a:cubicBezTo>
                      <a:pt x="54882" y="244475"/>
                      <a:pt x="0" y="189593"/>
                      <a:pt x="0" y="122594"/>
                    </a:cubicBezTo>
                    <a:cubicBezTo>
                      <a:pt x="0" y="119030"/>
                      <a:pt x="0" y="116179"/>
                      <a:pt x="0" y="112615"/>
                    </a:cubicBezTo>
                    <a:cubicBezTo>
                      <a:pt x="4990" y="50606"/>
                      <a:pt x="58446" y="0"/>
                      <a:pt x="121881"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180" name="Freeform 6">
                <a:extLst>
                  <a:ext uri="{FF2B5EF4-FFF2-40B4-BE49-F238E27FC236}">
                    <a16:creationId xmlns:a16="http://schemas.microsoft.com/office/drawing/2014/main" id="{31A838D1-CA34-4B34-BDAB-BBF03296D917}"/>
                  </a:ext>
                </a:extLst>
              </p:cNvPr>
              <p:cNvSpPr>
                <a:spLocks/>
              </p:cNvSpPr>
              <p:nvPr/>
            </p:nvSpPr>
            <p:spPr bwMode="auto">
              <a:xfrm>
                <a:off x="5445707" y="3042729"/>
                <a:ext cx="1301641" cy="705358"/>
              </a:xfrm>
              <a:custGeom>
                <a:avLst/>
                <a:gdLst>
                  <a:gd name="connsiteX0" fmla="*/ 1101221 w 1301641"/>
                  <a:gd name="connsiteY0" fmla="*/ 584708 h 705358"/>
                  <a:gd name="connsiteX1" fmla="*/ 1161469 w 1301641"/>
                  <a:gd name="connsiteY1" fmla="*/ 644676 h 705358"/>
                  <a:gd name="connsiteX2" fmla="*/ 1146407 w 1301641"/>
                  <a:gd name="connsiteY2" fmla="*/ 685369 h 705358"/>
                  <a:gd name="connsiteX3" fmla="*/ 1101221 w 1301641"/>
                  <a:gd name="connsiteY3" fmla="*/ 705358 h 705358"/>
                  <a:gd name="connsiteX4" fmla="*/ 1057468 w 1301641"/>
                  <a:gd name="connsiteY4" fmla="*/ 685369 h 705358"/>
                  <a:gd name="connsiteX5" fmla="*/ 1042406 w 1301641"/>
                  <a:gd name="connsiteY5" fmla="*/ 644676 h 705358"/>
                  <a:gd name="connsiteX6" fmla="*/ 1101221 w 1301641"/>
                  <a:gd name="connsiteY6" fmla="*/ 584708 h 705358"/>
                  <a:gd name="connsiteX7" fmla="*/ 191149 w 1301641"/>
                  <a:gd name="connsiteY7" fmla="*/ 584708 h 705358"/>
                  <a:gd name="connsiteX8" fmla="*/ 251831 w 1301641"/>
                  <a:gd name="connsiteY8" fmla="*/ 644676 h 705358"/>
                  <a:gd name="connsiteX9" fmla="*/ 250403 w 1301641"/>
                  <a:gd name="connsiteY9" fmla="*/ 656099 h 705358"/>
                  <a:gd name="connsiteX10" fmla="*/ 191149 w 1301641"/>
                  <a:gd name="connsiteY10" fmla="*/ 705358 h 705358"/>
                  <a:gd name="connsiteX11" fmla="*/ 131181 w 1301641"/>
                  <a:gd name="connsiteY11" fmla="*/ 644676 h 705358"/>
                  <a:gd name="connsiteX12" fmla="*/ 131181 w 1301641"/>
                  <a:gd name="connsiteY12" fmla="*/ 642534 h 705358"/>
                  <a:gd name="connsiteX13" fmla="*/ 191149 w 1301641"/>
                  <a:gd name="connsiteY13" fmla="*/ 584708 h 705358"/>
                  <a:gd name="connsiteX14" fmla="*/ 1138199 w 1301641"/>
                  <a:gd name="connsiteY14" fmla="*/ 335471 h 705358"/>
                  <a:gd name="connsiteX15" fmla="*/ 1136778 w 1301641"/>
                  <a:gd name="connsiteY15" fmla="*/ 336890 h 705358"/>
                  <a:gd name="connsiteX16" fmla="*/ 1239047 w 1301641"/>
                  <a:gd name="connsiteY16" fmla="*/ 434774 h 705358"/>
                  <a:gd name="connsiteX17" fmla="*/ 1242598 w 1301641"/>
                  <a:gd name="connsiteY17" fmla="*/ 431227 h 705358"/>
                  <a:gd name="connsiteX18" fmla="*/ 1138199 w 1301641"/>
                  <a:gd name="connsiteY18" fmla="*/ 335471 h 705358"/>
                  <a:gd name="connsiteX19" fmla="*/ 77972 w 1301641"/>
                  <a:gd name="connsiteY19" fmla="*/ 306017 h 705358"/>
                  <a:gd name="connsiteX20" fmla="*/ 63028 w 1301641"/>
                  <a:gd name="connsiteY20" fmla="*/ 313799 h 705358"/>
                  <a:gd name="connsiteX21" fmla="*/ 58758 w 1301641"/>
                  <a:gd name="connsiteY21" fmla="*/ 361907 h 705358"/>
                  <a:gd name="connsiteX22" fmla="*/ 73702 w 1301641"/>
                  <a:gd name="connsiteY22" fmla="*/ 369689 h 705358"/>
                  <a:gd name="connsiteX23" fmla="*/ 129210 w 1301641"/>
                  <a:gd name="connsiteY23" fmla="*/ 342805 h 705358"/>
                  <a:gd name="connsiteX24" fmla="*/ 127787 w 1301641"/>
                  <a:gd name="connsiteY24" fmla="*/ 326533 h 705358"/>
                  <a:gd name="connsiteX25" fmla="*/ 77972 w 1301641"/>
                  <a:gd name="connsiteY25" fmla="*/ 306017 h 705358"/>
                  <a:gd name="connsiteX26" fmla="*/ 91635 w 1301641"/>
                  <a:gd name="connsiteY26" fmla="*/ 235278 h 705358"/>
                  <a:gd name="connsiteX27" fmla="*/ 76043 w 1301641"/>
                  <a:gd name="connsiteY27" fmla="*/ 240907 h 705358"/>
                  <a:gd name="connsiteX28" fmla="*/ 66122 w 1301641"/>
                  <a:gd name="connsiteY28" fmla="*/ 285933 h 705358"/>
                  <a:gd name="connsiteX29" fmla="*/ 78170 w 1301641"/>
                  <a:gd name="connsiteY29" fmla="*/ 295080 h 705358"/>
                  <a:gd name="connsiteX30" fmla="*/ 134866 w 1301641"/>
                  <a:gd name="connsiteY30" fmla="*/ 277491 h 705358"/>
                  <a:gd name="connsiteX31" fmla="*/ 135575 w 1301641"/>
                  <a:gd name="connsiteY31" fmla="*/ 262013 h 705358"/>
                  <a:gd name="connsiteX32" fmla="*/ 91635 w 1301641"/>
                  <a:gd name="connsiteY32" fmla="*/ 235278 h 705358"/>
                  <a:gd name="connsiteX33" fmla="*/ 467731 w 1301641"/>
                  <a:gd name="connsiteY33" fmla="*/ 38609 h 705358"/>
                  <a:gd name="connsiteX34" fmla="*/ 473444 w 1301641"/>
                  <a:gd name="connsiteY34" fmla="*/ 221974 h 705358"/>
                  <a:gd name="connsiteX35" fmla="*/ 992563 w 1301641"/>
                  <a:gd name="connsiteY35" fmla="*/ 291896 h 705358"/>
                  <a:gd name="connsiteX36" fmla="*/ 996847 w 1301641"/>
                  <a:gd name="connsiteY36" fmla="*/ 281907 h 705358"/>
                  <a:gd name="connsiteX37" fmla="*/ 664811 w 1301641"/>
                  <a:gd name="connsiteY37" fmla="*/ 47884 h 705358"/>
                  <a:gd name="connsiteX38" fmla="*/ 467731 w 1301641"/>
                  <a:gd name="connsiteY38" fmla="*/ 38609 h 705358"/>
                  <a:gd name="connsiteX39" fmla="*/ 417669 w 1301641"/>
                  <a:gd name="connsiteY39" fmla="*/ 38609 h 705358"/>
                  <a:gd name="connsiteX40" fmla="*/ 320805 w 1301641"/>
                  <a:gd name="connsiteY40" fmla="*/ 170140 h 705358"/>
                  <a:gd name="connsiteX41" fmla="*/ 325079 w 1301641"/>
                  <a:gd name="connsiteY41" fmla="*/ 176609 h 705358"/>
                  <a:gd name="connsiteX42" fmla="*/ 428353 w 1301641"/>
                  <a:gd name="connsiteY42" fmla="*/ 218296 h 705358"/>
                  <a:gd name="connsiteX43" fmla="*/ 451856 w 1301641"/>
                  <a:gd name="connsiteY43" fmla="*/ 221171 h 705358"/>
                  <a:gd name="connsiteX44" fmla="*/ 444022 w 1301641"/>
                  <a:gd name="connsiteY44" fmla="*/ 38609 h 705358"/>
                  <a:gd name="connsiteX45" fmla="*/ 417669 w 1301641"/>
                  <a:gd name="connsiteY45" fmla="*/ 38609 h 705358"/>
                  <a:gd name="connsiteX46" fmla="*/ 506040 w 1301641"/>
                  <a:gd name="connsiteY46" fmla="*/ 1138 h 705358"/>
                  <a:gd name="connsiteX47" fmla="*/ 719473 w 1301641"/>
                  <a:gd name="connsiteY47" fmla="*/ 27256 h 705358"/>
                  <a:gd name="connsiteX48" fmla="*/ 1087398 w 1301641"/>
                  <a:gd name="connsiteY48" fmla="*/ 287729 h 705358"/>
                  <a:gd name="connsiteX49" fmla="*/ 1164555 w 1301641"/>
                  <a:gd name="connsiteY49" fmla="*/ 315637 h 705358"/>
                  <a:gd name="connsiteX50" fmla="*/ 1232424 w 1301641"/>
                  <a:gd name="connsiteY50" fmla="*/ 379324 h 705358"/>
                  <a:gd name="connsiteX51" fmla="*/ 1275289 w 1301641"/>
                  <a:gd name="connsiteY51" fmla="*/ 482368 h 705358"/>
                  <a:gd name="connsiteX52" fmla="*/ 1281719 w 1301641"/>
                  <a:gd name="connsiteY52" fmla="*/ 508844 h 705358"/>
                  <a:gd name="connsiteX53" fmla="*/ 1278861 w 1301641"/>
                  <a:gd name="connsiteY53" fmla="*/ 686309 h 705358"/>
                  <a:gd name="connsiteX54" fmla="*/ 1251714 w 1301641"/>
                  <a:gd name="connsiteY54" fmla="*/ 686309 h 705358"/>
                  <a:gd name="connsiteX55" fmla="*/ 1256714 w 1301641"/>
                  <a:gd name="connsiteY55" fmla="*/ 646236 h 705358"/>
                  <a:gd name="connsiteX56" fmla="*/ 1101686 w 1301641"/>
                  <a:gd name="connsiteY56" fmla="*/ 490955 h 705358"/>
                  <a:gd name="connsiteX57" fmla="*/ 948086 w 1301641"/>
                  <a:gd name="connsiteY57" fmla="*/ 646236 h 705358"/>
                  <a:gd name="connsiteX58" fmla="*/ 953087 w 1301641"/>
                  <a:gd name="connsiteY58" fmla="*/ 686309 h 705358"/>
                  <a:gd name="connsiteX59" fmla="*/ 930940 w 1301641"/>
                  <a:gd name="connsiteY59" fmla="*/ 686309 h 705358"/>
                  <a:gd name="connsiteX60" fmla="*/ 354405 w 1301641"/>
                  <a:gd name="connsiteY60" fmla="*/ 670566 h 705358"/>
                  <a:gd name="connsiteX61" fmla="*/ 345118 w 1301641"/>
                  <a:gd name="connsiteY61" fmla="*/ 669135 h 705358"/>
                  <a:gd name="connsiteX62" fmla="*/ 347261 w 1301641"/>
                  <a:gd name="connsiteY62" fmla="*/ 646236 h 705358"/>
                  <a:gd name="connsiteX63" fmla="*/ 192233 w 1301641"/>
                  <a:gd name="connsiteY63" fmla="*/ 490955 h 705358"/>
                  <a:gd name="connsiteX64" fmla="*/ 38633 w 1301641"/>
                  <a:gd name="connsiteY64" fmla="*/ 632640 h 705358"/>
                  <a:gd name="connsiteX65" fmla="*/ 26488 w 1301641"/>
                  <a:gd name="connsiteY65" fmla="*/ 631209 h 705358"/>
                  <a:gd name="connsiteX66" fmla="*/ 3626 w 1301641"/>
                  <a:gd name="connsiteY66" fmla="*/ 603301 h 705358"/>
                  <a:gd name="connsiteX67" fmla="*/ 22916 w 1301641"/>
                  <a:gd name="connsiteY67" fmla="*/ 419396 h 705358"/>
                  <a:gd name="connsiteX68" fmla="*/ 35775 w 1301641"/>
                  <a:gd name="connsiteY68" fmla="*/ 400076 h 705358"/>
                  <a:gd name="connsiteX69" fmla="*/ 47206 w 1301641"/>
                  <a:gd name="connsiteY69" fmla="*/ 388626 h 705358"/>
                  <a:gd name="connsiteX70" fmla="*/ 65066 w 1301641"/>
                  <a:gd name="connsiteY70" fmla="*/ 234060 h 705358"/>
                  <a:gd name="connsiteX71" fmla="*/ 167942 w 1301641"/>
                  <a:gd name="connsiteY71" fmla="*/ 47293 h 705358"/>
                  <a:gd name="connsiteX72" fmla="*/ 167942 w 1301641"/>
                  <a:gd name="connsiteY72" fmla="*/ 43715 h 705358"/>
                  <a:gd name="connsiteX73" fmla="*/ 156512 w 1301641"/>
                  <a:gd name="connsiteY73" fmla="*/ 27256 h 705358"/>
                  <a:gd name="connsiteX74" fmla="*/ 158655 w 1301641"/>
                  <a:gd name="connsiteY74" fmla="*/ 22247 h 705358"/>
                  <a:gd name="connsiteX75" fmla="*/ 506040 w 1301641"/>
                  <a:gd name="connsiteY75" fmla="*/ 1138 h 70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301641" h="705358">
                    <a:moveTo>
                      <a:pt x="1101221" y="584708"/>
                    </a:moveTo>
                    <a:cubicBezTo>
                      <a:pt x="1134931" y="584708"/>
                      <a:pt x="1161469" y="611123"/>
                      <a:pt x="1161469" y="644676"/>
                    </a:cubicBezTo>
                    <a:cubicBezTo>
                      <a:pt x="1161469" y="660382"/>
                      <a:pt x="1155731" y="674660"/>
                      <a:pt x="1146407" y="685369"/>
                    </a:cubicBezTo>
                    <a:cubicBezTo>
                      <a:pt x="1134931" y="697505"/>
                      <a:pt x="1119152" y="705358"/>
                      <a:pt x="1101221" y="705358"/>
                    </a:cubicBezTo>
                    <a:cubicBezTo>
                      <a:pt x="1084007" y="705358"/>
                      <a:pt x="1068944" y="697505"/>
                      <a:pt x="1057468" y="685369"/>
                    </a:cubicBezTo>
                    <a:cubicBezTo>
                      <a:pt x="1048144" y="674660"/>
                      <a:pt x="1042406" y="660382"/>
                      <a:pt x="1042406" y="644676"/>
                    </a:cubicBezTo>
                    <a:cubicBezTo>
                      <a:pt x="1042406" y="611123"/>
                      <a:pt x="1068944" y="584708"/>
                      <a:pt x="1101221" y="584708"/>
                    </a:cubicBezTo>
                    <a:close/>
                    <a:moveTo>
                      <a:pt x="191149" y="584708"/>
                    </a:moveTo>
                    <a:cubicBezTo>
                      <a:pt x="223989" y="584708"/>
                      <a:pt x="251831" y="611123"/>
                      <a:pt x="251831" y="644676"/>
                    </a:cubicBezTo>
                    <a:cubicBezTo>
                      <a:pt x="251831" y="648246"/>
                      <a:pt x="251117" y="652529"/>
                      <a:pt x="250403" y="656099"/>
                    </a:cubicBezTo>
                    <a:cubicBezTo>
                      <a:pt x="244692" y="684655"/>
                      <a:pt x="220419" y="705358"/>
                      <a:pt x="191149" y="705358"/>
                    </a:cubicBezTo>
                    <a:cubicBezTo>
                      <a:pt x="158310" y="705358"/>
                      <a:pt x="131181" y="678230"/>
                      <a:pt x="131181" y="644676"/>
                    </a:cubicBezTo>
                    <a:cubicBezTo>
                      <a:pt x="131181" y="643962"/>
                      <a:pt x="131181" y="643248"/>
                      <a:pt x="131181" y="642534"/>
                    </a:cubicBezTo>
                    <a:cubicBezTo>
                      <a:pt x="132609" y="610409"/>
                      <a:pt x="159024" y="584708"/>
                      <a:pt x="191149" y="584708"/>
                    </a:cubicBezTo>
                    <a:close/>
                    <a:moveTo>
                      <a:pt x="1138199" y="335471"/>
                    </a:moveTo>
                    <a:cubicBezTo>
                      <a:pt x="1136778" y="335471"/>
                      <a:pt x="1136068" y="336180"/>
                      <a:pt x="1136778" y="336890"/>
                    </a:cubicBezTo>
                    <a:cubicBezTo>
                      <a:pt x="1143170" y="348948"/>
                      <a:pt x="1181521" y="414204"/>
                      <a:pt x="1239047" y="434774"/>
                    </a:cubicBezTo>
                    <a:cubicBezTo>
                      <a:pt x="1241888" y="435483"/>
                      <a:pt x="1244018" y="433355"/>
                      <a:pt x="1242598" y="431227"/>
                    </a:cubicBezTo>
                    <a:cubicBezTo>
                      <a:pt x="1234786" y="412076"/>
                      <a:pt x="1203537" y="346820"/>
                      <a:pt x="1138199" y="335471"/>
                    </a:cubicBezTo>
                    <a:close/>
                    <a:moveTo>
                      <a:pt x="77972" y="306017"/>
                    </a:moveTo>
                    <a:cubicBezTo>
                      <a:pt x="71567" y="305309"/>
                      <a:pt x="65874" y="308139"/>
                      <a:pt x="63028" y="313799"/>
                    </a:cubicBezTo>
                    <a:cubicBezTo>
                      <a:pt x="57335" y="324411"/>
                      <a:pt x="50218" y="344220"/>
                      <a:pt x="58758" y="361907"/>
                    </a:cubicBezTo>
                    <a:cubicBezTo>
                      <a:pt x="61604" y="366859"/>
                      <a:pt x="67298" y="370396"/>
                      <a:pt x="73702" y="369689"/>
                    </a:cubicBezTo>
                    <a:cubicBezTo>
                      <a:pt x="87223" y="368274"/>
                      <a:pt x="113554" y="363321"/>
                      <a:pt x="129210" y="342805"/>
                    </a:cubicBezTo>
                    <a:cubicBezTo>
                      <a:pt x="132768" y="337853"/>
                      <a:pt x="132057" y="331485"/>
                      <a:pt x="127787" y="326533"/>
                    </a:cubicBezTo>
                    <a:cubicBezTo>
                      <a:pt x="120670" y="318751"/>
                      <a:pt x="105726" y="308139"/>
                      <a:pt x="77972" y="306017"/>
                    </a:cubicBezTo>
                    <a:close/>
                    <a:moveTo>
                      <a:pt x="91635" y="235278"/>
                    </a:moveTo>
                    <a:cubicBezTo>
                      <a:pt x="85257" y="233871"/>
                      <a:pt x="79587" y="235982"/>
                      <a:pt x="76043" y="240907"/>
                    </a:cubicBezTo>
                    <a:cubicBezTo>
                      <a:pt x="69665" y="250053"/>
                      <a:pt x="59743" y="267641"/>
                      <a:pt x="66122" y="285933"/>
                    </a:cubicBezTo>
                    <a:cubicBezTo>
                      <a:pt x="67539" y="291562"/>
                      <a:pt x="72500" y="295080"/>
                      <a:pt x="78170" y="295080"/>
                    </a:cubicBezTo>
                    <a:cubicBezTo>
                      <a:pt x="91635" y="295783"/>
                      <a:pt x="117148" y="295080"/>
                      <a:pt x="134866" y="277491"/>
                    </a:cubicBezTo>
                    <a:cubicBezTo>
                      <a:pt x="139118" y="273270"/>
                      <a:pt x="139118" y="266938"/>
                      <a:pt x="135575" y="262013"/>
                    </a:cubicBezTo>
                    <a:cubicBezTo>
                      <a:pt x="129905" y="253570"/>
                      <a:pt x="117148" y="241610"/>
                      <a:pt x="91635" y="235278"/>
                    </a:cubicBezTo>
                    <a:close/>
                    <a:moveTo>
                      <a:pt x="467731" y="38609"/>
                    </a:moveTo>
                    <a:cubicBezTo>
                      <a:pt x="467731" y="38609"/>
                      <a:pt x="467731" y="38609"/>
                      <a:pt x="473444" y="221974"/>
                    </a:cubicBezTo>
                    <a:cubicBezTo>
                      <a:pt x="473444" y="221974"/>
                      <a:pt x="473444" y="221974"/>
                      <a:pt x="992563" y="291896"/>
                    </a:cubicBezTo>
                    <a:cubicBezTo>
                      <a:pt x="997561" y="292609"/>
                      <a:pt x="1001131" y="286188"/>
                      <a:pt x="996847" y="281907"/>
                    </a:cubicBezTo>
                    <a:cubicBezTo>
                      <a:pt x="946149" y="236244"/>
                      <a:pt x="763351" y="74997"/>
                      <a:pt x="664811" y="47884"/>
                    </a:cubicBezTo>
                    <a:cubicBezTo>
                      <a:pt x="545563" y="40750"/>
                      <a:pt x="467731" y="38609"/>
                      <a:pt x="467731" y="38609"/>
                    </a:cubicBezTo>
                    <a:close/>
                    <a:moveTo>
                      <a:pt x="417669" y="38609"/>
                    </a:moveTo>
                    <a:cubicBezTo>
                      <a:pt x="417669" y="38609"/>
                      <a:pt x="336475" y="47234"/>
                      <a:pt x="320805" y="170140"/>
                    </a:cubicBezTo>
                    <a:cubicBezTo>
                      <a:pt x="320093" y="173015"/>
                      <a:pt x="322230" y="175890"/>
                      <a:pt x="325079" y="176609"/>
                    </a:cubicBezTo>
                    <a:cubicBezTo>
                      <a:pt x="345021" y="180921"/>
                      <a:pt x="414820" y="196734"/>
                      <a:pt x="428353" y="218296"/>
                    </a:cubicBezTo>
                    <a:cubicBezTo>
                      <a:pt x="428353" y="218296"/>
                      <a:pt x="428353" y="218296"/>
                      <a:pt x="451856" y="221171"/>
                    </a:cubicBezTo>
                    <a:cubicBezTo>
                      <a:pt x="451856" y="221171"/>
                      <a:pt x="451856" y="221171"/>
                      <a:pt x="444022" y="38609"/>
                    </a:cubicBezTo>
                    <a:cubicBezTo>
                      <a:pt x="444022" y="38609"/>
                      <a:pt x="444022" y="38609"/>
                      <a:pt x="417669" y="38609"/>
                    </a:cubicBezTo>
                    <a:close/>
                    <a:moveTo>
                      <a:pt x="506040" y="1138"/>
                    </a:moveTo>
                    <a:cubicBezTo>
                      <a:pt x="603737" y="4716"/>
                      <a:pt x="679108" y="16165"/>
                      <a:pt x="719473" y="27256"/>
                    </a:cubicBezTo>
                    <a:cubicBezTo>
                      <a:pt x="800202" y="49440"/>
                      <a:pt x="1087398" y="287729"/>
                      <a:pt x="1087398" y="287729"/>
                    </a:cubicBezTo>
                    <a:cubicBezTo>
                      <a:pt x="1115260" y="287729"/>
                      <a:pt x="1143122" y="297032"/>
                      <a:pt x="1164555" y="315637"/>
                    </a:cubicBezTo>
                    <a:cubicBezTo>
                      <a:pt x="1188130" y="335673"/>
                      <a:pt x="1212421" y="359287"/>
                      <a:pt x="1232424" y="379324"/>
                    </a:cubicBezTo>
                    <a:cubicBezTo>
                      <a:pt x="1259572" y="406516"/>
                      <a:pt x="1275289" y="443726"/>
                      <a:pt x="1275289" y="482368"/>
                    </a:cubicBezTo>
                    <a:cubicBezTo>
                      <a:pt x="1275289" y="491670"/>
                      <a:pt x="1277433" y="500973"/>
                      <a:pt x="1281719" y="508844"/>
                    </a:cubicBezTo>
                    <a:cubicBezTo>
                      <a:pt x="1328156" y="596146"/>
                      <a:pt x="1278861" y="686309"/>
                      <a:pt x="1278861" y="686309"/>
                    </a:cubicBezTo>
                    <a:cubicBezTo>
                      <a:pt x="1278861" y="686309"/>
                      <a:pt x="1278861" y="686309"/>
                      <a:pt x="1251714" y="686309"/>
                    </a:cubicBezTo>
                    <a:cubicBezTo>
                      <a:pt x="1254571" y="673429"/>
                      <a:pt x="1256714" y="659833"/>
                      <a:pt x="1256714" y="646236"/>
                    </a:cubicBezTo>
                    <a:cubicBezTo>
                      <a:pt x="1256714" y="560366"/>
                      <a:pt x="1187416" y="490955"/>
                      <a:pt x="1101686" y="490955"/>
                    </a:cubicBezTo>
                    <a:cubicBezTo>
                      <a:pt x="1017385" y="490955"/>
                      <a:pt x="948086" y="560366"/>
                      <a:pt x="948086" y="646236"/>
                    </a:cubicBezTo>
                    <a:cubicBezTo>
                      <a:pt x="948086" y="659833"/>
                      <a:pt x="949515" y="673429"/>
                      <a:pt x="953087" y="686309"/>
                    </a:cubicBezTo>
                    <a:cubicBezTo>
                      <a:pt x="953087" y="686309"/>
                      <a:pt x="953087" y="686309"/>
                      <a:pt x="930940" y="686309"/>
                    </a:cubicBezTo>
                    <a:cubicBezTo>
                      <a:pt x="930940" y="686309"/>
                      <a:pt x="930940" y="686309"/>
                      <a:pt x="354405" y="670566"/>
                    </a:cubicBezTo>
                    <a:cubicBezTo>
                      <a:pt x="354405" y="670566"/>
                      <a:pt x="354405" y="670566"/>
                      <a:pt x="345118" y="669135"/>
                    </a:cubicBezTo>
                    <a:cubicBezTo>
                      <a:pt x="346547" y="661264"/>
                      <a:pt x="347261" y="654108"/>
                      <a:pt x="347261" y="646236"/>
                    </a:cubicBezTo>
                    <a:cubicBezTo>
                      <a:pt x="347261" y="560366"/>
                      <a:pt x="277248" y="490955"/>
                      <a:pt x="192233" y="490955"/>
                    </a:cubicBezTo>
                    <a:cubicBezTo>
                      <a:pt x="112218" y="490955"/>
                      <a:pt x="45777" y="553211"/>
                      <a:pt x="38633" y="632640"/>
                    </a:cubicBezTo>
                    <a:cubicBezTo>
                      <a:pt x="38633" y="632640"/>
                      <a:pt x="38633" y="632640"/>
                      <a:pt x="26488" y="631209"/>
                    </a:cubicBezTo>
                    <a:cubicBezTo>
                      <a:pt x="9342" y="625485"/>
                      <a:pt x="3626" y="603301"/>
                      <a:pt x="3626" y="603301"/>
                    </a:cubicBezTo>
                    <a:cubicBezTo>
                      <a:pt x="-8519" y="513853"/>
                      <a:pt x="12914" y="445873"/>
                      <a:pt x="22916" y="419396"/>
                    </a:cubicBezTo>
                    <a:cubicBezTo>
                      <a:pt x="25773" y="412241"/>
                      <a:pt x="30060" y="405800"/>
                      <a:pt x="35775" y="400076"/>
                    </a:cubicBezTo>
                    <a:cubicBezTo>
                      <a:pt x="35775" y="400076"/>
                      <a:pt x="35775" y="400076"/>
                      <a:pt x="47206" y="388626"/>
                    </a:cubicBezTo>
                    <a:cubicBezTo>
                      <a:pt x="48635" y="270555"/>
                      <a:pt x="65066" y="234060"/>
                      <a:pt x="65066" y="234060"/>
                    </a:cubicBezTo>
                    <a:cubicBezTo>
                      <a:pt x="101502" y="135310"/>
                      <a:pt x="157941" y="60173"/>
                      <a:pt x="167942" y="47293"/>
                    </a:cubicBezTo>
                    <a:cubicBezTo>
                      <a:pt x="168657" y="46577"/>
                      <a:pt x="168657" y="45146"/>
                      <a:pt x="167942" y="43715"/>
                    </a:cubicBezTo>
                    <a:cubicBezTo>
                      <a:pt x="167942" y="43715"/>
                      <a:pt x="167942" y="43715"/>
                      <a:pt x="156512" y="27256"/>
                    </a:cubicBezTo>
                    <a:cubicBezTo>
                      <a:pt x="155083" y="25825"/>
                      <a:pt x="156512" y="22963"/>
                      <a:pt x="158655" y="22247"/>
                    </a:cubicBezTo>
                    <a:cubicBezTo>
                      <a:pt x="288322" y="1853"/>
                      <a:pt x="408344" y="-2440"/>
                      <a:pt x="506040" y="113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spTree>
    <p:extLst>
      <p:ext uri="{BB962C8B-B14F-4D97-AF65-F5344CB8AC3E}">
        <p14:creationId xmlns:p14="http://schemas.microsoft.com/office/powerpoint/2010/main" val="413535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26297B-A61F-4DDB-9A8E-8776977CF1A3}"/>
              </a:ext>
            </a:extLst>
          </p:cNvPr>
          <p:cNvSpPr/>
          <p:nvPr>
            <p:custDataLst>
              <p:tags r:id="rId2"/>
            </p:custDataLst>
          </p:nvPr>
        </p:nvSpPr>
        <p:spPr bwMode="auto">
          <a:xfrm>
            <a:off x="914400" y="2000250"/>
            <a:ext cx="7315200" cy="2381250"/>
          </a:xfrm>
          <a:prstGeom prst="rect">
            <a:avLst/>
          </a:prstGeom>
          <a:noFill/>
          <a:ln w="9525" cmpd="sng">
            <a:solidFill>
              <a:srgbClr val="0A4E78"/>
            </a:solidFill>
            <a:prstDash val="soli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spcBef>
                <a:spcPts val="0"/>
              </a:spcBef>
              <a:spcAft>
                <a:spcPts val="0"/>
              </a:spcAft>
              <a:buFont typeface="Arial" panose="020B0604020202020204" pitchFamily="34" charset="0"/>
            </a:pPr>
            <a:r>
              <a:rPr lang="en-US" sz="4100" i="1">
                <a:solidFill>
                  <a:srgbClr val="0A4E78"/>
                </a:solidFill>
                <a:latin typeface="+mn-lt"/>
                <a:cs typeface="+mn-cs"/>
              </a:rPr>
              <a:t>Fotografische Abbildungen</a:t>
            </a:r>
          </a:p>
        </p:txBody>
      </p:sp>
      <p:sp>
        <p:nvSpPr>
          <p:cNvPr id="2" name="Rectangle 1">
            <a:extLst>
              <a:ext uri="{FF2B5EF4-FFF2-40B4-BE49-F238E27FC236}">
                <a16:creationId xmlns:a16="http://schemas.microsoft.com/office/drawing/2014/main" id="{FFE34716-9C08-4D11-8F2A-69530BBBEAC5}"/>
              </a:ext>
            </a:extLst>
          </p:cNvPr>
          <p:cNvSpPr/>
          <p:nvPr>
            <p:custDataLst>
              <p:tags r:id="rId3"/>
            </p:custDataLst>
          </p:nvPr>
        </p:nvSpPr>
        <p:spPr bwMode="auto">
          <a:xfrm>
            <a:off x="914400" y="1076325"/>
            <a:ext cx="714375" cy="714375"/>
          </a:xfrm>
          <a:prstGeom prst="rect">
            <a:avLst/>
          </a:prstGeom>
          <a:noFill/>
          <a:ln w="9525" cmpd="sng">
            <a:solidFill>
              <a:srgbClr val="0A4E78"/>
            </a:solidFill>
            <a:prstDash val="soli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buFont typeface="Arial" panose="020B0604020202020204" pitchFamily="34" charset="0"/>
            </a:pPr>
            <a:endParaRPr lang="en-US" sz="1200">
              <a:solidFill>
                <a:srgbClr val="0A4E78"/>
              </a:solidFill>
              <a:latin typeface="+mn-lt"/>
              <a:cs typeface="+mn-cs"/>
            </a:endParaRPr>
          </a:p>
        </p:txBody>
      </p:sp>
    </p:spTree>
    <p:custDataLst>
      <p:tags r:id="rId1"/>
    </p:custDataLst>
    <p:extLst>
      <p:ext uri="{BB962C8B-B14F-4D97-AF65-F5344CB8AC3E}">
        <p14:creationId xmlns:p14="http://schemas.microsoft.com/office/powerpoint/2010/main" val="1655654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33D22C79-94E0-43FC-BE31-12DEF1564C15}"/>
              </a:ext>
            </a:extLst>
          </p:cNvPr>
          <p:cNvGraphicFramePr>
            <a:graphicFrameLocks noChangeAspect="1"/>
          </p:cNvGraphicFramePr>
          <p:nvPr>
            <p:custDataLst>
              <p:tags r:id="rId2"/>
            </p:custDataLst>
            <p:extLst>
              <p:ext uri="{D42A27DB-BD31-4B8C-83A1-F6EECF244321}">
                <p14:modId xmlns:p14="http://schemas.microsoft.com/office/powerpoint/2010/main" val="1369675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D54A292-E415-4CB0-9E0E-F109FCD7D6F3}"/>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3221" b="90358" l="10000" r="90000"/>
                    </a14:imgEffect>
                  </a14:imgLayer>
                </a14:imgProps>
              </a:ext>
            </a:extLst>
          </a:blip>
          <a:srcRect t="3579" b="-1"/>
          <a:stretch/>
        </p:blipFill>
        <p:spPr>
          <a:xfrm>
            <a:off x="6655149" y="1871944"/>
            <a:ext cx="1874504" cy="2090446"/>
          </a:xfrm>
          <a:prstGeom prst="rect">
            <a:avLst/>
          </a:prstGeom>
        </p:spPr>
      </p:pic>
      <p:pic>
        <p:nvPicPr>
          <p:cNvPr id="5" name="Picture 4">
            <a:extLst>
              <a:ext uri="{FF2B5EF4-FFF2-40B4-BE49-F238E27FC236}">
                <a16:creationId xmlns:a16="http://schemas.microsoft.com/office/drawing/2014/main" id="{1BD4E19B-2FA6-4E6E-B10B-B70695A66E59}"/>
              </a:ext>
            </a:extLst>
          </p:cNvPr>
          <p:cNvPicPr>
            <a:picLocks noChangeAspect="1"/>
          </p:cNvPicPr>
          <p:nvPr/>
        </p:nvPicPr>
        <p:blipFill>
          <a:blip r:embed="rId8"/>
          <a:stretch>
            <a:fillRect/>
          </a:stretch>
        </p:blipFill>
        <p:spPr>
          <a:xfrm>
            <a:off x="1063679" y="2297710"/>
            <a:ext cx="402616" cy="1074436"/>
          </a:xfrm>
          <a:prstGeom prst="rect">
            <a:avLst/>
          </a:prstGeom>
        </p:spPr>
      </p:pic>
      <p:pic>
        <p:nvPicPr>
          <p:cNvPr id="7" name="Picture 6">
            <a:extLst>
              <a:ext uri="{FF2B5EF4-FFF2-40B4-BE49-F238E27FC236}">
                <a16:creationId xmlns:a16="http://schemas.microsoft.com/office/drawing/2014/main" id="{B323905A-B201-4ED4-9E6F-F663FA456C4C}"/>
              </a:ext>
            </a:extLst>
          </p:cNvPr>
          <p:cNvPicPr>
            <a:picLocks noChangeAspect="1"/>
          </p:cNvPicPr>
          <p:nvPr/>
        </p:nvPicPr>
        <p:blipFill rotWithShape="1">
          <a:blip r:embed="rId9"/>
          <a:srcRect l="26789" t="10724" r="25296" b="10458"/>
          <a:stretch/>
        </p:blipFill>
        <p:spPr>
          <a:xfrm>
            <a:off x="860036" y="1023164"/>
            <a:ext cx="687992" cy="848780"/>
          </a:xfrm>
          <a:prstGeom prst="rect">
            <a:avLst/>
          </a:prstGeom>
        </p:spPr>
      </p:pic>
      <p:pic>
        <p:nvPicPr>
          <p:cNvPr id="9" name="Picture 8">
            <a:extLst>
              <a:ext uri="{FF2B5EF4-FFF2-40B4-BE49-F238E27FC236}">
                <a16:creationId xmlns:a16="http://schemas.microsoft.com/office/drawing/2014/main" id="{DE2D4099-0478-492D-8C2E-A4D7F09F35CB}"/>
              </a:ext>
            </a:extLst>
          </p:cNvPr>
          <p:cNvPicPr>
            <a:picLocks noChangeAspect="1"/>
          </p:cNvPicPr>
          <p:nvPr/>
        </p:nvPicPr>
        <p:blipFill rotWithShape="1">
          <a:blip r:embed="rId10"/>
          <a:srcRect l="5005" r="5005"/>
          <a:stretch/>
        </p:blipFill>
        <p:spPr>
          <a:xfrm>
            <a:off x="3649713" y="3783899"/>
            <a:ext cx="786236" cy="876806"/>
          </a:xfrm>
          <a:prstGeom prst="rect">
            <a:avLst/>
          </a:prstGeom>
        </p:spPr>
      </p:pic>
      <p:pic>
        <p:nvPicPr>
          <p:cNvPr id="11" name="Picture 10">
            <a:extLst>
              <a:ext uri="{FF2B5EF4-FFF2-40B4-BE49-F238E27FC236}">
                <a16:creationId xmlns:a16="http://schemas.microsoft.com/office/drawing/2014/main" id="{4906A984-0991-4D9F-B96E-490786791A98}"/>
              </a:ext>
            </a:extLst>
          </p:cNvPr>
          <p:cNvPicPr>
            <a:picLocks noChangeAspect="1"/>
          </p:cNvPicPr>
          <p:nvPr/>
        </p:nvPicPr>
        <p:blipFill rotWithShape="1">
          <a:blip r:embed="rId11"/>
          <a:srcRect l="5165" r="5165"/>
          <a:stretch/>
        </p:blipFill>
        <p:spPr>
          <a:xfrm>
            <a:off x="3597240" y="2375562"/>
            <a:ext cx="989424" cy="1103398"/>
          </a:xfrm>
          <a:prstGeom prst="rect">
            <a:avLst/>
          </a:prstGeom>
        </p:spPr>
      </p:pic>
      <p:pic>
        <p:nvPicPr>
          <p:cNvPr id="13" name="Picture 12">
            <a:extLst>
              <a:ext uri="{FF2B5EF4-FFF2-40B4-BE49-F238E27FC236}">
                <a16:creationId xmlns:a16="http://schemas.microsoft.com/office/drawing/2014/main" id="{15B7DB54-A4CA-429C-8630-BD2B961E2529}"/>
              </a:ext>
            </a:extLst>
          </p:cNvPr>
          <p:cNvPicPr>
            <a:picLocks noChangeAspect="1"/>
          </p:cNvPicPr>
          <p:nvPr/>
        </p:nvPicPr>
        <p:blipFill rotWithShape="1">
          <a:blip r:embed="rId12"/>
          <a:srcRect l="9472" r="9472"/>
          <a:stretch/>
        </p:blipFill>
        <p:spPr>
          <a:xfrm>
            <a:off x="3747955" y="915255"/>
            <a:ext cx="687994" cy="848782"/>
          </a:xfrm>
          <a:prstGeom prst="rect">
            <a:avLst/>
          </a:prstGeom>
        </p:spPr>
      </p:pic>
      <p:pic>
        <p:nvPicPr>
          <p:cNvPr id="15" name="Picture 14">
            <a:extLst>
              <a:ext uri="{FF2B5EF4-FFF2-40B4-BE49-F238E27FC236}">
                <a16:creationId xmlns:a16="http://schemas.microsoft.com/office/drawing/2014/main" id="{070C47E5-B92B-4529-A6E2-58AA5FC56A6E}"/>
              </a:ext>
            </a:extLst>
          </p:cNvPr>
          <p:cNvPicPr>
            <a:picLocks noChangeAspect="1"/>
          </p:cNvPicPr>
          <p:nvPr/>
        </p:nvPicPr>
        <p:blipFill rotWithShape="1">
          <a:blip r:embed="rId13"/>
          <a:srcRect l="9339" r="9339"/>
          <a:stretch/>
        </p:blipFill>
        <p:spPr>
          <a:xfrm>
            <a:off x="960463" y="3846610"/>
            <a:ext cx="609048" cy="751384"/>
          </a:xfrm>
          <a:prstGeom prst="rect">
            <a:avLst/>
          </a:prstGeom>
        </p:spPr>
      </p:pic>
      <p:sp>
        <p:nvSpPr>
          <p:cNvPr id="16" name="ee4pHeader3">
            <a:extLst>
              <a:ext uri="{FF2B5EF4-FFF2-40B4-BE49-F238E27FC236}">
                <a16:creationId xmlns:a16="http://schemas.microsoft.com/office/drawing/2014/main" id="{F99C5D95-724E-4757-80D0-EA4C1269FA10}"/>
              </a:ext>
            </a:extLst>
          </p:cNvPr>
          <p:cNvSpPr txBox="1"/>
          <p:nvPr/>
        </p:nvSpPr>
        <p:spPr>
          <a:xfrm>
            <a:off x="1766468" y="4129969"/>
            <a:ext cx="1315702" cy="184666"/>
          </a:xfrm>
          <a:prstGeom prst="rect">
            <a:avLst/>
          </a:prstGeom>
          <a:noFill/>
          <a:ln cap="rnd">
            <a:noFill/>
          </a:ln>
        </p:spPr>
        <p:txBody>
          <a:bodyPr wrap="square" lIns="0" tIns="0" rIns="0" bIns="0" rtlCol="0" anchor="b" anchorCtr="0">
            <a:noAutofit/>
          </a:bodyPr>
          <a:lstStyle/>
          <a:p>
            <a:pPr marL="0" lvl="3"/>
            <a:r>
              <a:rPr lang="de-DE" sz="1200" dirty="0">
                <a:solidFill>
                  <a:srgbClr val="000000"/>
                </a:solidFill>
              </a:rPr>
              <a:t>Abstrichtupfer </a:t>
            </a:r>
          </a:p>
          <a:p>
            <a:pPr marL="0" lvl="3"/>
            <a:r>
              <a:rPr lang="de-DE" sz="1200" dirty="0">
                <a:solidFill>
                  <a:srgbClr val="000000"/>
                </a:solidFill>
              </a:rPr>
              <a:t>im Transportrohr</a:t>
            </a:r>
          </a:p>
        </p:txBody>
      </p:sp>
      <p:sp>
        <p:nvSpPr>
          <p:cNvPr id="17" name="ee4pHeader1">
            <a:extLst>
              <a:ext uri="{FF2B5EF4-FFF2-40B4-BE49-F238E27FC236}">
                <a16:creationId xmlns:a16="http://schemas.microsoft.com/office/drawing/2014/main" id="{CC75FA3A-F622-4C91-918A-7E37923EFB5C}"/>
              </a:ext>
            </a:extLst>
          </p:cNvPr>
          <p:cNvSpPr txBox="1"/>
          <p:nvPr/>
        </p:nvSpPr>
        <p:spPr>
          <a:xfrm>
            <a:off x="1785394" y="1355221"/>
            <a:ext cx="1315702" cy="184666"/>
          </a:xfrm>
          <a:prstGeom prst="rect">
            <a:avLst/>
          </a:prstGeom>
          <a:noFill/>
          <a:ln cap="rnd">
            <a:noFill/>
          </a:ln>
        </p:spPr>
        <p:txBody>
          <a:bodyPr wrap="square" lIns="0" tIns="0" rIns="0" bIns="0" rtlCol="0" anchor="b" anchorCtr="0">
            <a:noAutofit/>
          </a:bodyPr>
          <a:lstStyle/>
          <a:p>
            <a:pPr marL="0" lvl="3"/>
            <a:r>
              <a:rPr lang="de-DE" sz="1200" dirty="0">
                <a:solidFill>
                  <a:srgbClr val="000000"/>
                </a:solidFill>
              </a:rPr>
              <a:t>Abstrichtupfer</a:t>
            </a:r>
          </a:p>
        </p:txBody>
      </p:sp>
      <p:sp>
        <p:nvSpPr>
          <p:cNvPr id="18" name="ee4pHeader3">
            <a:extLst>
              <a:ext uri="{FF2B5EF4-FFF2-40B4-BE49-F238E27FC236}">
                <a16:creationId xmlns:a16="http://schemas.microsoft.com/office/drawing/2014/main" id="{D2D65EF1-0EBD-4E00-B693-1895A231A493}"/>
              </a:ext>
            </a:extLst>
          </p:cNvPr>
          <p:cNvSpPr txBox="1"/>
          <p:nvPr/>
        </p:nvSpPr>
        <p:spPr>
          <a:xfrm>
            <a:off x="1785394" y="2742595"/>
            <a:ext cx="1418454" cy="184666"/>
          </a:xfrm>
          <a:prstGeom prst="rect">
            <a:avLst/>
          </a:prstGeom>
          <a:noFill/>
          <a:ln cap="rnd">
            <a:noFill/>
          </a:ln>
        </p:spPr>
        <p:txBody>
          <a:bodyPr wrap="square" lIns="0" tIns="0" rIns="0" bIns="0" rtlCol="0" anchor="ctr" anchorCtr="0">
            <a:noAutofit/>
          </a:bodyPr>
          <a:lstStyle/>
          <a:p>
            <a:pPr marL="0" lvl="3"/>
            <a:r>
              <a:rPr lang="de-DE" sz="1200" dirty="0">
                <a:solidFill>
                  <a:srgbClr val="000000"/>
                </a:solidFill>
              </a:rPr>
              <a:t>Zentrifugenröhrchen,</a:t>
            </a:r>
            <a:br>
              <a:rPr lang="de-DE" sz="1200" dirty="0">
                <a:solidFill>
                  <a:srgbClr val="000000"/>
                </a:solidFill>
              </a:rPr>
            </a:br>
            <a:r>
              <a:rPr lang="de-DE" sz="1200" dirty="0">
                <a:solidFill>
                  <a:srgbClr val="000000"/>
                </a:solidFill>
              </a:rPr>
              <a:t>"Falcon-Tube"</a:t>
            </a:r>
          </a:p>
        </p:txBody>
      </p:sp>
      <p:sp>
        <p:nvSpPr>
          <p:cNvPr id="19" name="ee4pHeader4">
            <a:extLst>
              <a:ext uri="{FF2B5EF4-FFF2-40B4-BE49-F238E27FC236}">
                <a16:creationId xmlns:a16="http://schemas.microsoft.com/office/drawing/2014/main" id="{4402D740-001C-401E-B73D-A25B57FDA547}"/>
              </a:ext>
            </a:extLst>
          </p:cNvPr>
          <p:cNvSpPr txBox="1"/>
          <p:nvPr/>
        </p:nvSpPr>
        <p:spPr>
          <a:xfrm>
            <a:off x="4667989" y="2835461"/>
            <a:ext cx="1315702" cy="183600"/>
          </a:xfrm>
          <a:prstGeom prst="rect">
            <a:avLst/>
          </a:prstGeom>
          <a:noFill/>
          <a:ln cap="rnd">
            <a:noFill/>
          </a:ln>
        </p:spPr>
        <p:txBody>
          <a:bodyPr wrap="square" lIns="0" tIns="0" rIns="0" bIns="0" rtlCol="0" anchor="ctr" anchorCtr="0">
            <a:noAutofit/>
          </a:bodyPr>
          <a:lstStyle/>
          <a:p>
            <a:pPr marL="0" lvl="3"/>
            <a:r>
              <a:rPr lang="de-DE" sz="1200" dirty="0">
                <a:solidFill>
                  <a:srgbClr val="000000"/>
                </a:solidFill>
              </a:rPr>
              <a:t>Kreuzbodenbeutel</a:t>
            </a:r>
          </a:p>
        </p:txBody>
      </p:sp>
      <p:sp>
        <p:nvSpPr>
          <p:cNvPr id="20" name="ee4pHeader4">
            <a:extLst>
              <a:ext uri="{FF2B5EF4-FFF2-40B4-BE49-F238E27FC236}">
                <a16:creationId xmlns:a16="http://schemas.microsoft.com/office/drawing/2014/main" id="{BAE1BDA9-2948-4DE0-B726-91CB13D6F5F3}"/>
              </a:ext>
            </a:extLst>
          </p:cNvPr>
          <p:cNvSpPr txBox="1"/>
          <p:nvPr/>
        </p:nvSpPr>
        <p:spPr>
          <a:xfrm>
            <a:off x="4761201" y="4130502"/>
            <a:ext cx="1315702" cy="183600"/>
          </a:xfrm>
          <a:prstGeom prst="rect">
            <a:avLst/>
          </a:prstGeom>
          <a:noFill/>
          <a:ln cap="rnd">
            <a:noFill/>
          </a:ln>
        </p:spPr>
        <p:txBody>
          <a:bodyPr wrap="square" lIns="0" tIns="0" rIns="0" bIns="0" rtlCol="0" anchor="ctr" anchorCtr="0">
            <a:noAutofit/>
          </a:bodyPr>
          <a:lstStyle/>
          <a:p>
            <a:pPr marL="0" lvl="3"/>
            <a:r>
              <a:rPr lang="de-DE" sz="1200" dirty="0">
                <a:solidFill>
                  <a:srgbClr val="000000"/>
                </a:solidFill>
              </a:rPr>
              <a:t>Verschlussclip</a:t>
            </a:r>
          </a:p>
        </p:txBody>
      </p:sp>
      <p:sp>
        <p:nvSpPr>
          <p:cNvPr id="21" name="ee4pHeader4">
            <a:extLst>
              <a:ext uri="{FF2B5EF4-FFF2-40B4-BE49-F238E27FC236}">
                <a16:creationId xmlns:a16="http://schemas.microsoft.com/office/drawing/2014/main" id="{F0ED4D9F-24E4-4E3E-87AC-F121BD2EC72E}"/>
              </a:ext>
            </a:extLst>
          </p:cNvPr>
          <p:cNvSpPr txBox="1"/>
          <p:nvPr/>
        </p:nvSpPr>
        <p:spPr>
          <a:xfrm>
            <a:off x="7092280" y="3952111"/>
            <a:ext cx="1315702" cy="183600"/>
          </a:xfrm>
          <a:prstGeom prst="rect">
            <a:avLst/>
          </a:prstGeom>
          <a:noFill/>
          <a:ln cap="rnd">
            <a:noFill/>
          </a:ln>
        </p:spPr>
        <p:txBody>
          <a:bodyPr wrap="square" lIns="0" tIns="0" rIns="0" bIns="0" rtlCol="0" anchor="ctr" anchorCtr="0">
            <a:noAutofit/>
          </a:bodyPr>
          <a:lstStyle/>
          <a:p>
            <a:pPr marL="0" lvl="3"/>
            <a:r>
              <a:rPr lang="de-DE" sz="1200" dirty="0">
                <a:solidFill>
                  <a:srgbClr val="000000"/>
                </a:solidFill>
              </a:rPr>
              <a:t>Transportbox</a:t>
            </a:r>
          </a:p>
        </p:txBody>
      </p:sp>
      <p:sp>
        <p:nvSpPr>
          <p:cNvPr id="22" name="ee4pHeader3">
            <a:extLst>
              <a:ext uri="{FF2B5EF4-FFF2-40B4-BE49-F238E27FC236}">
                <a16:creationId xmlns:a16="http://schemas.microsoft.com/office/drawing/2014/main" id="{A9D289F3-DA99-4F31-9DDE-5DA531FCF63F}"/>
              </a:ext>
            </a:extLst>
          </p:cNvPr>
          <p:cNvSpPr txBox="1"/>
          <p:nvPr/>
        </p:nvSpPr>
        <p:spPr>
          <a:xfrm>
            <a:off x="4677529" y="1289292"/>
            <a:ext cx="1315702" cy="184666"/>
          </a:xfrm>
          <a:prstGeom prst="rect">
            <a:avLst/>
          </a:prstGeom>
          <a:noFill/>
          <a:ln cap="rnd">
            <a:noFill/>
          </a:ln>
        </p:spPr>
        <p:txBody>
          <a:bodyPr wrap="square" lIns="0" tIns="0" rIns="0" bIns="0" rtlCol="0" anchor="ctr" anchorCtr="0">
            <a:noAutofit/>
          </a:bodyPr>
          <a:lstStyle/>
          <a:p>
            <a:pPr marL="0" lvl="3"/>
            <a:r>
              <a:rPr lang="de-DE" sz="1200" dirty="0">
                <a:solidFill>
                  <a:srgbClr val="000000"/>
                </a:solidFill>
              </a:rPr>
              <a:t>Einweg- </a:t>
            </a:r>
          </a:p>
          <a:p>
            <a:pPr marL="0" lvl="3"/>
            <a:r>
              <a:rPr lang="de-DE" sz="1200" dirty="0">
                <a:solidFill>
                  <a:srgbClr val="000000"/>
                </a:solidFill>
              </a:rPr>
              <a:t>Plastikbeutel</a:t>
            </a:r>
          </a:p>
        </p:txBody>
      </p:sp>
      <p:sp>
        <p:nvSpPr>
          <p:cNvPr id="26" name="Title 25">
            <a:extLst>
              <a:ext uri="{FF2B5EF4-FFF2-40B4-BE49-F238E27FC236}">
                <a16:creationId xmlns:a16="http://schemas.microsoft.com/office/drawing/2014/main" id="{31BEF84A-2244-4087-91AF-D609A3B4FE16}"/>
              </a:ext>
            </a:extLst>
          </p:cNvPr>
          <p:cNvSpPr>
            <a:spLocks noGrp="1"/>
          </p:cNvSpPr>
          <p:nvPr>
            <p:ph type="title"/>
          </p:nvPr>
        </p:nvSpPr>
        <p:spPr>
          <a:xfrm>
            <a:off x="472500" y="300174"/>
            <a:ext cx="6331747" cy="415498"/>
          </a:xfrm>
        </p:spPr>
        <p:txBody>
          <a:bodyPr vert="horz"/>
          <a:lstStyle/>
          <a:p>
            <a:r>
              <a:rPr lang="de-DE" dirty="0"/>
              <a:t>Test- und Transportmaterialien</a:t>
            </a:r>
          </a:p>
        </p:txBody>
      </p:sp>
    </p:spTree>
    <p:extLst>
      <p:ext uri="{BB962C8B-B14F-4D97-AF65-F5344CB8AC3E}">
        <p14:creationId xmlns:p14="http://schemas.microsoft.com/office/powerpoint/2010/main" val="2641627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6C23D6-9FF3-45EF-AE8D-75336CF110D8}"/>
              </a:ext>
            </a:extLst>
          </p:cNvPr>
          <p:cNvSpPr/>
          <p:nvPr>
            <p:custDataLst>
              <p:tags r:id="rId2"/>
            </p:custDataLst>
          </p:nvPr>
        </p:nvSpPr>
        <p:spPr bwMode="auto">
          <a:xfrm>
            <a:off x="914400" y="2000250"/>
            <a:ext cx="7315200" cy="2381250"/>
          </a:xfrm>
          <a:prstGeom prst="rect">
            <a:avLst/>
          </a:prstGeom>
          <a:noFill/>
          <a:ln w="9525" cmpd="sng">
            <a:solidFill>
              <a:srgbClr val="0A4E78"/>
            </a:solidFill>
            <a:prstDash val="soli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spcBef>
                <a:spcPts val="0"/>
              </a:spcBef>
              <a:spcAft>
                <a:spcPts val="0"/>
              </a:spcAft>
              <a:buFont typeface="Arial" panose="020B0604020202020204" pitchFamily="34" charset="0"/>
            </a:pPr>
            <a:r>
              <a:rPr lang="en-US" sz="4100" i="1">
                <a:solidFill>
                  <a:srgbClr val="0A4E78"/>
                </a:solidFill>
                <a:latin typeface="+mn-lt"/>
                <a:cs typeface="+mn-cs"/>
              </a:rPr>
              <a:t>Beispielhafte Darstellungen</a:t>
            </a:r>
          </a:p>
        </p:txBody>
      </p:sp>
      <p:sp>
        <p:nvSpPr>
          <p:cNvPr id="2" name="Rectangle 1">
            <a:extLst>
              <a:ext uri="{FF2B5EF4-FFF2-40B4-BE49-F238E27FC236}">
                <a16:creationId xmlns:a16="http://schemas.microsoft.com/office/drawing/2014/main" id="{5A2CA700-C828-45F7-8C97-EA70037B6BCF}"/>
              </a:ext>
            </a:extLst>
          </p:cNvPr>
          <p:cNvSpPr/>
          <p:nvPr>
            <p:custDataLst>
              <p:tags r:id="rId3"/>
            </p:custDataLst>
          </p:nvPr>
        </p:nvSpPr>
        <p:spPr bwMode="auto">
          <a:xfrm>
            <a:off x="914400" y="1076325"/>
            <a:ext cx="714375" cy="714375"/>
          </a:xfrm>
          <a:prstGeom prst="rect">
            <a:avLst/>
          </a:prstGeom>
          <a:noFill/>
          <a:ln w="9525" cmpd="sng">
            <a:solidFill>
              <a:srgbClr val="0A4E78"/>
            </a:solidFill>
            <a:prstDash val="soli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buFont typeface="Arial" panose="020B0604020202020204" pitchFamily="34" charset="0"/>
            </a:pPr>
            <a:endParaRPr lang="en-US" sz="1200">
              <a:solidFill>
                <a:srgbClr val="0A4E78"/>
              </a:solidFill>
              <a:latin typeface="+mn-lt"/>
              <a:cs typeface="+mn-cs"/>
            </a:endParaRPr>
          </a:p>
        </p:txBody>
      </p:sp>
    </p:spTree>
    <p:custDataLst>
      <p:tags r:id="rId1"/>
    </p:custDataLst>
    <p:extLst>
      <p:ext uri="{BB962C8B-B14F-4D97-AF65-F5344CB8AC3E}">
        <p14:creationId xmlns:p14="http://schemas.microsoft.com/office/powerpoint/2010/main" val="613772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DC3362-C82C-482B-994A-8E3EDDE08937}"/>
              </a:ext>
            </a:extLst>
          </p:cNvPr>
          <p:cNvGraphicFramePr>
            <a:graphicFrameLocks noChangeAspect="1"/>
          </p:cNvGraphicFramePr>
          <p:nvPr>
            <p:custDataLst>
              <p:tags r:id="rId2"/>
            </p:custDataLst>
            <p:extLst>
              <p:ext uri="{D42A27DB-BD31-4B8C-83A1-F6EECF244321}">
                <p14:modId xmlns:p14="http://schemas.microsoft.com/office/powerpoint/2010/main" val="3748060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841CEF4-A50E-4857-AD61-DC2D4C441667}"/>
              </a:ext>
            </a:extLst>
          </p:cNvPr>
          <p:cNvSpPr/>
          <p:nvPr/>
        </p:nvSpPr>
        <p:spPr bwMode="auto">
          <a:xfrm>
            <a:off x="3386348" y="0"/>
            <a:ext cx="2372317" cy="271811"/>
          </a:xfrm>
          <a:prstGeom prst="rect">
            <a:avLst/>
          </a:prstGeom>
          <a:solidFill>
            <a:srgbClr val="0A4E7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200" dirty="0">
                <a:solidFill>
                  <a:schemeClr val="bg1"/>
                </a:solidFill>
                <a:latin typeface="+mn-lt"/>
                <a:cs typeface="+mn-cs"/>
              </a:rPr>
              <a:t>Exemplarische Darstellung</a:t>
            </a:r>
          </a:p>
        </p:txBody>
      </p:sp>
      <p:sp>
        <p:nvSpPr>
          <p:cNvPr id="3" name="Title 2">
            <a:extLst>
              <a:ext uri="{FF2B5EF4-FFF2-40B4-BE49-F238E27FC236}">
                <a16:creationId xmlns:a16="http://schemas.microsoft.com/office/drawing/2014/main" id="{C259E4F8-ECAC-4877-824F-D0B1BB8B5B6D}"/>
              </a:ext>
            </a:extLst>
          </p:cNvPr>
          <p:cNvSpPr>
            <a:spLocks noGrp="1"/>
          </p:cNvSpPr>
          <p:nvPr>
            <p:ph type="title"/>
          </p:nvPr>
        </p:nvSpPr>
        <p:spPr>
          <a:xfrm>
            <a:off x="472500" y="300174"/>
            <a:ext cx="6331747" cy="784830"/>
          </a:xfrm>
        </p:spPr>
        <p:txBody>
          <a:bodyPr vert="horz"/>
          <a:lstStyle/>
          <a:p>
            <a:r>
              <a:rPr lang="de-DE" dirty="0"/>
              <a:t>Die PCR-Pool-Tests können beispielsweise wie folgt organisiert werden</a:t>
            </a:r>
          </a:p>
        </p:txBody>
      </p:sp>
      <p:cxnSp>
        <p:nvCxnSpPr>
          <p:cNvPr id="95" name="Straight Connector 94">
            <a:extLst>
              <a:ext uri="{FF2B5EF4-FFF2-40B4-BE49-F238E27FC236}">
                <a16:creationId xmlns:a16="http://schemas.microsoft.com/office/drawing/2014/main" id="{D5D97EB2-025E-4E83-A770-C223F5A347C7}"/>
              </a:ext>
            </a:extLst>
          </p:cNvPr>
          <p:cNvCxnSpPr/>
          <p:nvPr/>
        </p:nvCxnSpPr>
        <p:spPr bwMode="auto">
          <a:xfrm>
            <a:off x="2483920" y="1691646"/>
            <a:ext cx="0" cy="2160240"/>
          </a:xfrm>
          <a:prstGeom prst="line">
            <a:avLst/>
          </a:prstGeom>
          <a:noFill/>
          <a:ln w="9525" cap="flat" cmpd="sng" algn="ctr">
            <a:solidFill>
              <a:srgbClr val="898989"/>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6" name="Group 25">
            <a:extLst>
              <a:ext uri="{FF2B5EF4-FFF2-40B4-BE49-F238E27FC236}">
                <a16:creationId xmlns:a16="http://schemas.microsoft.com/office/drawing/2014/main" id="{D565390E-51B5-41BA-97CB-D564B0AD303A}"/>
              </a:ext>
            </a:extLst>
          </p:cNvPr>
          <p:cNvGrpSpPr>
            <a:grpSpLocks noChangeAspect="1"/>
          </p:cNvGrpSpPr>
          <p:nvPr/>
        </p:nvGrpSpPr>
        <p:grpSpPr>
          <a:xfrm>
            <a:off x="918385" y="1786012"/>
            <a:ext cx="927085" cy="927085"/>
            <a:chOff x="5272088" y="2606675"/>
            <a:chExt cx="1644650" cy="1644650"/>
          </a:xfrm>
        </p:grpSpPr>
        <p:sp>
          <p:nvSpPr>
            <p:cNvPr id="27" name="AutoShape 3">
              <a:extLst>
                <a:ext uri="{FF2B5EF4-FFF2-40B4-BE49-F238E27FC236}">
                  <a16:creationId xmlns:a16="http://schemas.microsoft.com/office/drawing/2014/main" id="{9E592E5E-8DC1-4B96-8412-BAFBC3D88A8F}"/>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28" name="Group 27">
              <a:extLst>
                <a:ext uri="{FF2B5EF4-FFF2-40B4-BE49-F238E27FC236}">
                  <a16:creationId xmlns:a16="http://schemas.microsoft.com/office/drawing/2014/main" id="{4B268681-5528-47B7-94D8-DE541FCCAB20}"/>
                </a:ext>
              </a:extLst>
            </p:cNvPr>
            <p:cNvGrpSpPr/>
            <p:nvPr/>
          </p:nvGrpSpPr>
          <p:grpSpPr>
            <a:xfrm>
              <a:off x="5526088" y="2831048"/>
              <a:ext cx="1135063" cy="1250415"/>
              <a:chOff x="5526088" y="2831048"/>
              <a:chExt cx="1135063" cy="1250415"/>
            </a:xfrm>
          </p:grpSpPr>
          <p:sp>
            <p:nvSpPr>
              <p:cNvPr id="29" name="Freeform 10">
                <a:extLst>
                  <a:ext uri="{FF2B5EF4-FFF2-40B4-BE49-F238E27FC236}">
                    <a16:creationId xmlns:a16="http://schemas.microsoft.com/office/drawing/2014/main" id="{BFA86923-E5D4-4153-BFCF-C41EA1A1CE37}"/>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30" name="Freeform 11">
                <a:extLst>
                  <a:ext uri="{FF2B5EF4-FFF2-40B4-BE49-F238E27FC236}">
                    <a16:creationId xmlns:a16="http://schemas.microsoft.com/office/drawing/2014/main" id="{7EB50B07-E516-4BE5-8D91-DF8D170B0468}"/>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31" name="Group 30">
            <a:extLst>
              <a:ext uri="{FF2B5EF4-FFF2-40B4-BE49-F238E27FC236}">
                <a16:creationId xmlns:a16="http://schemas.microsoft.com/office/drawing/2014/main" id="{3459D638-9471-4C55-B376-73D55913E9A2}"/>
              </a:ext>
            </a:extLst>
          </p:cNvPr>
          <p:cNvGrpSpPr>
            <a:grpSpLocks noChangeAspect="1"/>
          </p:cNvGrpSpPr>
          <p:nvPr/>
        </p:nvGrpSpPr>
        <p:grpSpPr>
          <a:xfrm>
            <a:off x="607351" y="2748696"/>
            <a:ext cx="990663" cy="991581"/>
            <a:chOff x="5273800" y="2606041"/>
            <a:chExt cx="1644396" cy="1645920"/>
          </a:xfrm>
        </p:grpSpPr>
        <p:sp>
          <p:nvSpPr>
            <p:cNvPr id="32" name="AutoShape 8">
              <a:extLst>
                <a:ext uri="{FF2B5EF4-FFF2-40B4-BE49-F238E27FC236}">
                  <a16:creationId xmlns:a16="http://schemas.microsoft.com/office/drawing/2014/main" id="{8DE9689F-582F-43C4-B761-CFDA1522A2F9}"/>
                </a:ext>
              </a:extLst>
            </p:cNvPr>
            <p:cNvSpPr>
              <a:spLocks noChangeAspect="1" noChangeArrowheads="1" noTextEdit="1"/>
            </p:cNvSpPr>
            <p:nvPr/>
          </p:nvSpPr>
          <p:spPr bwMode="auto">
            <a:xfrm>
              <a:off x="5273800" y="2606041"/>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grpSp>
          <p:nvGrpSpPr>
            <p:cNvPr id="33" name="Group 32">
              <a:extLst>
                <a:ext uri="{FF2B5EF4-FFF2-40B4-BE49-F238E27FC236}">
                  <a16:creationId xmlns:a16="http://schemas.microsoft.com/office/drawing/2014/main" id="{4971FA8D-3872-4759-ABCE-8C2AE411E1E5}"/>
                </a:ext>
              </a:extLst>
            </p:cNvPr>
            <p:cNvGrpSpPr/>
            <p:nvPr/>
          </p:nvGrpSpPr>
          <p:grpSpPr>
            <a:xfrm>
              <a:off x="5521451" y="2919602"/>
              <a:ext cx="1147571" cy="1058037"/>
              <a:chOff x="5521451" y="2919603"/>
              <a:chExt cx="1147572" cy="1058037"/>
            </a:xfrm>
          </p:grpSpPr>
          <p:sp>
            <p:nvSpPr>
              <p:cNvPr id="34" name="Freeform 10">
                <a:extLst>
                  <a:ext uri="{FF2B5EF4-FFF2-40B4-BE49-F238E27FC236}">
                    <a16:creationId xmlns:a16="http://schemas.microsoft.com/office/drawing/2014/main" id="{2640641B-337B-4793-8BC0-04507BFA168E}"/>
                  </a:ext>
                </a:extLst>
              </p:cNvPr>
              <p:cNvSpPr>
                <a:spLocks/>
              </p:cNvSpPr>
              <p:nvPr/>
            </p:nvSpPr>
            <p:spPr bwMode="auto">
              <a:xfrm>
                <a:off x="5799200" y="3358896"/>
                <a:ext cx="592455" cy="417957"/>
              </a:xfrm>
              <a:custGeom>
                <a:avLst/>
                <a:gdLst>
                  <a:gd name="T0" fmla="*/ 0 w 830"/>
                  <a:gd name="T1" fmla="*/ 3 h 585"/>
                  <a:gd name="T2" fmla="*/ 0 w 830"/>
                  <a:gd name="T3" fmla="*/ 9 h 585"/>
                  <a:gd name="T4" fmla="*/ 61 w 830"/>
                  <a:gd name="T5" fmla="*/ 112 h 585"/>
                  <a:gd name="T6" fmla="*/ 180 w 830"/>
                  <a:gd name="T7" fmla="*/ 381 h 585"/>
                  <a:gd name="T8" fmla="*/ 180 w 830"/>
                  <a:gd name="T9" fmla="*/ 550 h 585"/>
                  <a:gd name="T10" fmla="*/ 224 w 830"/>
                  <a:gd name="T11" fmla="*/ 585 h 585"/>
                  <a:gd name="T12" fmla="*/ 224 w 830"/>
                  <a:gd name="T13" fmla="*/ 421 h 585"/>
                  <a:gd name="T14" fmla="*/ 415 w 830"/>
                  <a:gd name="T15" fmla="*/ 511 h 585"/>
                  <a:gd name="T16" fmla="*/ 606 w 830"/>
                  <a:gd name="T17" fmla="*/ 420 h 585"/>
                  <a:gd name="T18" fmla="*/ 606 w 830"/>
                  <a:gd name="T19" fmla="*/ 585 h 585"/>
                  <a:gd name="T20" fmla="*/ 650 w 830"/>
                  <a:gd name="T21" fmla="*/ 546 h 585"/>
                  <a:gd name="T22" fmla="*/ 650 w 830"/>
                  <a:gd name="T23" fmla="*/ 380 h 585"/>
                  <a:gd name="T24" fmla="*/ 769 w 830"/>
                  <a:gd name="T25" fmla="*/ 112 h 585"/>
                  <a:gd name="T26" fmla="*/ 830 w 830"/>
                  <a:gd name="T27" fmla="*/ 6 h 585"/>
                  <a:gd name="T28" fmla="*/ 830 w 830"/>
                  <a:gd name="T29" fmla="*/ 0 h 585"/>
                  <a:gd name="T30" fmla="*/ 781 w 830"/>
                  <a:gd name="T31" fmla="*/ 23 h 585"/>
                  <a:gd name="T32" fmla="*/ 740 w 830"/>
                  <a:gd name="T33" fmla="*/ 78 h 585"/>
                  <a:gd name="T34" fmla="*/ 730 w 830"/>
                  <a:gd name="T35" fmla="*/ 90 h 585"/>
                  <a:gd name="T36" fmla="*/ 611 w 830"/>
                  <a:gd name="T37" fmla="*/ 358 h 585"/>
                  <a:gd name="T38" fmla="*/ 415 w 830"/>
                  <a:gd name="T39" fmla="*/ 467 h 585"/>
                  <a:gd name="T40" fmla="*/ 219 w 830"/>
                  <a:gd name="T41" fmla="*/ 358 h 585"/>
                  <a:gd name="T42" fmla="*/ 100 w 830"/>
                  <a:gd name="T43" fmla="*/ 90 h 585"/>
                  <a:gd name="T44" fmla="*/ 90 w 830"/>
                  <a:gd name="T45" fmla="*/ 78 h 585"/>
                  <a:gd name="T46" fmla="*/ 50 w 830"/>
                  <a:gd name="T47" fmla="*/ 27 h 585"/>
                  <a:gd name="T48" fmla="*/ 0 w 830"/>
                  <a:gd name="T49" fmla="*/ 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0" y="3"/>
                    </a:move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cubicBezTo>
                      <a:pt x="781" y="23"/>
                      <a:pt x="781" y="23"/>
                      <a:pt x="781" y="23"/>
                    </a:cubicBez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lnTo>
                      <a:pt x="0" y="3"/>
                    </a:ln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sp>
            <p:nvSpPr>
              <p:cNvPr id="35" name="Freeform 11">
                <a:extLst>
                  <a:ext uri="{FF2B5EF4-FFF2-40B4-BE49-F238E27FC236}">
                    <a16:creationId xmlns:a16="http://schemas.microsoft.com/office/drawing/2014/main" id="{466F79B2-C8D7-4C75-8AE3-C68D62616C00}"/>
                  </a:ext>
                </a:extLst>
              </p:cNvPr>
              <p:cNvSpPr>
                <a:spLocks noEditPoints="1"/>
              </p:cNvSpPr>
              <p:nvPr/>
            </p:nvSpPr>
            <p:spPr bwMode="auto">
              <a:xfrm>
                <a:off x="5521451" y="2919603"/>
                <a:ext cx="1147572" cy="1058037"/>
              </a:xfrm>
              <a:custGeom>
                <a:avLst/>
                <a:gdLst>
                  <a:gd name="T0" fmla="*/ 329 w 1608"/>
                  <a:gd name="T1" fmla="*/ 640 h 1481"/>
                  <a:gd name="T2" fmla="*/ 74 w 1608"/>
                  <a:gd name="T3" fmla="*/ 827 h 1481"/>
                  <a:gd name="T4" fmla="*/ 65 w 1608"/>
                  <a:gd name="T5" fmla="*/ 819 h 1481"/>
                  <a:gd name="T6" fmla="*/ 0 w 1608"/>
                  <a:gd name="T7" fmla="*/ 447 h 1481"/>
                  <a:gd name="T8" fmla="*/ 351 w 1608"/>
                  <a:gd name="T9" fmla="*/ 258 h 1481"/>
                  <a:gd name="T10" fmla="*/ 352 w 1608"/>
                  <a:gd name="T11" fmla="*/ 258 h 1481"/>
                  <a:gd name="T12" fmla="*/ 326 w 1608"/>
                  <a:gd name="T13" fmla="*/ 398 h 1481"/>
                  <a:gd name="T14" fmla="*/ 329 w 1608"/>
                  <a:gd name="T15" fmla="*/ 640 h 1481"/>
                  <a:gd name="T16" fmla="*/ 1493 w 1608"/>
                  <a:gd name="T17" fmla="*/ 1481 h 1481"/>
                  <a:gd name="T18" fmla="*/ 1514 w 1608"/>
                  <a:gd name="T19" fmla="*/ 1458 h 1481"/>
                  <a:gd name="T20" fmla="*/ 1513 w 1608"/>
                  <a:gd name="T21" fmla="*/ 1452 h 1481"/>
                  <a:gd name="T22" fmla="*/ 1100 w 1608"/>
                  <a:gd name="T23" fmla="*/ 1153 h 1481"/>
                  <a:gd name="T24" fmla="*/ 802 w 1608"/>
                  <a:gd name="T25" fmla="*/ 1294 h 1481"/>
                  <a:gd name="T26" fmla="*/ 500 w 1608"/>
                  <a:gd name="T27" fmla="*/ 1153 h 1481"/>
                  <a:gd name="T28" fmla="*/ 97 w 1608"/>
                  <a:gd name="T29" fmla="*/ 1433 h 1481"/>
                  <a:gd name="T30" fmla="*/ 94 w 1608"/>
                  <a:gd name="T31" fmla="*/ 1457 h 1481"/>
                  <a:gd name="T32" fmla="*/ 115 w 1608"/>
                  <a:gd name="T33" fmla="*/ 1481 h 1481"/>
                  <a:gd name="T34" fmla="*/ 1493 w 1608"/>
                  <a:gd name="T35" fmla="*/ 1481 h 1481"/>
                  <a:gd name="T36" fmla="*/ 1238 w 1608"/>
                  <a:gd name="T37" fmla="*/ 405 h 1481"/>
                  <a:gd name="T38" fmla="*/ 805 w 1608"/>
                  <a:gd name="T39" fmla="*/ 0 h 1481"/>
                  <a:gd name="T40" fmla="*/ 370 w 1608"/>
                  <a:gd name="T41" fmla="*/ 405 h 1481"/>
                  <a:gd name="T42" fmla="*/ 389 w 1608"/>
                  <a:gd name="T43" fmla="*/ 548 h 1481"/>
                  <a:gd name="T44" fmla="*/ 389 w 1608"/>
                  <a:gd name="T45" fmla="*/ 548 h 1481"/>
                  <a:gd name="T46" fmla="*/ 430 w 1608"/>
                  <a:gd name="T47" fmla="*/ 594 h 1481"/>
                  <a:gd name="T48" fmla="*/ 436 w 1608"/>
                  <a:gd name="T49" fmla="*/ 598 h 1481"/>
                  <a:gd name="T50" fmla="*/ 451 w 1608"/>
                  <a:gd name="T51" fmla="*/ 600 h 1481"/>
                  <a:gd name="T52" fmla="*/ 459 w 1608"/>
                  <a:gd name="T53" fmla="*/ 590 h 1481"/>
                  <a:gd name="T54" fmla="*/ 554 w 1608"/>
                  <a:gd name="T55" fmla="*/ 331 h 1481"/>
                  <a:gd name="T56" fmla="*/ 564 w 1608"/>
                  <a:gd name="T57" fmla="*/ 339 h 1481"/>
                  <a:gd name="T58" fmla="*/ 556 w 1608"/>
                  <a:gd name="T59" fmla="*/ 399 h 1481"/>
                  <a:gd name="T60" fmla="*/ 564 w 1608"/>
                  <a:gd name="T61" fmla="*/ 409 h 1481"/>
                  <a:gd name="T62" fmla="*/ 1124 w 1608"/>
                  <a:gd name="T63" fmla="*/ 317 h 1481"/>
                  <a:gd name="T64" fmla="*/ 1137 w 1608"/>
                  <a:gd name="T65" fmla="*/ 323 h 1481"/>
                  <a:gd name="T66" fmla="*/ 1141 w 1608"/>
                  <a:gd name="T67" fmla="*/ 598 h 1481"/>
                  <a:gd name="T68" fmla="*/ 1149 w 1608"/>
                  <a:gd name="T69" fmla="*/ 606 h 1481"/>
                  <a:gd name="T70" fmla="*/ 1170 w 1608"/>
                  <a:gd name="T71" fmla="*/ 606 h 1481"/>
                  <a:gd name="T72" fmla="*/ 1176 w 1608"/>
                  <a:gd name="T73" fmla="*/ 602 h 1481"/>
                  <a:gd name="T74" fmla="*/ 1221 w 1608"/>
                  <a:gd name="T75" fmla="*/ 542 h 1481"/>
                  <a:gd name="T76" fmla="*/ 1221 w 1608"/>
                  <a:gd name="T77" fmla="*/ 544 h 1481"/>
                  <a:gd name="T78" fmla="*/ 1238 w 1608"/>
                  <a:gd name="T79" fmla="*/ 405 h 1481"/>
                  <a:gd name="T80" fmla="*/ 1257 w 1608"/>
                  <a:gd name="T81" fmla="*/ 258 h 1481"/>
                  <a:gd name="T82" fmla="*/ 1256 w 1608"/>
                  <a:gd name="T83" fmla="*/ 258 h 1481"/>
                  <a:gd name="T84" fmla="*/ 1282 w 1608"/>
                  <a:gd name="T85" fmla="*/ 398 h 1481"/>
                  <a:gd name="T86" fmla="*/ 1279 w 1608"/>
                  <a:gd name="T87" fmla="*/ 640 h 1481"/>
                  <a:gd name="T88" fmla="*/ 1534 w 1608"/>
                  <a:gd name="T89" fmla="*/ 827 h 1481"/>
                  <a:gd name="T90" fmla="*/ 1543 w 1608"/>
                  <a:gd name="T91" fmla="*/ 819 h 1481"/>
                  <a:gd name="T92" fmla="*/ 1608 w 1608"/>
                  <a:gd name="T93" fmla="*/ 447 h 1481"/>
                  <a:gd name="T94" fmla="*/ 1257 w 1608"/>
                  <a:gd name="T95" fmla="*/ 258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8" h="1481">
                    <a:moveTo>
                      <a:pt x="329" y="640"/>
                    </a:moveTo>
                    <a:cubicBezTo>
                      <a:pt x="329" y="751"/>
                      <a:pt x="166" y="821"/>
                      <a:pt x="74" y="827"/>
                    </a:cubicBezTo>
                    <a:cubicBezTo>
                      <a:pt x="70" y="827"/>
                      <a:pt x="65" y="823"/>
                      <a:pt x="65" y="819"/>
                    </a:cubicBezTo>
                    <a:cubicBezTo>
                      <a:pt x="63" y="566"/>
                      <a:pt x="0" y="576"/>
                      <a:pt x="0" y="447"/>
                    </a:cubicBezTo>
                    <a:cubicBezTo>
                      <a:pt x="0" y="318"/>
                      <a:pt x="166" y="260"/>
                      <a:pt x="351" y="258"/>
                    </a:cubicBezTo>
                    <a:cubicBezTo>
                      <a:pt x="351" y="258"/>
                      <a:pt x="352" y="258"/>
                      <a:pt x="352" y="258"/>
                    </a:cubicBezTo>
                    <a:cubicBezTo>
                      <a:pt x="336" y="303"/>
                      <a:pt x="327" y="350"/>
                      <a:pt x="326" y="398"/>
                    </a:cubicBezTo>
                    <a:cubicBezTo>
                      <a:pt x="245" y="406"/>
                      <a:pt x="329" y="529"/>
                      <a:pt x="329" y="640"/>
                    </a:cubicBezTo>
                    <a:close/>
                    <a:moveTo>
                      <a:pt x="1493" y="1481"/>
                    </a:moveTo>
                    <a:cubicBezTo>
                      <a:pt x="1505" y="1481"/>
                      <a:pt x="1515" y="1470"/>
                      <a:pt x="1514" y="1458"/>
                    </a:cubicBezTo>
                    <a:cubicBezTo>
                      <a:pt x="1514" y="1456"/>
                      <a:pt x="1513" y="1454"/>
                      <a:pt x="1513" y="1452"/>
                    </a:cubicBezTo>
                    <a:cubicBezTo>
                      <a:pt x="1481" y="1202"/>
                      <a:pt x="1124" y="1155"/>
                      <a:pt x="1100" y="1153"/>
                    </a:cubicBezTo>
                    <a:cubicBezTo>
                      <a:pt x="1057" y="1212"/>
                      <a:pt x="983" y="1294"/>
                      <a:pt x="802" y="1294"/>
                    </a:cubicBezTo>
                    <a:cubicBezTo>
                      <a:pt x="621" y="1294"/>
                      <a:pt x="537" y="1196"/>
                      <a:pt x="500" y="1153"/>
                    </a:cubicBezTo>
                    <a:cubicBezTo>
                      <a:pt x="478" y="1153"/>
                      <a:pt x="128" y="1168"/>
                      <a:pt x="97" y="1433"/>
                    </a:cubicBezTo>
                    <a:cubicBezTo>
                      <a:pt x="96" y="1441"/>
                      <a:pt x="95" y="1449"/>
                      <a:pt x="94" y="1457"/>
                    </a:cubicBezTo>
                    <a:cubicBezTo>
                      <a:pt x="93" y="1470"/>
                      <a:pt x="103" y="1481"/>
                      <a:pt x="115" y="1481"/>
                    </a:cubicBezTo>
                    <a:lnTo>
                      <a:pt x="1493" y="1481"/>
                    </a:lnTo>
                    <a:close/>
                    <a:moveTo>
                      <a:pt x="1238" y="405"/>
                    </a:moveTo>
                    <a:cubicBezTo>
                      <a:pt x="1238" y="182"/>
                      <a:pt x="1050" y="0"/>
                      <a:pt x="805" y="0"/>
                    </a:cubicBezTo>
                    <a:cubicBezTo>
                      <a:pt x="560" y="0"/>
                      <a:pt x="370" y="182"/>
                      <a:pt x="370" y="405"/>
                    </a:cubicBezTo>
                    <a:cubicBezTo>
                      <a:pt x="370" y="455"/>
                      <a:pt x="370" y="504"/>
                      <a:pt x="389" y="548"/>
                    </a:cubicBezTo>
                    <a:cubicBezTo>
                      <a:pt x="389" y="548"/>
                      <a:pt x="389" y="548"/>
                      <a:pt x="389" y="548"/>
                    </a:cubicBezTo>
                    <a:cubicBezTo>
                      <a:pt x="418" y="572"/>
                      <a:pt x="428" y="586"/>
                      <a:pt x="430" y="594"/>
                    </a:cubicBezTo>
                    <a:cubicBezTo>
                      <a:pt x="432" y="596"/>
                      <a:pt x="434" y="598"/>
                      <a:pt x="436" y="598"/>
                    </a:cubicBezTo>
                    <a:cubicBezTo>
                      <a:pt x="451" y="600"/>
                      <a:pt x="451" y="600"/>
                      <a:pt x="451" y="600"/>
                    </a:cubicBezTo>
                    <a:cubicBezTo>
                      <a:pt x="455" y="600"/>
                      <a:pt x="461" y="596"/>
                      <a:pt x="459" y="590"/>
                    </a:cubicBezTo>
                    <a:cubicBezTo>
                      <a:pt x="457" y="548"/>
                      <a:pt x="453" y="373"/>
                      <a:pt x="554" y="331"/>
                    </a:cubicBezTo>
                    <a:cubicBezTo>
                      <a:pt x="560" y="327"/>
                      <a:pt x="566" y="333"/>
                      <a:pt x="564" y="339"/>
                    </a:cubicBezTo>
                    <a:cubicBezTo>
                      <a:pt x="556" y="399"/>
                      <a:pt x="556" y="399"/>
                      <a:pt x="556" y="399"/>
                    </a:cubicBezTo>
                    <a:cubicBezTo>
                      <a:pt x="554" y="405"/>
                      <a:pt x="558" y="409"/>
                      <a:pt x="564" y="409"/>
                    </a:cubicBezTo>
                    <a:cubicBezTo>
                      <a:pt x="634" y="403"/>
                      <a:pt x="1038" y="367"/>
                      <a:pt x="1124" y="317"/>
                    </a:cubicBezTo>
                    <a:cubicBezTo>
                      <a:pt x="1131" y="313"/>
                      <a:pt x="1137" y="317"/>
                      <a:pt x="1137" y="323"/>
                    </a:cubicBezTo>
                    <a:cubicBezTo>
                      <a:pt x="1141" y="518"/>
                      <a:pt x="1141" y="580"/>
                      <a:pt x="1141" y="598"/>
                    </a:cubicBezTo>
                    <a:cubicBezTo>
                      <a:pt x="1141" y="602"/>
                      <a:pt x="1145" y="606"/>
                      <a:pt x="1149" y="606"/>
                    </a:cubicBezTo>
                    <a:cubicBezTo>
                      <a:pt x="1170" y="606"/>
                      <a:pt x="1170" y="606"/>
                      <a:pt x="1170" y="606"/>
                    </a:cubicBezTo>
                    <a:cubicBezTo>
                      <a:pt x="1172" y="606"/>
                      <a:pt x="1174" y="604"/>
                      <a:pt x="1176" y="602"/>
                    </a:cubicBezTo>
                    <a:cubicBezTo>
                      <a:pt x="1213" y="562"/>
                      <a:pt x="1221" y="544"/>
                      <a:pt x="1221" y="542"/>
                    </a:cubicBezTo>
                    <a:cubicBezTo>
                      <a:pt x="1221" y="542"/>
                      <a:pt x="1221" y="542"/>
                      <a:pt x="1221" y="544"/>
                    </a:cubicBezTo>
                    <a:cubicBezTo>
                      <a:pt x="1240" y="500"/>
                      <a:pt x="1238" y="453"/>
                      <a:pt x="1238" y="405"/>
                    </a:cubicBezTo>
                    <a:close/>
                    <a:moveTo>
                      <a:pt x="1257" y="258"/>
                    </a:moveTo>
                    <a:cubicBezTo>
                      <a:pt x="1257" y="258"/>
                      <a:pt x="1256" y="258"/>
                      <a:pt x="1256" y="258"/>
                    </a:cubicBezTo>
                    <a:cubicBezTo>
                      <a:pt x="1272" y="303"/>
                      <a:pt x="1281" y="350"/>
                      <a:pt x="1282" y="398"/>
                    </a:cubicBezTo>
                    <a:cubicBezTo>
                      <a:pt x="1363" y="406"/>
                      <a:pt x="1279" y="529"/>
                      <a:pt x="1279" y="640"/>
                    </a:cubicBezTo>
                    <a:cubicBezTo>
                      <a:pt x="1279" y="751"/>
                      <a:pt x="1442" y="821"/>
                      <a:pt x="1534" y="827"/>
                    </a:cubicBezTo>
                    <a:cubicBezTo>
                      <a:pt x="1538" y="827"/>
                      <a:pt x="1543" y="823"/>
                      <a:pt x="1543" y="819"/>
                    </a:cubicBezTo>
                    <a:cubicBezTo>
                      <a:pt x="1545" y="566"/>
                      <a:pt x="1608" y="576"/>
                      <a:pt x="1608" y="447"/>
                    </a:cubicBezTo>
                    <a:cubicBezTo>
                      <a:pt x="1608" y="318"/>
                      <a:pt x="1442" y="260"/>
                      <a:pt x="1257" y="25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grpSp>
      </p:grpSp>
      <p:sp>
        <p:nvSpPr>
          <p:cNvPr id="51" name="Speech Bubble: Rectangle 50">
            <a:extLst>
              <a:ext uri="{FF2B5EF4-FFF2-40B4-BE49-F238E27FC236}">
                <a16:creationId xmlns:a16="http://schemas.microsoft.com/office/drawing/2014/main" id="{1F4E0C94-2E8B-4FFE-9827-9940E495CD1B}"/>
              </a:ext>
            </a:extLst>
          </p:cNvPr>
          <p:cNvSpPr/>
          <p:nvPr/>
        </p:nvSpPr>
        <p:spPr bwMode="auto">
          <a:xfrm>
            <a:off x="607351" y="2748696"/>
            <a:ext cx="1667192" cy="1103190"/>
          </a:xfrm>
          <a:prstGeom prst="wedgeRectCallout">
            <a:avLst>
              <a:gd name="adj1" fmla="val 9790"/>
              <a:gd name="adj2" fmla="val -59067"/>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cxnSp>
        <p:nvCxnSpPr>
          <p:cNvPr id="52" name="Straight Arrow Connector 51">
            <a:extLst>
              <a:ext uri="{FF2B5EF4-FFF2-40B4-BE49-F238E27FC236}">
                <a16:creationId xmlns:a16="http://schemas.microsoft.com/office/drawing/2014/main" id="{6A4D936A-8174-41BB-9F28-0AE50C4BEE5E}"/>
              </a:ext>
            </a:extLst>
          </p:cNvPr>
          <p:cNvCxnSpPr>
            <a:cxnSpLocks/>
          </p:cNvCxnSpPr>
          <p:nvPr/>
        </p:nvCxnSpPr>
        <p:spPr>
          <a:xfrm>
            <a:off x="1880296" y="2646885"/>
            <a:ext cx="1342239" cy="0"/>
          </a:xfrm>
          <a:prstGeom prst="straightConnector1">
            <a:avLst/>
          </a:prstGeom>
          <a:ln w="19050" cap="rnd" cmpd="sng" algn="ctr">
            <a:solidFill>
              <a:srgbClr val="003B59"/>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11FE9CF-8CAA-45AC-93F1-A6117316E5B6}"/>
              </a:ext>
            </a:extLst>
          </p:cNvPr>
          <p:cNvGrpSpPr>
            <a:grpSpLocks noChangeAspect="1"/>
          </p:cNvGrpSpPr>
          <p:nvPr/>
        </p:nvGrpSpPr>
        <p:grpSpPr>
          <a:xfrm>
            <a:off x="3181595" y="1786012"/>
            <a:ext cx="927980" cy="927085"/>
            <a:chOff x="5273675" y="2606675"/>
            <a:chExt cx="1646238" cy="1644650"/>
          </a:xfrm>
        </p:grpSpPr>
        <p:sp>
          <p:nvSpPr>
            <p:cNvPr id="54" name="AutoShape 3">
              <a:extLst>
                <a:ext uri="{FF2B5EF4-FFF2-40B4-BE49-F238E27FC236}">
                  <a16:creationId xmlns:a16="http://schemas.microsoft.com/office/drawing/2014/main" id="{B1BEACFB-B91C-47BF-85E9-4E545BD4036B}"/>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55" name="Group 54">
              <a:extLst>
                <a:ext uri="{FF2B5EF4-FFF2-40B4-BE49-F238E27FC236}">
                  <a16:creationId xmlns:a16="http://schemas.microsoft.com/office/drawing/2014/main" id="{D7107498-5FF8-4969-9CE4-E61B5EBB6546}"/>
                </a:ext>
              </a:extLst>
            </p:cNvPr>
            <p:cNvGrpSpPr/>
            <p:nvPr/>
          </p:nvGrpSpPr>
          <p:grpSpPr>
            <a:xfrm>
              <a:off x="5346302" y="2868613"/>
              <a:ext cx="1504356" cy="1214437"/>
              <a:chOff x="5346302" y="2868613"/>
              <a:chExt cx="1504356" cy="1214437"/>
            </a:xfrm>
          </p:grpSpPr>
          <p:sp>
            <p:nvSpPr>
              <p:cNvPr id="56" name="Freeform 5">
                <a:extLst>
                  <a:ext uri="{FF2B5EF4-FFF2-40B4-BE49-F238E27FC236}">
                    <a16:creationId xmlns:a16="http://schemas.microsoft.com/office/drawing/2014/main" id="{962FCDFE-ADAC-4B39-B4A8-01C882185D6D}"/>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7" name="Freeform 11">
                <a:extLst>
                  <a:ext uri="{FF2B5EF4-FFF2-40B4-BE49-F238E27FC236}">
                    <a16:creationId xmlns:a16="http://schemas.microsoft.com/office/drawing/2014/main" id="{F0376CBA-282E-4EE9-880A-7E82C44B722D}"/>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58" name="Group 57">
            <a:extLst>
              <a:ext uri="{FF2B5EF4-FFF2-40B4-BE49-F238E27FC236}">
                <a16:creationId xmlns:a16="http://schemas.microsoft.com/office/drawing/2014/main" id="{6898032E-C448-4BDE-93E5-59822BBB786A}"/>
              </a:ext>
            </a:extLst>
          </p:cNvPr>
          <p:cNvGrpSpPr>
            <a:grpSpLocks noChangeAspect="1"/>
          </p:cNvGrpSpPr>
          <p:nvPr/>
        </p:nvGrpSpPr>
        <p:grpSpPr>
          <a:xfrm>
            <a:off x="3697931" y="2825785"/>
            <a:ext cx="927085" cy="927085"/>
            <a:chOff x="5273040" y="2606040"/>
            <a:chExt cx="1645920" cy="1645920"/>
          </a:xfrm>
        </p:grpSpPr>
        <p:sp>
          <p:nvSpPr>
            <p:cNvPr id="59" name="AutoShape 3">
              <a:extLst>
                <a:ext uri="{FF2B5EF4-FFF2-40B4-BE49-F238E27FC236}">
                  <a16:creationId xmlns:a16="http://schemas.microsoft.com/office/drawing/2014/main" id="{618CF754-0935-4EF0-A841-D77EC2E43891}"/>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60" name="Group 59">
              <a:extLst>
                <a:ext uri="{FF2B5EF4-FFF2-40B4-BE49-F238E27FC236}">
                  <a16:creationId xmlns:a16="http://schemas.microsoft.com/office/drawing/2014/main" id="{DABC6315-4F4D-4653-ABE7-0BEDB15AE9F8}"/>
                </a:ext>
              </a:extLst>
            </p:cNvPr>
            <p:cNvGrpSpPr/>
            <p:nvPr/>
          </p:nvGrpSpPr>
          <p:grpSpPr>
            <a:xfrm>
              <a:off x="5453373" y="2804767"/>
              <a:ext cx="1285256" cy="1199370"/>
              <a:chOff x="5453373" y="2804767"/>
              <a:chExt cx="1285256" cy="1199370"/>
            </a:xfrm>
          </p:grpSpPr>
          <p:sp>
            <p:nvSpPr>
              <p:cNvPr id="61" name="Freeform 10">
                <a:extLst>
                  <a:ext uri="{FF2B5EF4-FFF2-40B4-BE49-F238E27FC236}">
                    <a16:creationId xmlns:a16="http://schemas.microsoft.com/office/drawing/2014/main" id="{ACF26E99-CF0A-470D-B294-95A3E77BF8F0}"/>
                  </a:ext>
                </a:extLst>
              </p:cNvPr>
              <p:cNvSpPr>
                <a:spLocks/>
              </p:cNvSpPr>
              <p:nvPr/>
            </p:nvSpPr>
            <p:spPr bwMode="auto">
              <a:xfrm>
                <a:off x="5453373" y="3319117"/>
                <a:ext cx="1285256" cy="685020"/>
              </a:xfrm>
              <a:custGeom>
                <a:avLst/>
                <a:gdLst>
                  <a:gd name="connsiteX0" fmla="*/ 294670 w 872705"/>
                  <a:gd name="connsiteY0" fmla="*/ 265112 h 465137"/>
                  <a:gd name="connsiteX1" fmla="*/ 308256 w 872705"/>
                  <a:gd name="connsiteY1" fmla="*/ 280126 h 465137"/>
                  <a:gd name="connsiteX2" fmla="*/ 310197 w 872705"/>
                  <a:gd name="connsiteY2" fmla="*/ 282063 h 465137"/>
                  <a:gd name="connsiteX3" fmla="*/ 436353 w 872705"/>
                  <a:gd name="connsiteY3" fmla="*/ 332433 h 465137"/>
                  <a:gd name="connsiteX4" fmla="*/ 562509 w 872705"/>
                  <a:gd name="connsiteY4" fmla="*/ 282063 h 465137"/>
                  <a:gd name="connsiteX5" fmla="*/ 564450 w 872705"/>
                  <a:gd name="connsiteY5" fmla="*/ 280126 h 465137"/>
                  <a:gd name="connsiteX6" fmla="*/ 578036 w 872705"/>
                  <a:gd name="connsiteY6" fmla="*/ 265112 h 465137"/>
                  <a:gd name="connsiteX7" fmla="*/ 766300 w 872705"/>
                  <a:gd name="connsiteY7" fmla="*/ 297077 h 465137"/>
                  <a:gd name="connsiteX8" fmla="*/ 872077 w 872705"/>
                  <a:gd name="connsiteY8" fmla="*/ 450607 h 465137"/>
                  <a:gd name="connsiteX9" fmla="*/ 861887 w 872705"/>
                  <a:gd name="connsiteY9" fmla="*/ 465137 h 465137"/>
                  <a:gd name="connsiteX10" fmla="*/ 10819 w 872705"/>
                  <a:gd name="connsiteY10" fmla="*/ 465137 h 465137"/>
                  <a:gd name="connsiteX11" fmla="*/ 629 w 872705"/>
                  <a:gd name="connsiteY11" fmla="*/ 450607 h 465137"/>
                  <a:gd name="connsiteX12" fmla="*/ 106406 w 872705"/>
                  <a:gd name="connsiteY12" fmla="*/ 297077 h 465137"/>
                  <a:gd name="connsiteX13" fmla="*/ 294670 w 872705"/>
                  <a:gd name="connsiteY13" fmla="*/ 265112 h 465137"/>
                  <a:gd name="connsiteX14" fmla="*/ 204578 w 872705"/>
                  <a:gd name="connsiteY14" fmla="*/ 0 h 465137"/>
                  <a:gd name="connsiteX15" fmla="*/ 229359 w 872705"/>
                  <a:gd name="connsiteY15" fmla="*/ 11634 h 465137"/>
                  <a:gd name="connsiteX16" fmla="*/ 251711 w 872705"/>
                  <a:gd name="connsiteY16" fmla="*/ 37326 h 465137"/>
                  <a:gd name="connsiteX17" fmla="*/ 256570 w 872705"/>
                  <a:gd name="connsiteY17" fmla="*/ 43143 h 465137"/>
                  <a:gd name="connsiteX18" fmla="*/ 326540 w 872705"/>
                  <a:gd name="connsiteY18" fmla="*/ 189539 h 465137"/>
                  <a:gd name="connsiteX19" fmla="*/ 436353 w 872705"/>
                  <a:gd name="connsiteY19" fmla="*/ 244317 h 465137"/>
                  <a:gd name="connsiteX20" fmla="*/ 546167 w 872705"/>
                  <a:gd name="connsiteY20" fmla="*/ 189539 h 465137"/>
                  <a:gd name="connsiteX21" fmla="*/ 615651 w 872705"/>
                  <a:gd name="connsiteY21" fmla="*/ 43143 h 465137"/>
                  <a:gd name="connsiteX22" fmla="*/ 620996 w 872705"/>
                  <a:gd name="connsiteY22" fmla="*/ 37326 h 465137"/>
                  <a:gd name="connsiteX23" fmla="*/ 643347 w 872705"/>
                  <a:gd name="connsiteY23" fmla="*/ 11634 h 465137"/>
                  <a:gd name="connsiteX24" fmla="*/ 668128 w 872705"/>
                  <a:gd name="connsiteY24" fmla="*/ 0 h 465137"/>
                  <a:gd name="connsiteX25" fmla="*/ 668128 w 872705"/>
                  <a:gd name="connsiteY25" fmla="*/ 1454 h 465137"/>
                  <a:gd name="connsiteX26" fmla="*/ 634115 w 872705"/>
                  <a:gd name="connsiteY26" fmla="*/ 54292 h 465137"/>
                  <a:gd name="connsiteX27" fmla="*/ 564631 w 872705"/>
                  <a:gd name="connsiteY27" fmla="*/ 200689 h 465137"/>
                  <a:gd name="connsiteX28" fmla="*/ 564631 w 872705"/>
                  <a:gd name="connsiteY28" fmla="*/ 248195 h 465137"/>
                  <a:gd name="connsiteX29" fmla="*/ 561230 w 872705"/>
                  <a:gd name="connsiteY29" fmla="*/ 253042 h 465137"/>
                  <a:gd name="connsiteX30" fmla="*/ 543251 w 872705"/>
                  <a:gd name="connsiteY30" fmla="*/ 271463 h 465137"/>
                  <a:gd name="connsiteX31" fmla="*/ 543251 w 872705"/>
                  <a:gd name="connsiteY31" fmla="*/ 218625 h 465137"/>
                  <a:gd name="connsiteX32" fmla="*/ 436353 w 872705"/>
                  <a:gd name="connsiteY32" fmla="*/ 265646 h 465137"/>
                  <a:gd name="connsiteX33" fmla="*/ 329455 w 872705"/>
                  <a:gd name="connsiteY33" fmla="*/ 219109 h 465137"/>
                  <a:gd name="connsiteX34" fmla="*/ 329455 w 872705"/>
                  <a:gd name="connsiteY34" fmla="*/ 271463 h 465137"/>
                  <a:gd name="connsiteX35" fmla="*/ 311477 w 872705"/>
                  <a:gd name="connsiteY35" fmla="*/ 253042 h 465137"/>
                  <a:gd name="connsiteX36" fmla="*/ 308075 w 872705"/>
                  <a:gd name="connsiteY36" fmla="*/ 248195 h 465137"/>
                  <a:gd name="connsiteX37" fmla="*/ 308075 w 872705"/>
                  <a:gd name="connsiteY37" fmla="*/ 200689 h 465137"/>
                  <a:gd name="connsiteX38" fmla="*/ 238105 w 872705"/>
                  <a:gd name="connsiteY38" fmla="*/ 54292 h 465137"/>
                  <a:gd name="connsiteX39" fmla="*/ 204578 w 872705"/>
                  <a:gd name="connsiteY39" fmla="*/ 2424 h 465137"/>
                  <a:gd name="connsiteX40" fmla="*/ 204578 w 872705"/>
                  <a:gd name="connsiteY40" fmla="*/ 0 h 46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72705" h="465137">
                    <a:moveTo>
                      <a:pt x="294670" y="265112"/>
                    </a:moveTo>
                    <a:cubicBezTo>
                      <a:pt x="294670" y="265112"/>
                      <a:pt x="299037" y="271408"/>
                      <a:pt x="308256" y="280126"/>
                    </a:cubicBezTo>
                    <a:cubicBezTo>
                      <a:pt x="308741" y="281095"/>
                      <a:pt x="309712" y="281579"/>
                      <a:pt x="310197" y="282063"/>
                    </a:cubicBezTo>
                    <a:cubicBezTo>
                      <a:pt x="331547" y="301921"/>
                      <a:pt x="373760" y="331949"/>
                      <a:pt x="436353" y="332433"/>
                    </a:cubicBezTo>
                    <a:cubicBezTo>
                      <a:pt x="498946" y="331949"/>
                      <a:pt x="541160" y="301921"/>
                      <a:pt x="562509" y="282063"/>
                    </a:cubicBezTo>
                    <a:cubicBezTo>
                      <a:pt x="562994" y="281579"/>
                      <a:pt x="563965" y="281095"/>
                      <a:pt x="564450" y="280126"/>
                    </a:cubicBezTo>
                    <a:cubicBezTo>
                      <a:pt x="573669" y="271408"/>
                      <a:pt x="578036" y="265112"/>
                      <a:pt x="578036" y="265112"/>
                    </a:cubicBezTo>
                    <a:cubicBezTo>
                      <a:pt x="578036" y="265112"/>
                      <a:pt x="700310" y="266565"/>
                      <a:pt x="766300" y="297077"/>
                    </a:cubicBezTo>
                    <a:cubicBezTo>
                      <a:pt x="819674" y="321293"/>
                      <a:pt x="858491" y="414768"/>
                      <a:pt x="872077" y="450607"/>
                    </a:cubicBezTo>
                    <a:cubicBezTo>
                      <a:pt x="874503" y="457388"/>
                      <a:pt x="869651" y="465137"/>
                      <a:pt x="861887" y="465137"/>
                    </a:cubicBezTo>
                    <a:cubicBezTo>
                      <a:pt x="861887" y="465137"/>
                      <a:pt x="861887" y="465137"/>
                      <a:pt x="10819" y="465137"/>
                    </a:cubicBezTo>
                    <a:cubicBezTo>
                      <a:pt x="3055" y="465137"/>
                      <a:pt x="-1797" y="457388"/>
                      <a:pt x="629" y="450607"/>
                    </a:cubicBezTo>
                    <a:cubicBezTo>
                      <a:pt x="14215" y="414768"/>
                      <a:pt x="53033" y="321293"/>
                      <a:pt x="106406" y="297077"/>
                    </a:cubicBezTo>
                    <a:cubicBezTo>
                      <a:pt x="172396" y="266565"/>
                      <a:pt x="294670" y="265112"/>
                      <a:pt x="294670" y="265112"/>
                    </a:cubicBezTo>
                    <a:close/>
                    <a:moveTo>
                      <a:pt x="204578" y="0"/>
                    </a:moveTo>
                    <a:cubicBezTo>
                      <a:pt x="204578" y="0"/>
                      <a:pt x="204578" y="0"/>
                      <a:pt x="229359" y="11634"/>
                    </a:cubicBezTo>
                    <a:cubicBezTo>
                      <a:pt x="232761" y="20844"/>
                      <a:pt x="239563" y="31509"/>
                      <a:pt x="251711" y="37326"/>
                    </a:cubicBezTo>
                    <a:cubicBezTo>
                      <a:pt x="254140" y="38780"/>
                      <a:pt x="255598" y="40719"/>
                      <a:pt x="256570" y="43143"/>
                    </a:cubicBezTo>
                    <a:cubicBezTo>
                      <a:pt x="276492" y="93073"/>
                      <a:pt x="312448" y="176936"/>
                      <a:pt x="326540" y="189539"/>
                    </a:cubicBezTo>
                    <a:cubicBezTo>
                      <a:pt x="348405" y="208445"/>
                      <a:pt x="404770" y="244317"/>
                      <a:pt x="436353" y="244317"/>
                    </a:cubicBezTo>
                    <a:cubicBezTo>
                      <a:pt x="467451" y="244317"/>
                      <a:pt x="524301" y="208445"/>
                      <a:pt x="546167" y="189539"/>
                    </a:cubicBezTo>
                    <a:cubicBezTo>
                      <a:pt x="559772" y="176936"/>
                      <a:pt x="596215" y="93073"/>
                      <a:pt x="615651" y="43143"/>
                    </a:cubicBezTo>
                    <a:cubicBezTo>
                      <a:pt x="616622" y="40719"/>
                      <a:pt x="618566" y="38780"/>
                      <a:pt x="620996" y="37326"/>
                    </a:cubicBezTo>
                    <a:cubicBezTo>
                      <a:pt x="633143" y="31509"/>
                      <a:pt x="639946" y="21329"/>
                      <a:pt x="643347" y="11634"/>
                    </a:cubicBezTo>
                    <a:cubicBezTo>
                      <a:pt x="643347" y="11634"/>
                      <a:pt x="643347" y="11634"/>
                      <a:pt x="668128" y="0"/>
                    </a:cubicBezTo>
                    <a:cubicBezTo>
                      <a:pt x="668128" y="485"/>
                      <a:pt x="668128" y="969"/>
                      <a:pt x="668128" y="1454"/>
                    </a:cubicBezTo>
                    <a:cubicBezTo>
                      <a:pt x="666184" y="12604"/>
                      <a:pt x="659868" y="39750"/>
                      <a:pt x="634115" y="54292"/>
                    </a:cubicBezTo>
                    <a:cubicBezTo>
                      <a:pt x="623425" y="81439"/>
                      <a:pt x="586497" y="173542"/>
                      <a:pt x="564631" y="200689"/>
                    </a:cubicBezTo>
                    <a:cubicBezTo>
                      <a:pt x="564631" y="200689"/>
                      <a:pt x="564631" y="200689"/>
                      <a:pt x="564631" y="248195"/>
                    </a:cubicBezTo>
                    <a:cubicBezTo>
                      <a:pt x="564631" y="248195"/>
                      <a:pt x="564631" y="248195"/>
                      <a:pt x="561230" y="253042"/>
                    </a:cubicBezTo>
                    <a:cubicBezTo>
                      <a:pt x="560258" y="254012"/>
                      <a:pt x="554427" y="261768"/>
                      <a:pt x="543251" y="271463"/>
                    </a:cubicBezTo>
                    <a:cubicBezTo>
                      <a:pt x="543251" y="271463"/>
                      <a:pt x="543251" y="271463"/>
                      <a:pt x="543251" y="218625"/>
                    </a:cubicBezTo>
                    <a:cubicBezTo>
                      <a:pt x="514583" y="239469"/>
                      <a:pt x="467937" y="265646"/>
                      <a:pt x="436353" y="265646"/>
                    </a:cubicBezTo>
                    <a:cubicBezTo>
                      <a:pt x="404770" y="265646"/>
                      <a:pt x="358123" y="239469"/>
                      <a:pt x="329455" y="219109"/>
                    </a:cubicBezTo>
                    <a:cubicBezTo>
                      <a:pt x="329455" y="219109"/>
                      <a:pt x="329455" y="219109"/>
                      <a:pt x="329455" y="271463"/>
                    </a:cubicBezTo>
                    <a:cubicBezTo>
                      <a:pt x="318279" y="261768"/>
                      <a:pt x="312448" y="254012"/>
                      <a:pt x="311477" y="253042"/>
                    </a:cubicBezTo>
                    <a:cubicBezTo>
                      <a:pt x="311477" y="253042"/>
                      <a:pt x="311477" y="253042"/>
                      <a:pt x="308075" y="248195"/>
                    </a:cubicBezTo>
                    <a:cubicBezTo>
                      <a:pt x="308075" y="248195"/>
                      <a:pt x="308075" y="248195"/>
                      <a:pt x="308075" y="200689"/>
                    </a:cubicBezTo>
                    <a:cubicBezTo>
                      <a:pt x="286210" y="174027"/>
                      <a:pt x="248795" y="81439"/>
                      <a:pt x="238105" y="54292"/>
                    </a:cubicBezTo>
                    <a:cubicBezTo>
                      <a:pt x="214296" y="40235"/>
                      <a:pt x="207008" y="15997"/>
                      <a:pt x="204578" y="2424"/>
                    </a:cubicBezTo>
                    <a:cubicBezTo>
                      <a:pt x="204578" y="1939"/>
                      <a:pt x="204578" y="969"/>
                      <a:pt x="204578" y="0"/>
                    </a:cubicBezTo>
                    <a:close/>
                  </a:path>
                </a:pathLst>
              </a:custGeom>
              <a:solidFill>
                <a:srgbClr val="003B59"/>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62" name="Freeform 11">
                <a:extLst>
                  <a:ext uri="{FF2B5EF4-FFF2-40B4-BE49-F238E27FC236}">
                    <a16:creationId xmlns:a16="http://schemas.microsoft.com/office/drawing/2014/main" id="{F9345F4C-5B63-48AA-8682-322FE3A4FC97}"/>
                  </a:ext>
                </a:extLst>
              </p:cNvPr>
              <p:cNvSpPr>
                <a:spLocks/>
              </p:cNvSpPr>
              <p:nvPr/>
            </p:nvSpPr>
            <p:spPr bwMode="auto">
              <a:xfrm>
                <a:off x="5759335" y="2804767"/>
                <a:ext cx="696710" cy="516689"/>
              </a:xfrm>
              <a:custGeom>
                <a:avLst/>
                <a:gdLst>
                  <a:gd name="T0" fmla="*/ 941 w 975"/>
                  <a:gd name="T1" fmla="*/ 568 h 724"/>
                  <a:gd name="T2" fmla="*/ 944 w 975"/>
                  <a:gd name="T3" fmla="*/ 478 h 724"/>
                  <a:gd name="T4" fmla="*/ 472 w 975"/>
                  <a:gd name="T5" fmla="*/ 0 h 724"/>
                  <a:gd name="T6" fmla="*/ 0 w 975"/>
                  <a:gd name="T7" fmla="*/ 478 h 724"/>
                  <a:gd name="T8" fmla="*/ 27 w 975"/>
                  <a:gd name="T9" fmla="*/ 674 h 724"/>
                  <a:gd name="T10" fmla="*/ 213 w 975"/>
                  <a:gd name="T11" fmla="*/ 402 h 724"/>
                  <a:gd name="T12" fmla="*/ 238 w 975"/>
                  <a:gd name="T13" fmla="*/ 386 h 724"/>
                  <a:gd name="T14" fmla="*/ 284 w 975"/>
                  <a:gd name="T15" fmla="*/ 375 h 724"/>
                  <a:gd name="T16" fmla="*/ 831 w 975"/>
                  <a:gd name="T17" fmla="*/ 713 h 724"/>
                  <a:gd name="T18" fmla="*/ 899 w 975"/>
                  <a:gd name="T19" fmla="*/ 711 h 724"/>
                  <a:gd name="T20" fmla="*/ 909 w 975"/>
                  <a:gd name="T21" fmla="*/ 707 h 724"/>
                  <a:gd name="T22" fmla="*/ 930 w 975"/>
                  <a:gd name="T23" fmla="*/ 698 h 724"/>
                  <a:gd name="T24" fmla="*/ 941 w 975"/>
                  <a:gd name="T25" fmla="*/ 692 h 724"/>
                  <a:gd name="T26" fmla="*/ 975 w 975"/>
                  <a:gd name="T27" fmla="*/ 671 h 724"/>
                  <a:gd name="T28" fmla="*/ 941 w 975"/>
                  <a:gd name="T29" fmla="*/ 568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5" h="724">
                    <a:moveTo>
                      <a:pt x="941" y="568"/>
                    </a:moveTo>
                    <a:cubicBezTo>
                      <a:pt x="945" y="539"/>
                      <a:pt x="944" y="508"/>
                      <a:pt x="944" y="478"/>
                    </a:cubicBezTo>
                    <a:cubicBezTo>
                      <a:pt x="944" y="214"/>
                      <a:pt x="739" y="0"/>
                      <a:pt x="472" y="0"/>
                    </a:cubicBezTo>
                    <a:cubicBezTo>
                      <a:pt x="205" y="0"/>
                      <a:pt x="0" y="214"/>
                      <a:pt x="0" y="478"/>
                    </a:cubicBezTo>
                    <a:cubicBezTo>
                      <a:pt x="0" y="536"/>
                      <a:pt x="10" y="653"/>
                      <a:pt x="27" y="674"/>
                    </a:cubicBezTo>
                    <a:cubicBezTo>
                      <a:pt x="73" y="716"/>
                      <a:pt x="80" y="491"/>
                      <a:pt x="213" y="402"/>
                    </a:cubicBezTo>
                    <a:cubicBezTo>
                      <a:pt x="219" y="397"/>
                      <a:pt x="229" y="391"/>
                      <a:pt x="238" y="386"/>
                    </a:cubicBezTo>
                    <a:cubicBezTo>
                      <a:pt x="252" y="378"/>
                      <a:pt x="268" y="374"/>
                      <a:pt x="284" y="375"/>
                    </a:cubicBezTo>
                    <a:cubicBezTo>
                      <a:pt x="566" y="391"/>
                      <a:pt x="779" y="685"/>
                      <a:pt x="831" y="713"/>
                    </a:cubicBezTo>
                    <a:cubicBezTo>
                      <a:pt x="849" y="724"/>
                      <a:pt x="875" y="720"/>
                      <a:pt x="899" y="711"/>
                    </a:cubicBezTo>
                    <a:cubicBezTo>
                      <a:pt x="903" y="710"/>
                      <a:pt x="906" y="709"/>
                      <a:pt x="909" y="707"/>
                    </a:cubicBezTo>
                    <a:cubicBezTo>
                      <a:pt x="916" y="704"/>
                      <a:pt x="923" y="701"/>
                      <a:pt x="930" y="698"/>
                    </a:cubicBezTo>
                    <a:cubicBezTo>
                      <a:pt x="934" y="696"/>
                      <a:pt x="938" y="694"/>
                      <a:pt x="941" y="692"/>
                    </a:cubicBezTo>
                    <a:cubicBezTo>
                      <a:pt x="961" y="681"/>
                      <a:pt x="975" y="671"/>
                      <a:pt x="975" y="671"/>
                    </a:cubicBezTo>
                    <a:cubicBezTo>
                      <a:pt x="948" y="631"/>
                      <a:pt x="939" y="593"/>
                      <a:pt x="941" y="568"/>
                    </a:cubicBezTo>
                    <a:close/>
                  </a:path>
                </a:pathLst>
              </a:custGeom>
              <a:solidFill>
                <a:srgbClr val="4C7895"/>
              </a:solidFill>
              <a:ln>
                <a:noFill/>
              </a:ln>
            </p:spPr>
            <p:txBody>
              <a:bodyPr vert="horz" wrap="square" lIns="91440" tIns="45720" rIns="91440" bIns="45720" numCol="1" anchor="t" anchorCtr="0" compatLnSpc="1">
                <a:prstTxWarp prst="textNoShape">
                  <a:avLst/>
                </a:prstTxWarp>
              </a:bodyPr>
              <a:lstStyle/>
              <a:p>
                <a:endParaRPr lang="de-DE" dirty="0"/>
              </a:p>
            </p:txBody>
          </p:sp>
        </p:grpSp>
      </p:grpSp>
      <p:grpSp>
        <p:nvGrpSpPr>
          <p:cNvPr id="63" name="Group 62">
            <a:extLst>
              <a:ext uri="{FF2B5EF4-FFF2-40B4-BE49-F238E27FC236}">
                <a16:creationId xmlns:a16="http://schemas.microsoft.com/office/drawing/2014/main" id="{2F8F0421-35A8-4632-9081-0343ED37A9C6}"/>
              </a:ext>
            </a:extLst>
          </p:cNvPr>
          <p:cNvGrpSpPr>
            <a:grpSpLocks noChangeAspect="1"/>
          </p:cNvGrpSpPr>
          <p:nvPr/>
        </p:nvGrpSpPr>
        <p:grpSpPr>
          <a:xfrm>
            <a:off x="2598126" y="2748696"/>
            <a:ext cx="990663" cy="991581"/>
            <a:chOff x="5273800" y="2606041"/>
            <a:chExt cx="1644396" cy="1645920"/>
          </a:xfrm>
        </p:grpSpPr>
        <p:sp>
          <p:nvSpPr>
            <p:cNvPr id="64" name="AutoShape 8">
              <a:extLst>
                <a:ext uri="{FF2B5EF4-FFF2-40B4-BE49-F238E27FC236}">
                  <a16:creationId xmlns:a16="http://schemas.microsoft.com/office/drawing/2014/main" id="{BE9FCBEB-CD15-4D0D-9495-4B7E5ADE25C5}"/>
                </a:ext>
              </a:extLst>
            </p:cNvPr>
            <p:cNvSpPr>
              <a:spLocks noChangeAspect="1" noChangeArrowheads="1" noTextEdit="1"/>
            </p:cNvSpPr>
            <p:nvPr/>
          </p:nvSpPr>
          <p:spPr bwMode="auto">
            <a:xfrm>
              <a:off x="5273800" y="2606041"/>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grpSp>
          <p:nvGrpSpPr>
            <p:cNvPr id="65" name="Group 64">
              <a:extLst>
                <a:ext uri="{FF2B5EF4-FFF2-40B4-BE49-F238E27FC236}">
                  <a16:creationId xmlns:a16="http://schemas.microsoft.com/office/drawing/2014/main" id="{6435E689-8EB3-4569-8D4B-5F3611C6F466}"/>
                </a:ext>
              </a:extLst>
            </p:cNvPr>
            <p:cNvGrpSpPr/>
            <p:nvPr/>
          </p:nvGrpSpPr>
          <p:grpSpPr>
            <a:xfrm>
              <a:off x="5521451" y="2919602"/>
              <a:ext cx="1147571" cy="1058037"/>
              <a:chOff x="5521451" y="2919603"/>
              <a:chExt cx="1147572" cy="1058037"/>
            </a:xfrm>
          </p:grpSpPr>
          <p:sp>
            <p:nvSpPr>
              <p:cNvPr id="66" name="Freeform 10">
                <a:extLst>
                  <a:ext uri="{FF2B5EF4-FFF2-40B4-BE49-F238E27FC236}">
                    <a16:creationId xmlns:a16="http://schemas.microsoft.com/office/drawing/2014/main" id="{328C9F89-6F69-4A0C-8469-D0372C25FEA7}"/>
                  </a:ext>
                </a:extLst>
              </p:cNvPr>
              <p:cNvSpPr>
                <a:spLocks/>
              </p:cNvSpPr>
              <p:nvPr/>
            </p:nvSpPr>
            <p:spPr bwMode="auto">
              <a:xfrm>
                <a:off x="5799200" y="3358896"/>
                <a:ext cx="592455" cy="417957"/>
              </a:xfrm>
              <a:custGeom>
                <a:avLst/>
                <a:gdLst>
                  <a:gd name="T0" fmla="*/ 0 w 830"/>
                  <a:gd name="T1" fmla="*/ 3 h 585"/>
                  <a:gd name="T2" fmla="*/ 0 w 830"/>
                  <a:gd name="T3" fmla="*/ 9 h 585"/>
                  <a:gd name="T4" fmla="*/ 61 w 830"/>
                  <a:gd name="T5" fmla="*/ 112 h 585"/>
                  <a:gd name="T6" fmla="*/ 180 w 830"/>
                  <a:gd name="T7" fmla="*/ 381 h 585"/>
                  <a:gd name="T8" fmla="*/ 180 w 830"/>
                  <a:gd name="T9" fmla="*/ 550 h 585"/>
                  <a:gd name="T10" fmla="*/ 224 w 830"/>
                  <a:gd name="T11" fmla="*/ 585 h 585"/>
                  <a:gd name="T12" fmla="*/ 224 w 830"/>
                  <a:gd name="T13" fmla="*/ 421 h 585"/>
                  <a:gd name="T14" fmla="*/ 415 w 830"/>
                  <a:gd name="T15" fmla="*/ 511 h 585"/>
                  <a:gd name="T16" fmla="*/ 606 w 830"/>
                  <a:gd name="T17" fmla="*/ 420 h 585"/>
                  <a:gd name="T18" fmla="*/ 606 w 830"/>
                  <a:gd name="T19" fmla="*/ 585 h 585"/>
                  <a:gd name="T20" fmla="*/ 650 w 830"/>
                  <a:gd name="T21" fmla="*/ 546 h 585"/>
                  <a:gd name="T22" fmla="*/ 650 w 830"/>
                  <a:gd name="T23" fmla="*/ 380 h 585"/>
                  <a:gd name="T24" fmla="*/ 769 w 830"/>
                  <a:gd name="T25" fmla="*/ 112 h 585"/>
                  <a:gd name="T26" fmla="*/ 830 w 830"/>
                  <a:gd name="T27" fmla="*/ 6 h 585"/>
                  <a:gd name="T28" fmla="*/ 830 w 830"/>
                  <a:gd name="T29" fmla="*/ 0 h 585"/>
                  <a:gd name="T30" fmla="*/ 781 w 830"/>
                  <a:gd name="T31" fmla="*/ 23 h 585"/>
                  <a:gd name="T32" fmla="*/ 740 w 830"/>
                  <a:gd name="T33" fmla="*/ 78 h 585"/>
                  <a:gd name="T34" fmla="*/ 730 w 830"/>
                  <a:gd name="T35" fmla="*/ 90 h 585"/>
                  <a:gd name="T36" fmla="*/ 611 w 830"/>
                  <a:gd name="T37" fmla="*/ 358 h 585"/>
                  <a:gd name="T38" fmla="*/ 415 w 830"/>
                  <a:gd name="T39" fmla="*/ 467 h 585"/>
                  <a:gd name="T40" fmla="*/ 219 w 830"/>
                  <a:gd name="T41" fmla="*/ 358 h 585"/>
                  <a:gd name="T42" fmla="*/ 100 w 830"/>
                  <a:gd name="T43" fmla="*/ 90 h 585"/>
                  <a:gd name="T44" fmla="*/ 90 w 830"/>
                  <a:gd name="T45" fmla="*/ 78 h 585"/>
                  <a:gd name="T46" fmla="*/ 50 w 830"/>
                  <a:gd name="T47" fmla="*/ 27 h 585"/>
                  <a:gd name="T48" fmla="*/ 0 w 830"/>
                  <a:gd name="T49" fmla="*/ 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0" y="3"/>
                    </a:move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cubicBezTo>
                      <a:pt x="781" y="23"/>
                      <a:pt x="781" y="23"/>
                      <a:pt x="781" y="23"/>
                    </a:cubicBez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lnTo>
                      <a:pt x="0" y="3"/>
                    </a:ln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sp>
            <p:nvSpPr>
              <p:cNvPr id="67" name="Freeform 11">
                <a:extLst>
                  <a:ext uri="{FF2B5EF4-FFF2-40B4-BE49-F238E27FC236}">
                    <a16:creationId xmlns:a16="http://schemas.microsoft.com/office/drawing/2014/main" id="{89B95B0B-B91A-430D-B0F7-27F390A8BFC3}"/>
                  </a:ext>
                </a:extLst>
              </p:cNvPr>
              <p:cNvSpPr>
                <a:spLocks noEditPoints="1"/>
              </p:cNvSpPr>
              <p:nvPr/>
            </p:nvSpPr>
            <p:spPr bwMode="auto">
              <a:xfrm>
                <a:off x="5521451" y="2919603"/>
                <a:ext cx="1147572" cy="1058037"/>
              </a:xfrm>
              <a:custGeom>
                <a:avLst/>
                <a:gdLst>
                  <a:gd name="T0" fmla="*/ 329 w 1608"/>
                  <a:gd name="T1" fmla="*/ 640 h 1481"/>
                  <a:gd name="T2" fmla="*/ 74 w 1608"/>
                  <a:gd name="T3" fmla="*/ 827 h 1481"/>
                  <a:gd name="T4" fmla="*/ 65 w 1608"/>
                  <a:gd name="T5" fmla="*/ 819 h 1481"/>
                  <a:gd name="T6" fmla="*/ 0 w 1608"/>
                  <a:gd name="T7" fmla="*/ 447 h 1481"/>
                  <a:gd name="T8" fmla="*/ 351 w 1608"/>
                  <a:gd name="T9" fmla="*/ 258 h 1481"/>
                  <a:gd name="T10" fmla="*/ 352 w 1608"/>
                  <a:gd name="T11" fmla="*/ 258 h 1481"/>
                  <a:gd name="T12" fmla="*/ 326 w 1608"/>
                  <a:gd name="T13" fmla="*/ 398 h 1481"/>
                  <a:gd name="T14" fmla="*/ 329 w 1608"/>
                  <a:gd name="T15" fmla="*/ 640 h 1481"/>
                  <a:gd name="T16" fmla="*/ 1493 w 1608"/>
                  <a:gd name="T17" fmla="*/ 1481 h 1481"/>
                  <a:gd name="T18" fmla="*/ 1514 w 1608"/>
                  <a:gd name="T19" fmla="*/ 1458 h 1481"/>
                  <a:gd name="T20" fmla="*/ 1513 w 1608"/>
                  <a:gd name="T21" fmla="*/ 1452 h 1481"/>
                  <a:gd name="T22" fmla="*/ 1100 w 1608"/>
                  <a:gd name="T23" fmla="*/ 1153 h 1481"/>
                  <a:gd name="T24" fmla="*/ 802 w 1608"/>
                  <a:gd name="T25" fmla="*/ 1294 h 1481"/>
                  <a:gd name="T26" fmla="*/ 500 w 1608"/>
                  <a:gd name="T27" fmla="*/ 1153 h 1481"/>
                  <a:gd name="T28" fmla="*/ 97 w 1608"/>
                  <a:gd name="T29" fmla="*/ 1433 h 1481"/>
                  <a:gd name="T30" fmla="*/ 94 w 1608"/>
                  <a:gd name="T31" fmla="*/ 1457 h 1481"/>
                  <a:gd name="T32" fmla="*/ 115 w 1608"/>
                  <a:gd name="T33" fmla="*/ 1481 h 1481"/>
                  <a:gd name="T34" fmla="*/ 1493 w 1608"/>
                  <a:gd name="T35" fmla="*/ 1481 h 1481"/>
                  <a:gd name="T36" fmla="*/ 1238 w 1608"/>
                  <a:gd name="T37" fmla="*/ 405 h 1481"/>
                  <a:gd name="T38" fmla="*/ 805 w 1608"/>
                  <a:gd name="T39" fmla="*/ 0 h 1481"/>
                  <a:gd name="T40" fmla="*/ 370 w 1608"/>
                  <a:gd name="T41" fmla="*/ 405 h 1481"/>
                  <a:gd name="T42" fmla="*/ 389 w 1608"/>
                  <a:gd name="T43" fmla="*/ 548 h 1481"/>
                  <a:gd name="T44" fmla="*/ 389 w 1608"/>
                  <a:gd name="T45" fmla="*/ 548 h 1481"/>
                  <a:gd name="T46" fmla="*/ 430 w 1608"/>
                  <a:gd name="T47" fmla="*/ 594 h 1481"/>
                  <a:gd name="T48" fmla="*/ 436 w 1608"/>
                  <a:gd name="T49" fmla="*/ 598 h 1481"/>
                  <a:gd name="T50" fmla="*/ 451 w 1608"/>
                  <a:gd name="T51" fmla="*/ 600 h 1481"/>
                  <a:gd name="T52" fmla="*/ 459 w 1608"/>
                  <a:gd name="T53" fmla="*/ 590 h 1481"/>
                  <a:gd name="T54" fmla="*/ 554 w 1608"/>
                  <a:gd name="T55" fmla="*/ 331 h 1481"/>
                  <a:gd name="T56" fmla="*/ 564 w 1608"/>
                  <a:gd name="T57" fmla="*/ 339 h 1481"/>
                  <a:gd name="T58" fmla="*/ 556 w 1608"/>
                  <a:gd name="T59" fmla="*/ 399 h 1481"/>
                  <a:gd name="T60" fmla="*/ 564 w 1608"/>
                  <a:gd name="T61" fmla="*/ 409 h 1481"/>
                  <a:gd name="T62" fmla="*/ 1124 w 1608"/>
                  <a:gd name="T63" fmla="*/ 317 h 1481"/>
                  <a:gd name="T64" fmla="*/ 1137 w 1608"/>
                  <a:gd name="T65" fmla="*/ 323 h 1481"/>
                  <a:gd name="T66" fmla="*/ 1141 w 1608"/>
                  <a:gd name="T67" fmla="*/ 598 h 1481"/>
                  <a:gd name="T68" fmla="*/ 1149 w 1608"/>
                  <a:gd name="T69" fmla="*/ 606 h 1481"/>
                  <a:gd name="T70" fmla="*/ 1170 w 1608"/>
                  <a:gd name="T71" fmla="*/ 606 h 1481"/>
                  <a:gd name="T72" fmla="*/ 1176 w 1608"/>
                  <a:gd name="T73" fmla="*/ 602 h 1481"/>
                  <a:gd name="T74" fmla="*/ 1221 w 1608"/>
                  <a:gd name="T75" fmla="*/ 542 h 1481"/>
                  <a:gd name="T76" fmla="*/ 1221 w 1608"/>
                  <a:gd name="T77" fmla="*/ 544 h 1481"/>
                  <a:gd name="T78" fmla="*/ 1238 w 1608"/>
                  <a:gd name="T79" fmla="*/ 405 h 1481"/>
                  <a:gd name="T80" fmla="*/ 1257 w 1608"/>
                  <a:gd name="T81" fmla="*/ 258 h 1481"/>
                  <a:gd name="T82" fmla="*/ 1256 w 1608"/>
                  <a:gd name="T83" fmla="*/ 258 h 1481"/>
                  <a:gd name="T84" fmla="*/ 1282 w 1608"/>
                  <a:gd name="T85" fmla="*/ 398 h 1481"/>
                  <a:gd name="T86" fmla="*/ 1279 w 1608"/>
                  <a:gd name="T87" fmla="*/ 640 h 1481"/>
                  <a:gd name="T88" fmla="*/ 1534 w 1608"/>
                  <a:gd name="T89" fmla="*/ 827 h 1481"/>
                  <a:gd name="T90" fmla="*/ 1543 w 1608"/>
                  <a:gd name="T91" fmla="*/ 819 h 1481"/>
                  <a:gd name="T92" fmla="*/ 1608 w 1608"/>
                  <a:gd name="T93" fmla="*/ 447 h 1481"/>
                  <a:gd name="T94" fmla="*/ 1257 w 1608"/>
                  <a:gd name="T95" fmla="*/ 258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8" h="1481">
                    <a:moveTo>
                      <a:pt x="329" y="640"/>
                    </a:moveTo>
                    <a:cubicBezTo>
                      <a:pt x="329" y="751"/>
                      <a:pt x="166" y="821"/>
                      <a:pt x="74" y="827"/>
                    </a:cubicBezTo>
                    <a:cubicBezTo>
                      <a:pt x="70" y="827"/>
                      <a:pt x="65" y="823"/>
                      <a:pt x="65" y="819"/>
                    </a:cubicBezTo>
                    <a:cubicBezTo>
                      <a:pt x="63" y="566"/>
                      <a:pt x="0" y="576"/>
                      <a:pt x="0" y="447"/>
                    </a:cubicBezTo>
                    <a:cubicBezTo>
                      <a:pt x="0" y="318"/>
                      <a:pt x="166" y="260"/>
                      <a:pt x="351" y="258"/>
                    </a:cubicBezTo>
                    <a:cubicBezTo>
                      <a:pt x="351" y="258"/>
                      <a:pt x="352" y="258"/>
                      <a:pt x="352" y="258"/>
                    </a:cubicBezTo>
                    <a:cubicBezTo>
                      <a:pt x="336" y="303"/>
                      <a:pt x="327" y="350"/>
                      <a:pt x="326" y="398"/>
                    </a:cubicBezTo>
                    <a:cubicBezTo>
                      <a:pt x="245" y="406"/>
                      <a:pt x="329" y="529"/>
                      <a:pt x="329" y="640"/>
                    </a:cubicBezTo>
                    <a:close/>
                    <a:moveTo>
                      <a:pt x="1493" y="1481"/>
                    </a:moveTo>
                    <a:cubicBezTo>
                      <a:pt x="1505" y="1481"/>
                      <a:pt x="1515" y="1470"/>
                      <a:pt x="1514" y="1458"/>
                    </a:cubicBezTo>
                    <a:cubicBezTo>
                      <a:pt x="1514" y="1456"/>
                      <a:pt x="1513" y="1454"/>
                      <a:pt x="1513" y="1452"/>
                    </a:cubicBezTo>
                    <a:cubicBezTo>
                      <a:pt x="1481" y="1202"/>
                      <a:pt x="1124" y="1155"/>
                      <a:pt x="1100" y="1153"/>
                    </a:cubicBezTo>
                    <a:cubicBezTo>
                      <a:pt x="1057" y="1212"/>
                      <a:pt x="983" y="1294"/>
                      <a:pt x="802" y="1294"/>
                    </a:cubicBezTo>
                    <a:cubicBezTo>
                      <a:pt x="621" y="1294"/>
                      <a:pt x="537" y="1196"/>
                      <a:pt x="500" y="1153"/>
                    </a:cubicBezTo>
                    <a:cubicBezTo>
                      <a:pt x="478" y="1153"/>
                      <a:pt x="128" y="1168"/>
                      <a:pt x="97" y="1433"/>
                    </a:cubicBezTo>
                    <a:cubicBezTo>
                      <a:pt x="96" y="1441"/>
                      <a:pt x="95" y="1449"/>
                      <a:pt x="94" y="1457"/>
                    </a:cubicBezTo>
                    <a:cubicBezTo>
                      <a:pt x="93" y="1470"/>
                      <a:pt x="103" y="1481"/>
                      <a:pt x="115" y="1481"/>
                    </a:cubicBezTo>
                    <a:lnTo>
                      <a:pt x="1493" y="1481"/>
                    </a:lnTo>
                    <a:close/>
                    <a:moveTo>
                      <a:pt x="1238" y="405"/>
                    </a:moveTo>
                    <a:cubicBezTo>
                      <a:pt x="1238" y="182"/>
                      <a:pt x="1050" y="0"/>
                      <a:pt x="805" y="0"/>
                    </a:cubicBezTo>
                    <a:cubicBezTo>
                      <a:pt x="560" y="0"/>
                      <a:pt x="370" y="182"/>
                      <a:pt x="370" y="405"/>
                    </a:cubicBezTo>
                    <a:cubicBezTo>
                      <a:pt x="370" y="455"/>
                      <a:pt x="370" y="504"/>
                      <a:pt x="389" y="548"/>
                    </a:cubicBezTo>
                    <a:cubicBezTo>
                      <a:pt x="389" y="548"/>
                      <a:pt x="389" y="548"/>
                      <a:pt x="389" y="548"/>
                    </a:cubicBezTo>
                    <a:cubicBezTo>
                      <a:pt x="418" y="572"/>
                      <a:pt x="428" y="586"/>
                      <a:pt x="430" y="594"/>
                    </a:cubicBezTo>
                    <a:cubicBezTo>
                      <a:pt x="432" y="596"/>
                      <a:pt x="434" y="598"/>
                      <a:pt x="436" y="598"/>
                    </a:cubicBezTo>
                    <a:cubicBezTo>
                      <a:pt x="451" y="600"/>
                      <a:pt x="451" y="600"/>
                      <a:pt x="451" y="600"/>
                    </a:cubicBezTo>
                    <a:cubicBezTo>
                      <a:pt x="455" y="600"/>
                      <a:pt x="461" y="596"/>
                      <a:pt x="459" y="590"/>
                    </a:cubicBezTo>
                    <a:cubicBezTo>
                      <a:pt x="457" y="548"/>
                      <a:pt x="453" y="373"/>
                      <a:pt x="554" y="331"/>
                    </a:cubicBezTo>
                    <a:cubicBezTo>
                      <a:pt x="560" y="327"/>
                      <a:pt x="566" y="333"/>
                      <a:pt x="564" y="339"/>
                    </a:cubicBezTo>
                    <a:cubicBezTo>
                      <a:pt x="556" y="399"/>
                      <a:pt x="556" y="399"/>
                      <a:pt x="556" y="399"/>
                    </a:cubicBezTo>
                    <a:cubicBezTo>
                      <a:pt x="554" y="405"/>
                      <a:pt x="558" y="409"/>
                      <a:pt x="564" y="409"/>
                    </a:cubicBezTo>
                    <a:cubicBezTo>
                      <a:pt x="634" y="403"/>
                      <a:pt x="1038" y="367"/>
                      <a:pt x="1124" y="317"/>
                    </a:cubicBezTo>
                    <a:cubicBezTo>
                      <a:pt x="1131" y="313"/>
                      <a:pt x="1137" y="317"/>
                      <a:pt x="1137" y="323"/>
                    </a:cubicBezTo>
                    <a:cubicBezTo>
                      <a:pt x="1141" y="518"/>
                      <a:pt x="1141" y="580"/>
                      <a:pt x="1141" y="598"/>
                    </a:cubicBezTo>
                    <a:cubicBezTo>
                      <a:pt x="1141" y="602"/>
                      <a:pt x="1145" y="606"/>
                      <a:pt x="1149" y="606"/>
                    </a:cubicBezTo>
                    <a:cubicBezTo>
                      <a:pt x="1170" y="606"/>
                      <a:pt x="1170" y="606"/>
                      <a:pt x="1170" y="606"/>
                    </a:cubicBezTo>
                    <a:cubicBezTo>
                      <a:pt x="1172" y="606"/>
                      <a:pt x="1174" y="604"/>
                      <a:pt x="1176" y="602"/>
                    </a:cubicBezTo>
                    <a:cubicBezTo>
                      <a:pt x="1213" y="562"/>
                      <a:pt x="1221" y="544"/>
                      <a:pt x="1221" y="542"/>
                    </a:cubicBezTo>
                    <a:cubicBezTo>
                      <a:pt x="1221" y="542"/>
                      <a:pt x="1221" y="542"/>
                      <a:pt x="1221" y="544"/>
                    </a:cubicBezTo>
                    <a:cubicBezTo>
                      <a:pt x="1240" y="500"/>
                      <a:pt x="1238" y="453"/>
                      <a:pt x="1238" y="405"/>
                    </a:cubicBezTo>
                    <a:close/>
                    <a:moveTo>
                      <a:pt x="1257" y="258"/>
                    </a:moveTo>
                    <a:cubicBezTo>
                      <a:pt x="1257" y="258"/>
                      <a:pt x="1256" y="258"/>
                      <a:pt x="1256" y="258"/>
                    </a:cubicBezTo>
                    <a:cubicBezTo>
                      <a:pt x="1272" y="303"/>
                      <a:pt x="1281" y="350"/>
                      <a:pt x="1282" y="398"/>
                    </a:cubicBezTo>
                    <a:cubicBezTo>
                      <a:pt x="1363" y="406"/>
                      <a:pt x="1279" y="529"/>
                      <a:pt x="1279" y="640"/>
                    </a:cubicBezTo>
                    <a:cubicBezTo>
                      <a:pt x="1279" y="751"/>
                      <a:pt x="1442" y="821"/>
                      <a:pt x="1534" y="827"/>
                    </a:cubicBezTo>
                    <a:cubicBezTo>
                      <a:pt x="1538" y="827"/>
                      <a:pt x="1543" y="823"/>
                      <a:pt x="1543" y="819"/>
                    </a:cubicBezTo>
                    <a:cubicBezTo>
                      <a:pt x="1545" y="566"/>
                      <a:pt x="1608" y="576"/>
                      <a:pt x="1608" y="447"/>
                    </a:cubicBezTo>
                    <a:cubicBezTo>
                      <a:pt x="1608" y="318"/>
                      <a:pt x="1442" y="260"/>
                      <a:pt x="1257" y="25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grpSp>
      </p:grpSp>
      <p:grpSp>
        <p:nvGrpSpPr>
          <p:cNvPr id="70" name="Group 69">
            <a:extLst>
              <a:ext uri="{FF2B5EF4-FFF2-40B4-BE49-F238E27FC236}">
                <a16:creationId xmlns:a16="http://schemas.microsoft.com/office/drawing/2014/main" id="{E5DF2995-F97F-483D-B983-C715F76E2B54}"/>
              </a:ext>
            </a:extLst>
          </p:cNvPr>
          <p:cNvGrpSpPr/>
          <p:nvPr/>
        </p:nvGrpSpPr>
        <p:grpSpPr>
          <a:xfrm>
            <a:off x="3359419" y="2870226"/>
            <a:ext cx="633254" cy="495620"/>
            <a:chOff x="3616833" y="3030250"/>
            <a:chExt cx="633254" cy="495620"/>
          </a:xfrm>
        </p:grpSpPr>
        <p:grpSp>
          <p:nvGrpSpPr>
            <p:cNvPr id="68" name="Group 67">
              <a:extLst>
                <a:ext uri="{FF2B5EF4-FFF2-40B4-BE49-F238E27FC236}">
                  <a16:creationId xmlns:a16="http://schemas.microsoft.com/office/drawing/2014/main" id="{B08CEB55-4890-4B27-A711-80A96E7B5698}"/>
                </a:ext>
              </a:extLst>
            </p:cNvPr>
            <p:cNvGrpSpPr/>
            <p:nvPr/>
          </p:nvGrpSpPr>
          <p:grpSpPr>
            <a:xfrm>
              <a:off x="3616833" y="3030250"/>
              <a:ext cx="633254" cy="495620"/>
              <a:chOff x="929790" y="2999695"/>
              <a:chExt cx="1195766" cy="935874"/>
            </a:xfrm>
          </p:grpSpPr>
          <p:grpSp>
            <p:nvGrpSpPr>
              <p:cNvPr id="36" name="Group 35">
                <a:extLst>
                  <a:ext uri="{FF2B5EF4-FFF2-40B4-BE49-F238E27FC236}">
                    <a16:creationId xmlns:a16="http://schemas.microsoft.com/office/drawing/2014/main" id="{EC879FA7-AE6D-4881-8B99-68A06A8EF234}"/>
                  </a:ext>
                </a:extLst>
              </p:cNvPr>
              <p:cNvGrpSpPr/>
              <p:nvPr/>
            </p:nvGrpSpPr>
            <p:grpSpPr>
              <a:xfrm rot="19800000">
                <a:off x="929790" y="2999695"/>
                <a:ext cx="926227" cy="927085"/>
                <a:chOff x="528540" y="2696474"/>
                <a:chExt cx="926227" cy="927085"/>
              </a:xfrm>
            </p:grpSpPr>
            <p:grpSp>
              <p:nvGrpSpPr>
                <p:cNvPr id="37" name="Group 36">
                  <a:extLst>
                    <a:ext uri="{FF2B5EF4-FFF2-40B4-BE49-F238E27FC236}">
                      <a16:creationId xmlns:a16="http://schemas.microsoft.com/office/drawing/2014/main" id="{986FDB42-2B35-4127-89E9-27A813660EF5}"/>
                    </a:ext>
                  </a:extLst>
                </p:cNvPr>
                <p:cNvGrpSpPr>
                  <a:grpSpLocks/>
                </p:cNvGrpSpPr>
                <p:nvPr/>
              </p:nvGrpSpPr>
              <p:grpSpPr>
                <a:xfrm rot="1800000">
                  <a:off x="958315" y="2789190"/>
                  <a:ext cx="66678" cy="741654"/>
                  <a:chOff x="3748568" y="2287851"/>
                  <a:chExt cx="148686" cy="1653808"/>
                </a:xfrm>
              </p:grpSpPr>
              <p:sp>
                <p:nvSpPr>
                  <p:cNvPr id="39" name="Rectangle 38">
                    <a:extLst>
                      <a:ext uri="{FF2B5EF4-FFF2-40B4-BE49-F238E27FC236}">
                        <a16:creationId xmlns:a16="http://schemas.microsoft.com/office/drawing/2014/main" id="{DCEA82C5-9A9B-4F76-A8D4-8DA38675A5FE}"/>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0" name="Teardrop 39">
                    <a:extLst>
                      <a:ext uri="{FF2B5EF4-FFF2-40B4-BE49-F238E27FC236}">
                        <a16:creationId xmlns:a16="http://schemas.microsoft.com/office/drawing/2014/main" id="{6DA49866-8173-4342-82B8-C8AB579C768B}"/>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38" name="AutoShape 8">
                  <a:extLst>
                    <a:ext uri="{FF2B5EF4-FFF2-40B4-BE49-F238E27FC236}">
                      <a16:creationId xmlns:a16="http://schemas.microsoft.com/office/drawing/2014/main" id="{12322C8C-E86C-46AD-B788-EDD7149B035B}"/>
                    </a:ext>
                  </a:extLst>
                </p:cNvPr>
                <p:cNvSpPr>
                  <a:spLocks noChangeAspect="1" noChangeArrowheads="1" noTextEdit="1"/>
                </p:cNvSpPr>
                <p:nvPr/>
              </p:nvSpPr>
              <p:spPr bwMode="auto">
                <a:xfrm>
                  <a:off x="528540" y="269647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41" name="Group 40">
                <a:extLst>
                  <a:ext uri="{FF2B5EF4-FFF2-40B4-BE49-F238E27FC236}">
                    <a16:creationId xmlns:a16="http://schemas.microsoft.com/office/drawing/2014/main" id="{8E63665C-A065-4269-9408-0724952FB62D}"/>
                  </a:ext>
                </a:extLst>
              </p:cNvPr>
              <p:cNvGrpSpPr/>
              <p:nvPr/>
            </p:nvGrpSpPr>
            <p:grpSpPr>
              <a:xfrm>
                <a:off x="1199329" y="3008484"/>
                <a:ext cx="926227" cy="927085"/>
                <a:chOff x="528540" y="3656094"/>
                <a:chExt cx="926227" cy="927085"/>
              </a:xfrm>
            </p:grpSpPr>
            <p:grpSp>
              <p:nvGrpSpPr>
                <p:cNvPr id="42" name="Group 41">
                  <a:extLst>
                    <a:ext uri="{FF2B5EF4-FFF2-40B4-BE49-F238E27FC236}">
                      <a16:creationId xmlns:a16="http://schemas.microsoft.com/office/drawing/2014/main" id="{080E5A0D-15B8-462D-B468-FB778A0EEA11}"/>
                    </a:ext>
                  </a:extLst>
                </p:cNvPr>
                <p:cNvGrpSpPr/>
                <p:nvPr/>
              </p:nvGrpSpPr>
              <p:grpSpPr>
                <a:xfrm>
                  <a:off x="856419" y="3775060"/>
                  <a:ext cx="270468" cy="691986"/>
                  <a:chOff x="791086" y="3775060"/>
                  <a:chExt cx="270468" cy="691986"/>
                </a:xfrm>
              </p:grpSpPr>
              <p:sp>
                <p:nvSpPr>
                  <p:cNvPr id="47" name="Rectangle: Rounded Corners 46">
                    <a:extLst>
                      <a:ext uri="{FF2B5EF4-FFF2-40B4-BE49-F238E27FC236}">
                        <a16:creationId xmlns:a16="http://schemas.microsoft.com/office/drawing/2014/main" id="{55FD55CF-BB9A-42AF-94C2-A0F2C3A94AE8}"/>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8" name="Freeform: Shape 47">
                    <a:extLst>
                      <a:ext uri="{FF2B5EF4-FFF2-40B4-BE49-F238E27FC236}">
                        <a16:creationId xmlns:a16="http://schemas.microsoft.com/office/drawing/2014/main" id="{1A0FA716-C5FA-46A5-9D23-5E8C897F37EF}"/>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43" name="Group 42">
                  <a:extLst>
                    <a:ext uri="{FF2B5EF4-FFF2-40B4-BE49-F238E27FC236}">
                      <a16:creationId xmlns:a16="http://schemas.microsoft.com/office/drawing/2014/main" id="{FA16A90F-8D1E-46C9-91FB-A3CCD47FF811}"/>
                    </a:ext>
                  </a:extLst>
                </p:cNvPr>
                <p:cNvGrpSpPr/>
                <p:nvPr/>
              </p:nvGrpSpPr>
              <p:grpSpPr>
                <a:xfrm rot="9000000">
                  <a:off x="889049" y="3827496"/>
                  <a:ext cx="164431" cy="505560"/>
                  <a:chOff x="1080621" y="2982166"/>
                  <a:chExt cx="225378" cy="692942"/>
                </a:xfrm>
              </p:grpSpPr>
              <p:sp>
                <p:nvSpPr>
                  <p:cNvPr id="45" name="Rectangle 44">
                    <a:extLst>
                      <a:ext uri="{FF2B5EF4-FFF2-40B4-BE49-F238E27FC236}">
                        <a16:creationId xmlns:a16="http://schemas.microsoft.com/office/drawing/2014/main" id="{9C9D4DB9-E939-4326-A9E6-A39C6D858070}"/>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6" name="Teardrop 45">
                    <a:extLst>
                      <a:ext uri="{FF2B5EF4-FFF2-40B4-BE49-F238E27FC236}">
                        <a16:creationId xmlns:a16="http://schemas.microsoft.com/office/drawing/2014/main" id="{5B0FBE0A-D4E9-43D7-A4D3-1B36CC34E50F}"/>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44" name="AutoShape 8">
                  <a:extLst>
                    <a:ext uri="{FF2B5EF4-FFF2-40B4-BE49-F238E27FC236}">
                      <a16:creationId xmlns:a16="http://schemas.microsoft.com/office/drawing/2014/main" id="{C60F6CAA-CDAF-49D3-9014-45388E02B9BC}"/>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
          <p:nvSpPr>
            <p:cNvPr id="69" name="Oval 68">
              <a:extLst>
                <a:ext uri="{FF2B5EF4-FFF2-40B4-BE49-F238E27FC236}">
                  <a16:creationId xmlns:a16="http://schemas.microsoft.com/office/drawing/2014/main" id="{440D32F3-C874-4778-8D7C-EB70DD1127E9}"/>
                </a:ext>
              </a:extLst>
            </p:cNvPr>
            <p:cNvSpPr/>
            <p:nvPr/>
          </p:nvSpPr>
          <p:spPr bwMode="auto">
            <a:xfrm>
              <a:off x="3736161" y="3038901"/>
              <a:ext cx="469856" cy="469856"/>
            </a:xfrm>
            <a:prstGeom prst="ellipse">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72" name="Group 71">
            <a:extLst>
              <a:ext uri="{FF2B5EF4-FFF2-40B4-BE49-F238E27FC236}">
                <a16:creationId xmlns:a16="http://schemas.microsoft.com/office/drawing/2014/main" id="{453C5780-E83F-401E-A952-2A87A0439134}"/>
              </a:ext>
            </a:extLst>
          </p:cNvPr>
          <p:cNvGrpSpPr>
            <a:grpSpLocks noChangeAspect="1"/>
          </p:cNvGrpSpPr>
          <p:nvPr/>
        </p:nvGrpSpPr>
        <p:grpSpPr>
          <a:xfrm>
            <a:off x="5117328" y="1786012"/>
            <a:ext cx="926191" cy="927085"/>
            <a:chOff x="5273675" y="2605088"/>
            <a:chExt cx="1644650" cy="1646237"/>
          </a:xfrm>
        </p:grpSpPr>
        <p:sp>
          <p:nvSpPr>
            <p:cNvPr id="73" name="AutoShape 33">
              <a:extLst>
                <a:ext uri="{FF2B5EF4-FFF2-40B4-BE49-F238E27FC236}">
                  <a16:creationId xmlns:a16="http://schemas.microsoft.com/office/drawing/2014/main" id="{46B78496-A4DA-4758-88BA-D0A8906B751C}"/>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74" name="Group 73">
              <a:extLst>
                <a:ext uri="{FF2B5EF4-FFF2-40B4-BE49-F238E27FC236}">
                  <a16:creationId xmlns:a16="http://schemas.microsoft.com/office/drawing/2014/main" id="{8A53E92D-0E45-4418-B30D-77FB9C80FC5D}"/>
                </a:ext>
              </a:extLst>
            </p:cNvPr>
            <p:cNvGrpSpPr/>
            <p:nvPr/>
          </p:nvGrpSpPr>
          <p:grpSpPr>
            <a:xfrm>
              <a:off x="5445180" y="3044571"/>
              <a:ext cx="1301641" cy="767271"/>
              <a:chOff x="5445707" y="3042729"/>
              <a:chExt cx="1301641" cy="767271"/>
            </a:xfrm>
          </p:grpSpPr>
          <p:sp>
            <p:nvSpPr>
              <p:cNvPr id="75" name="Freeform 5">
                <a:extLst>
                  <a:ext uri="{FF2B5EF4-FFF2-40B4-BE49-F238E27FC236}">
                    <a16:creationId xmlns:a16="http://schemas.microsoft.com/office/drawing/2014/main" id="{8D5ED089-616F-4726-87C2-3975967D057D}"/>
                  </a:ext>
                </a:extLst>
              </p:cNvPr>
              <p:cNvSpPr>
                <a:spLocks/>
              </p:cNvSpPr>
              <p:nvPr/>
            </p:nvSpPr>
            <p:spPr bwMode="auto">
              <a:xfrm>
                <a:off x="5514975" y="3565525"/>
                <a:ext cx="1155701" cy="244475"/>
              </a:xfrm>
              <a:custGeom>
                <a:avLst/>
                <a:gdLst>
                  <a:gd name="connsiteX0" fmla="*/ 1031957 w 1155701"/>
                  <a:gd name="connsiteY0" fmla="*/ 31750 h 244475"/>
                  <a:gd name="connsiteX1" fmla="*/ 941388 w 1155701"/>
                  <a:gd name="connsiteY1" fmla="*/ 122592 h 244475"/>
                  <a:gd name="connsiteX2" fmla="*/ 950659 w 1155701"/>
                  <a:gd name="connsiteY2" fmla="*/ 162336 h 244475"/>
                  <a:gd name="connsiteX3" fmla="*/ 1031957 w 1155701"/>
                  <a:gd name="connsiteY3" fmla="*/ 212725 h 244475"/>
                  <a:gd name="connsiteX4" fmla="*/ 1114680 w 1155701"/>
                  <a:gd name="connsiteY4" fmla="*/ 162336 h 244475"/>
                  <a:gd name="connsiteX5" fmla="*/ 1123951 w 1155701"/>
                  <a:gd name="connsiteY5" fmla="*/ 122592 h 244475"/>
                  <a:gd name="connsiteX6" fmla="*/ 1031957 w 1155701"/>
                  <a:gd name="connsiteY6" fmla="*/ 31750 h 244475"/>
                  <a:gd name="connsiteX7" fmla="*/ 121883 w 1155701"/>
                  <a:gd name="connsiteY7" fmla="*/ 31750 h 244475"/>
                  <a:gd name="connsiteX8" fmla="*/ 31750 w 1155701"/>
                  <a:gd name="connsiteY8" fmla="*/ 116205 h 244475"/>
                  <a:gd name="connsiteX9" fmla="*/ 31750 w 1155701"/>
                  <a:gd name="connsiteY9" fmla="*/ 122592 h 244475"/>
                  <a:gd name="connsiteX10" fmla="*/ 121883 w 1155701"/>
                  <a:gd name="connsiteY10" fmla="*/ 212725 h 244475"/>
                  <a:gd name="connsiteX11" fmla="*/ 211306 w 1155701"/>
                  <a:gd name="connsiteY11" fmla="*/ 138206 h 244475"/>
                  <a:gd name="connsiteX12" fmla="*/ 212725 w 1155701"/>
                  <a:gd name="connsiteY12" fmla="*/ 122592 h 244475"/>
                  <a:gd name="connsiteX13" fmla="*/ 121883 w 1155701"/>
                  <a:gd name="connsiteY13" fmla="*/ 31750 h 244475"/>
                  <a:gd name="connsiteX14" fmla="*/ 1031954 w 1155701"/>
                  <a:gd name="connsiteY14" fmla="*/ 0 h 244475"/>
                  <a:gd name="connsiteX15" fmla="*/ 1155701 w 1155701"/>
                  <a:gd name="connsiteY15" fmla="*/ 122594 h 244475"/>
                  <a:gd name="connsiteX16" fmla="*/ 1148548 w 1155701"/>
                  <a:gd name="connsiteY16" fmla="*/ 162508 h 244475"/>
                  <a:gd name="connsiteX17" fmla="*/ 1031954 w 1155701"/>
                  <a:gd name="connsiteY17" fmla="*/ 244475 h 244475"/>
                  <a:gd name="connsiteX18" fmla="*/ 916791 w 1155701"/>
                  <a:gd name="connsiteY18" fmla="*/ 162508 h 244475"/>
                  <a:gd name="connsiteX19" fmla="*/ 909638 w 1155701"/>
                  <a:gd name="connsiteY19" fmla="*/ 122594 h 244475"/>
                  <a:gd name="connsiteX20" fmla="*/ 1031954 w 1155701"/>
                  <a:gd name="connsiteY20" fmla="*/ 0 h 244475"/>
                  <a:gd name="connsiteX21" fmla="*/ 121881 w 1155701"/>
                  <a:gd name="connsiteY21" fmla="*/ 0 h 244475"/>
                  <a:gd name="connsiteX22" fmla="*/ 244475 w 1155701"/>
                  <a:gd name="connsiteY22" fmla="*/ 122594 h 244475"/>
                  <a:gd name="connsiteX23" fmla="*/ 243050 w 1155701"/>
                  <a:gd name="connsiteY23" fmla="*/ 141838 h 244475"/>
                  <a:gd name="connsiteX24" fmla="*/ 121881 w 1155701"/>
                  <a:gd name="connsiteY24" fmla="*/ 244475 h 244475"/>
                  <a:gd name="connsiteX25" fmla="*/ 0 w 1155701"/>
                  <a:gd name="connsiteY25" fmla="*/ 122594 h 244475"/>
                  <a:gd name="connsiteX26" fmla="*/ 0 w 1155701"/>
                  <a:gd name="connsiteY26" fmla="*/ 112615 h 244475"/>
                  <a:gd name="connsiteX27" fmla="*/ 121881 w 1155701"/>
                  <a:gd name="connsiteY27" fmla="*/ 0 h 24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55701" h="244475">
                    <a:moveTo>
                      <a:pt x="1031957" y="31750"/>
                    </a:moveTo>
                    <a:cubicBezTo>
                      <a:pt x="982750" y="31750"/>
                      <a:pt x="941388" y="72203"/>
                      <a:pt x="941388" y="122592"/>
                    </a:cubicBezTo>
                    <a:cubicBezTo>
                      <a:pt x="941388" y="136787"/>
                      <a:pt x="944954" y="150271"/>
                      <a:pt x="950659" y="162336"/>
                    </a:cubicBezTo>
                    <a:cubicBezTo>
                      <a:pt x="965635" y="191434"/>
                      <a:pt x="997013" y="212725"/>
                      <a:pt x="1031957" y="212725"/>
                    </a:cubicBezTo>
                    <a:cubicBezTo>
                      <a:pt x="1068327" y="212725"/>
                      <a:pt x="1099705" y="191434"/>
                      <a:pt x="1114680" y="162336"/>
                    </a:cubicBezTo>
                    <a:cubicBezTo>
                      <a:pt x="1120386" y="150271"/>
                      <a:pt x="1123951" y="136787"/>
                      <a:pt x="1123951" y="122592"/>
                    </a:cubicBezTo>
                    <a:cubicBezTo>
                      <a:pt x="1123951" y="72203"/>
                      <a:pt x="1082589" y="31750"/>
                      <a:pt x="1031957" y="31750"/>
                    </a:cubicBezTo>
                    <a:close/>
                    <a:moveTo>
                      <a:pt x="121883" y="31750"/>
                    </a:moveTo>
                    <a:cubicBezTo>
                      <a:pt x="74333" y="31750"/>
                      <a:pt x="34589" y="69365"/>
                      <a:pt x="31750" y="116205"/>
                    </a:cubicBezTo>
                    <a:cubicBezTo>
                      <a:pt x="31750" y="118334"/>
                      <a:pt x="31750" y="120463"/>
                      <a:pt x="31750" y="122592"/>
                    </a:cubicBezTo>
                    <a:cubicBezTo>
                      <a:pt x="31750" y="172272"/>
                      <a:pt x="72203" y="212725"/>
                      <a:pt x="121883" y="212725"/>
                    </a:cubicBezTo>
                    <a:cubicBezTo>
                      <a:pt x="166594" y="212725"/>
                      <a:pt x="204209" y="180788"/>
                      <a:pt x="211306" y="138206"/>
                    </a:cubicBezTo>
                    <a:cubicBezTo>
                      <a:pt x="212725" y="132528"/>
                      <a:pt x="212725" y="127560"/>
                      <a:pt x="212725" y="122592"/>
                    </a:cubicBezTo>
                    <a:cubicBezTo>
                      <a:pt x="212725" y="72203"/>
                      <a:pt x="172272" y="31750"/>
                      <a:pt x="121883" y="31750"/>
                    </a:cubicBezTo>
                    <a:close/>
                    <a:moveTo>
                      <a:pt x="1031954" y="0"/>
                    </a:moveTo>
                    <a:cubicBezTo>
                      <a:pt x="1099908" y="0"/>
                      <a:pt x="1155701" y="54882"/>
                      <a:pt x="1155701" y="122594"/>
                    </a:cubicBezTo>
                    <a:cubicBezTo>
                      <a:pt x="1155701" y="136136"/>
                      <a:pt x="1152840" y="149679"/>
                      <a:pt x="1148548" y="162508"/>
                    </a:cubicBezTo>
                    <a:cubicBezTo>
                      <a:pt x="1132096" y="209550"/>
                      <a:pt x="1086317" y="244475"/>
                      <a:pt x="1031954" y="244475"/>
                    </a:cubicBezTo>
                    <a:cubicBezTo>
                      <a:pt x="979022" y="244475"/>
                      <a:pt x="933243" y="209550"/>
                      <a:pt x="916791" y="162508"/>
                    </a:cubicBezTo>
                    <a:cubicBezTo>
                      <a:pt x="912499" y="149679"/>
                      <a:pt x="909638" y="136136"/>
                      <a:pt x="909638" y="122594"/>
                    </a:cubicBezTo>
                    <a:cubicBezTo>
                      <a:pt x="909638" y="54882"/>
                      <a:pt x="964716" y="0"/>
                      <a:pt x="1031954" y="0"/>
                    </a:cubicBezTo>
                    <a:close/>
                    <a:moveTo>
                      <a:pt x="121881" y="0"/>
                    </a:moveTo>
                    <a:cubicBezTo>
                      <a:pt x="189593" y="0"/>
                      <a:pt x="244475" y="54882"/>
                      <a:pt x="244475" y="122594"/>
                    </a:cubicBezTo>
                    <a:cubicBezTo>
                      <a:pt x="244475" y="129009"/>
                      <a:pt x="243762" y="135424"/>
                      <a:pt x="243050" y="141838"/>
                    </a:cubicBezTo>
                    <a:cubicBezTo>
                      <a:pt x="233784" y="199572"/>
                      <a:pt x="183178" y="244475"/>
                      <a:pt x="121881" y="244475"/>
                    </a:cubicBezTo>
                    <a:cubicBezTo>
                      <a:pt x="54882" y="244475"/>
                      <a:pt x="0" y="189593"/>
                      <a:pt x="0" y="122594"/>
                    </a:cubicBezTo>
                    <a:cubicBezTo>
                      <a:pt x="0" y="119030"/>
                      <a:pt x="0" y="116179"/>
                      <a:pt x="0" y="112615"/>
                    </a:cubicBezTo>
                    <a:cubicBezTo>
                      <a:pt x="4990" y="50606"/>
                      <a:pt x="58446" y="0"/>
                      <a:pt x="121881"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76" name="Freeform 6">
                <a:extLst>
                  <a:ext uri="{FF2B5EF4-FFF2-40B4-BE49-F238E27FC236}">
                    <a16:creationId xmlns:a16="http://schemas.microsoft.com/office/drawing/2014/main" id="{331AB227-431F-422A-8F10-1848E08D45F9}"/>
                  </a:ext>
                </a:extLst>
              </p:cNvPr>
              <p:cNvSpPr>
                <a:spLocks/>
              </p:cNvSpPr>
              <p:nvPr/>
            </p:nvSpPr>
            <p:spPr bwMode="auto">
              <a:xfrm>
                <a:off x="5445707" y="3042729"/>
                <a:ext cx="1301641" cy="705358"/>
              </a:xfrm>
              <a:custGeom>
                <a:avLst/>
                <a:gdLst>
                  <a:gd name="connsiteX0" fmla="*/ 1101221 w 1301641"/>
                  <a:gd name="connsiteY0" fmla="*/ 584708 h 705358"/>
                  <a:gd name="connsiteX1" fmla="*/ 1161469 w 1301641"/>
                  <a:gd name="connsiteY1" fmla="*/ 644676 h 705358"/>
                  <a:gd name="connsiteX2" fmla="*/ 1146407 w 1301641"/>
                  <a:gd name="connsiteY2" fmla="*/ 685369 h 705358"/>
                  <a:gd name="connsiteX3" fmla="*/ 1101221 w 1301641"/>
                  <a:gd name="connsiteY3" fmla="*/ 705358 h 705358"/>
                  <a:gd name="connsiteX4" fmla="*/ 1057468 w 1301641"/>
                  <a:gd name="connsiteY4" fmla="*/ 685369 h 705358"/>
                  <a:gd name="connsiteX5" fmla="*/ 1042406 w 1301641"/>
                  <a:gd name="connsiteY5" fmla="*/ 644676 h 705358"/>
                  <a:gd name="connsiteX6" fmla="*/ 1101221 w 1301641"/>
                  <a:gd name="connsiteY6" fmla="*/ 584708 h 705358"/>
                  <a:gd name="connsiteX7" fmla="*/ 191149 w 1301641"/>
                  <a:gd name="connsiteY7" fmla="*/ 584708 h 705358"/>
                  <a:gd name="connsiteX8" fmla="*/ 251831 w 1301641"/>
                  <a:gd name="connsiteY8" fmla="*/ 644676 h 705358"/>
                  <a:gd name="connsiteX9" fmla="*/ 250403 w 1301641"/>
                  <a:gd name="connsiteY9" fmla="*/ 656099 h 705358"/>
                  <a:gd name="connsiteX10" fmla="*/ 191149 w 1301641"/>
                  <a:gd name="connsiteY10" fmla="*/ 705358 h 705358"/>
                  <a:gd name="connsiteX11" fmla="*/ 131181 w 1301641"/>
                  <a:gd name="connsiteY11" fmla="*/ 644676 h 705358"/>
                  <a:gd name="connsiteX12" fmla="*/ 131181 w 1301641"/>
                  <a:gd name="connsiteY12" fmla="*/ 642534 h 705358"/>
                  <a:gd name="connsiteX13" fmla="*/ 191149 w 1301641"/>
                  <a:gd name="connsiteY13" fmla="*/ 584708 h 705358"/>
                  <a:gd name="connsiteX14" fmla="*/ 1138199 w 1301641"/>
                  <a:gd name="connsiteY14" fmla="*/ 335471 h 705358"/>
                  <a:gd name="connsiteX15" fmla="*/ 1136778 w 1301641"/>
                  <a:gd name="connsiteY15" fmla="*/ 336890 h 705358"/>
                  <a:gd name="connsiteX16" fmla="*/ 1239047 w 1301641"/>
                  <a:gd name="connsiteY16" fmla="*/ 434774 h 705358"/>
                  <a:gd name="connsiteX17" fmla="*/ 1242598 w 1301641"/>
                  <a:gd name="connsiteY17" fmla="*/ 431227 h 705358"/>
                  <a:gd name="connsiteX18" fmla="*/ 1138199 w 1301641"/>
                  <a:gd name="connsiteY18" fmla="*/ 335471 h 705358"/>
                  <a:gd name="connsiteX19" fmla="*/ 77972 w 1301641"/>
                  <a:gd name="connsiteY19" fmla="*/ 306017 h 705358"/>
                  <a:gd name="connsiteX20" fmla="*/ 63028 w 1301641"/>
                  <a:gd name="connsiteY20" fmla="*/ 313799 h 705358"/>
                  <a:gd name="connsiteX21" fmla="*/ 58758 w 1301641"/>
                  <a:gd name="connsiteY21" fmla="*/ 361907 h 705358"/>
                  <a:gd name="connsiteX22" fmla="*/ 73702 w 1301641"/>
                  <a:gd name="connsiteY22" fmla="*/ 369689 h 705358"/>
                  <a:gd name="connsiteX23" fmla="*/ 129210 w 1301641"/>
                  <a:gd name="connsiteY23" fmla="*/ 342805 h 705358"/>
                  <a:gd name="connsiteX24" fmla="*/ 127787 w 1301641"/>
                  <a:gd name="connsiteY24" fmla="*/ 326533 h 705358"/>
                  <a:gd name="connsiteX25" fmla="*/ 77972 w 1301641"/>
                  <a:gd name="connsiteY25" fmla="*/ 306017 h 705358"/>
                  <a:gd name="connsiteX26" fmla="*/ 91635 w 1301641"/>
                  <a:gd name="connsiteY26" fmla="*/ 235278 h 705358"/>
                  <a:gd name="connsiteX27" fmla="*/ 76043 w 1301641"/>
                  <a:gd name="connsiteY27" fmla="*/ 240907 h 705358"/>
                  <a:gd name="connsiteX28" fmla="*/ 66122 w 1301641"/>
                  <a:gd name="connsiteY28" fmla="*/ 285933 h 705358"/>
                  <a:gd name="connsiteX29" fmla="*/ 78170 w 1301641"/>
                  <a:gd name="connsiteY29" fmla="*/ 295080 h 705358"/>
                  <a:gd name="connsiteX30" fmla="*/ 134866 w 1301641"/>
                  <a:gd name="connsiteY30" fmla="*/ 277491 h 705358"/>
                  <a:gd name="connsiteX31" fmla="*/ 135575 w 1301641"/>
                  <a:gd name="connsiteY31" fmla="*/ 262013 h 705358"/>
                  <a:gd name="connsiteX32" fmla="*/ 91635 w 1301641"/>
                  <a:gd name="connsiteY32" fmla="*/ 235278 h 705358"/>
                  <a:gd name="connsiteX33" fmla="*/ 467731 w 1301641"/>
                  <a:gd name="connsiteY33" fmla="*/ 38609 h 705358"/>
                  <a:gd name="connsiteX34" fmla="*/ 473444 w 1301641"/>
                  <a:gd name="connsiteY34" fmla="*/ 221974 h 705358"/>
                  <a:gd name="connsiteX35" fmla="*/ 992563 w 1301641"/>
                  <a:gd name="connsiteY35" fmla="*/ 291896 h 705358"/>
                  <a:gd name="connsiteX36" fmla="*/ 996847 w 1301641"/>
                  <a:gd name="connsiteY36" fmla="*/ 281907 h 705358"/>
                  <a:gd name="connsiteX37" fmla="*/ 664811 w 1301641"/>
                  <a:gd name="connsiteY37" fmla="*/ 47884 h 705358"/>
                  <a:gd name="connsiteX38" fmla="*/ 467731 w 1301641"/>
                  <a:gd name="connsiteY38" fmla="*/ 38609 h 705358"/>
                  <a:gd name="connsiteX39" fmla="*/ 417669 w 1301641"/>
                  <a:gd name="connsiteY39" fmla="*/ 38609 h 705358"/>
                  <a:gd name="connsiteX40" fmla="*/ 320805 w 1301641"/>
                  <a:gd name="connsiteY40" fmla="*/ 170140 h 705358"/>
                  <a:gd name="connsiteX41" fmla="*/ 325079 w 1301641"/>
                  <a:gd name="connsiteY41" fmla="*/ 176609 h 705358"/>
                  <a:gd name="connsiteX42" fmla="*/ 428353 w 1301641"/>
                  <a:gd name="connsiteY42" fmla="*/ 218296 h 705358"/>
                  <a:gd name="connsiteX43" fmla="*/ 451856 w 1301641"/>
                  <a:gd name="connsiteY43" fmla="*/ 221171 h 705358"/>
                  <a:gd name="connsiteX44" fmla="*/ 444022 w 1301641"/>
                  <a:gd name="connsiteY44" fmla="*/ 38609 h 705358"/>
                  <a:gd name="connsiteX45" fmla="*/ 417669 w 1301641"/>
                  <a:gd name="connsiteY45" fmla="*/ 38609 h 705358"/>
                  <a:gd name="connsiteX46" fmla="*/ 506040 w 1301641"/>
                  <a:gd name="connsiteY46" fmla="*/ 1138 h 705358"/>
                  <a:gd name="connsiteX47" fmla="*/ 719473 w 1301641"/>
                  <a:gd name="connsiteY47" fmla="*/ 27256 h 705358"/>
                  <a:gd name="connsiteX48" fmla="*/ 1087398 w 1301641"/>
                  <a:gd name="connsiteY48" fmla="*/ 287729 h 705358"/>
                  <a:gd name="connsiteX49" fmla="*/ 1164555 w 1301641"/>
                  <a:gd name="connsiteY49" fmla="*/ 315637 h 705358"/>
                  <a:gd name="connsiteX50" fmla="*/ 1232424 w 1301641"/>
                  <a:gd name="connsiteY50" fmla="*/ 379324 h 705358"/>
                  <a:gd name="connsiteX51" fmla="*/ 1275289 w 1301641"/>
                  <a:gd name="connsiteY51" fmla="*/ 482368 h 705358"/>
                  <a:gd name="connsiteX52" fmla="*/ 1281719 w 1301641"/>
                  <a:gd name="connsiteY52" fmla="*/ 508844 h 705358"/>
                  <a:gd name="connsiteX53" fmla="*/ 1278861 w 1301641"/>
                  <a:gd name="connsiteY53" fmla="*/ 686309 h 705358"/>
                  <a:gd name="connsiteX54" fmla="*/ 1251714 w 1301641"/>
                  <a:gd name="connsiteY54" fmla="*/ 686309 h 705358"/>
                  <a:gd name="connsiteX55" fmla="*/ 1256714 w 1301641"/>
                  <a:gd name="connsiteY55" fmla="*/ 646236 h 705358"/>
                  <a:gd name="connsiteX56" fmla="*/ 1101686 w 1301641"/>
                  <a:gd name="connsiteY56" fmla="*/ 490955 h 705358"/>
                  <a:gd name="connsiteX57" fmla="*/ 948086 w 1301641"/>
                  <a:gd name="connsiteY57" fmla="*/ 646236 h 705358"/>
                  <a:gd name="connsiteX58" fmla="*/ 953087 w 1301641"/>
                  <a:gd name="connsiteY58" fmla="*/ 686309 h 705358"/>
                  <a:gd name="connsiteX59" fmla="*/ 930940 w 1301641"/>
                  <a:gd name="connsiteY59" fmla="*/ 686309 h 705358"/>
                  <a:gd name="connsiteX60" fmla="*/ 354405 w 1301641"/>
                  <a:gd name="connsiteY60" fmla="*/ 670566 h 705358"/>
                  <a:gd name="connsiteX61" fmla="*/ 345118 w 1301641"/>
                  <a:gd name="connsiteY61" fmla="*/ 669135 h 705358"/>
                  <a:gd name="connsiteX62" fmla="*/ 347261 w 1301641"/>
                  <a:gd name="connsiteY62" fmla="*/ 646236 h 705358"/>
                  <a:gd name="connsiteX63" fmla="*/ 192233 w 1301641"/>
                  <a:gd name="connsiteY63" fmla="*/ 490955 h 705358"/>
                  <a:gd name="connsiteX64" fmla="*/ 38633 w 1301641"/>
                  <a:gd name="connsiteY64" fmla="*/ 632640 h 705358"/>
                  <a:gd name="connsiteX65" fmla="*/ 26488 w 1301641"/>
                  <a:gd name="connsiteY65" fmla="*/ 631209 h 705358"/>
                  <a:gd name="connsiteX66" fmla="*/ 3626 w 1301641"/>
                  <a:gd name="connsiteY66" fmla="*/ 603301 h 705358"/>
                  <a:gd name="connsiteX67" fmla="*/ 22916 w 1301641"/>
                  <a:gd name="connsiteY67" fmla="*/ 419396 h 705358"/>
                  <a:gd name="connsiteX68" fmla="*/ 35775 w 1301641"/>
                  <a:gd name="connsiteY68" fmla="*/ 400076 h 705358"/>
                  <a:gd name="connsiteX69" fmla="*/ 47206 w 1301641"/>
                  <a:gd name="connsiteY69" fmla="*/ 388626 h 705358"/>
                  <a:gd name="connsiteX70" fmla="*/ 65066 w 1301641"/>
                  <a:gd name="connsiteY70" fmla="*/ 234060 h 705358"/>
                  <a:gd name="connsiteX71" fmla="*/ 167942 w 1301641"/>
                  <a:gd name="connsiteY71" fmla="*/ 47293 h 705358"/>
                  <a:gd name="connsiteX72" fmla="*/ 167942 w 1301641"/>
                  <a:gd name="connsiteY72" fmla="*/ 43715 h 705358"/>
                  <a:gd name="connsiteX73" fmla="*/ 156512 w 1301641"/>
                  <a:gd name="connsiteY73" fmla="*/ 27256 h 705358"/>
                  <a:gd name="connsiteX74" fmla="*/ 158655 w 1301641"/>
                  <a:gd name="connsiteY74" fmla="*/ 22247 h 705358"/>
                  <a:gd name="connsiteX75" fmla="*/ 506040 w 1301641"/>
                  <a:gd name="connsiteY75" fmla="*/ 1138 h 70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301641" h="705358">
                    <a:moveTo>
                      <a:pt x="1101221" y="584708"/>
                    </a:moveTo>
                    <a:cubicBezTo>
                      <a:pt x="1134931" y="584708"/>
                      <a:pt x="1161469" y="611123"/>
                      <a:pt x="1161469" y="644676"/>
                    </a:cubicBezTo>
                    <a:cubicBezTo>
                      <a:pt x="1161469" y="660382"/>
                      <a:pt x="1155731" y="674660"/>
                      <a:pt x="1146407" y="685369"/>
                    </a:cubicBezTo>
                    <a:cubicBezTo>
                      <a:pt x="1134931" y="697505"/>
                      <a:pt x="1119152" y="705358"/>
                      <a:pt x="1101221" y="705358"/>
                    </a:cubicBezTo>
                    <a:cubicBezTo>
                      <a:pt x="1084007" y="705358"/>
                      <a:pt x="1068944" y="697505"/>
                      <a:pt x="1057468" y="685369"/>
                    </a:cubicBezTo>
                    <a:cubicBezTo>
                      <a:pt x="1048144" y="674660"/>
                      <a:pt x="1042406" y="660382"/>
                      <a:pt x="1042406" y="644676"/>
                    </a:cubicBezTo>
                    <a:cubicBezTo>
                      <a:pt x="1042406" y="611123"/>
                      <a:pt x="1068944" y="584708"/>
                      <a:pt x="1101221" y="584708"/>
                    </a:cubicBezTo>
                    <a:close/>
                    <a:moveTo>
                      <a:pt x="191149" y="584708"/>
                    </a:moveTo>
                    <a:cubicBezTo>
                      <a:pt x="223989" y="584708"/>
                      <a:pt x="251831" y="611123"/>
                      <a:pt x="251831" y="644676"/>
                    </a:cubicBezTo>
                    <a:cubicBezTo>
                      <a:pt x="251831" y="648246"/>
                      <a:pt x="251117" y="652529"/>
                      <a:pt x="250403" y="656099"/>
                    </a:cubicBezTo>
                    <a:cubicBezTo>
                      <a:pt x="244692" y="684655"/>
                      <a:pt x="220419" y="705358"/>
                      <a:pt x="191149" y="705358"/>
                    </a:cubicBezTo>
                    <a:cubicBezTo>
                      <a:pt x="158310" y="705358"/>
                      <a:pt x="131181" y="678230"/>
                      <a:pt x="131181" y="644676"/>
                    </a:cubicBezTo>
                    <a:cubicBezTo>
                      <a:pt x="131181" y="643962"/>
                      <a:pt x="131181" y="643248"/>
                      <a:pt x="131181" y="642534"/>
                    </a:cubicBezTo>
                    <a:cubicBezTo>
                      <a:pt x="132609" y="610409"/>
                      <a:pt x="159024" y="584708"/>
                      <a:pt x="191149" y="584708"/>
                    </a:cubicBezTo>
                    <a:close/>
                    <a:moveTo>
                      <a:pt x="1138199" y="335471"/>
                    </a:moveTo>
                    <a:cubicBezTo>
                      <a:pt x="1136778" y="335471"/>
                      <a:pt x="1136068" y="336180"/>
                      <a:pt x="1136778" y="336890"/>
                    </a:cubicBezTo>
                    <a:cubicBezTo>
                      <a:pt x="1143170" y="348948"/>
                      <a:pt x="1181521" y="414204"/>
                      <a:pt x="1239047" y="434774"/>
                    </a:cubicBezTo>
                    <a:cubicBezTo>
                      <a:pt x="1241888" y="435483"/>
                      <a:pt x="1244018" y="433355"/>
                      <a:pt x="1242598" y="431227"/>
                    </a:cubicBezTo>
                    <a:cubicBezTo>
                      <a:pt x="1234786" y="412076"/>
                      <a:pt x="1203537" y="346820"/>
                      <a:pt x="1138199" y="335471"/>
                    </a:cubicBezTo>
                    <a:close/>
                    <a:moveTo>
                      <a:pt x="77972" y="306017"/>
                    </a:moveTo>
                    <a:cubicBezTo>
                      <a:pt x="71567" y="305309"/>
                      <a:pt x="65874" y="308139"/>
                      <a:pt x="63028" y="313799"/>
                    </a:cubicBezTo>
                    <a:cubicBezTo>
                      <a:pt x="57335" y="324411"/>
                      <a:pt x="50218" y="344220"/>
                      <a:pt x="58758" y="361907"/>
                    </a:cubicBezTo>
                    <a:cubicBezTo>
                      <a:pt x="61604" y="366859"/>
                      <a:pt x="67298" y="370396"/>
                      <a:pt x="73702" y="369689"/>
                    </a:cubicBezTo>
                    <a:cubicBezTo>
                      <a:pt x="87223" y="368274"/>
                      <a:pt x="113554" y="363321"/>
                      <a:pt x="129210" y="342805"/>
                    </a:cubicBezTo>
                    <a:cubicBezTo>
                      <a:pt x="132768" y="337853"/>
                      <a:pt x="132057" y="331485"/>
                      <a:pt x="127787" y="326533"/>
                    </a:cubicBezTo>
                    <a:cubicBezTo>
                      <a:pt x="120670" y="318751"/>
                      <a:pt x="105726" y="308139"/>
                      <a:pt x="77972" y="306017"/>
                    </a:cubicBezTo>
                    <a:close/>
                    <a:moveTo>
                      <a:pt x="91635" y="235278"/>
                    </a:moveTo>
                    <a:cubicBezTo>
                      <a:pt x="85257" y="233871"/>
                      <a:pt x="79587" y="235982"/>
                      <a:pt x="76043" y="240907"/>
                    </a:cubicBezTo>
                    <a:cubicBezTo>
                      <a:pt x="69665" y="250053"/>
                      <a:pt x="59743" y="267641"/>
                      <a:pt x="66122" y="285933"/>
                    </a:cubicBezTo>
                    <a:cubicBezTo>
                      <a:pt x="67539" y="291562"/>
                      <a:pt x="72500" y="295080"/>
                      <a:pt x="78170" y="295080"/>
                    </a:cubicBezTo>
                    <a:cubicBezTo>
                      <a:pt x="91635" y="295783"/>
                      <a:pt x="117148" y="295080"/>
                      <a:pt x="134866" y="277491"/>
                    </a:cubicBezTo>
                    <a:cubicBezTo>
                      <a:pt x="139118" y="273270"/>
                      <a:pt x="139118" y="266938"/>
                      <a:pt x="135575" y="262013"/>
                    </a:cubicBezTo>
                    <a:cubicBezTo>
                      <a:pt x="129905" y="253570"/>
                      <a:pt x="117148" y="241610"/>
                      <a:pt x="91635" y="235278"/>
                    </a:cubicBezTo>
                    <a:close/>
                    <a:moveTo>
                      <a:pt x="467731" y="38609"/>
                    </a:moveTo>
                    <a:cubicBezTo>
                      <a:pt x="467731" y="38609"/>
                      <a:pt x="467731" y="38609"/>
                      <a:pt x="473444" y="221974"/>
                    </a:cubicBezTo>
                    <a:cubicBezTo>
                      <a:pt x="473444" y="221974"/>
                      <a:pt x="473444" y="221974"/>
                      <a:pt x="992563" y="291896"/>
                    </a:cubicBezTo>
                    <a:cubicBezTo>
                      <a:pt x="997561" y="292609"/>
                      <a:pt x="1001131" y="286188"/>
                      <a:pt x="996847" y="281907"/>
                    </a:cubicBezTo>
                    <a:cubicBezTo>
                      <a:pt x="946149" y="236244"/>
                      <a:pt x="763351" y="74997"/>
                      <a:pt x="664811" y="47884"/>
                    </a:cubicBezTo>
                    <a:cubicBezTo>
                      <a:pt x="545563" y="40750"/>
                      <a:pt x="467731" y="38609"/>
                      <a:pt x="467731" y="38609"/>
                    </a:cubicBezTo>
                    <a:close/>
                    <a:moveTo>
                      <a:pt x="417669" y="38609"/>
                    </a:moveTo>
                    <a:cubicBezTo>
                      <a:pt x="417669" y="38609"/>
                      <a:pt x="336475" y="47234"/>
                      <a:pt x="320805" y="170140"/>
                    </a:cubicBezTo>
                    <a:cubicBezTo>
                      <a:pt x="320093" y="173015"/>
                      <a:pt x="322230" y="175890"/>
                      <a:pt x="325079" y="176609"/>
                    </a:cubicBezTo>
                    <a:cubicBezTo>
                      <a:pt x="345021" y="180921"/>
                      <a:pt x="414820" y="196734"/>
                      <a:pt x="428353" y="218296"/>
                    </a:cubicBezTo>
                    <a:cubicBezTo>
                      <a:pt x="428353" y="218296"/>
                      <a:pt x="428353" y="218296"/>
                      <a:pt x="451856" y="221171"/>
                    </a:cubicBezTo>
                    <a:cubicBezTo>
                      <a:pt x="451856" y="221171"/>
                      <a:pt x="451856" y="221171"/>
                      <a:pt x="444022" y="38609"/>
                    </a:cubicBezTo>
                    <a:cubicBezTo>
                      <a:pt x="444022" y="38609"/>
                      <a:pt x="444022" y="38609"/>
                      <a:pt x="417669" y="38609"/>
                    </a:cubicBezTo>
                    <a:close/>
                    <a:moveTo>
                      <a:pt x="506040" y="1138"/>
                    </a:moveTo>
                    <a:cubicBezTo>
                      <a:pt x="603737" y="4716"/>
                      <a:pt x="679108" y="16165"/>
                      <a:pt x="719473" y="27256"/>
                    </a:cubicBezTo>
                    <a:cubicBezTo>
                      <a:pt x="800202" y="49440"/>
                      <a:pt x="1087398" y="287729"/>
                      <a:pt x="1087398" y="287729"/>
                    </a:cubicBezTo>
                    <a:cubicBezTo>
                      <a:pt x="1115260" y="287729"/>
                      <a:pt x="1143122" y="297032"/>
                      <a:pt x="1164555" y="315637"/>
                    </a:cubicBezTo>
                    <a:cubicBezTo>
                      <a:pt x="1188130" y="335673"/>
                      <a:pt x="1212421" y="359287"/>
                      <a:pt x="1232424" y="379324"/>
                    </a:cubicBezTo>
                    <a:cubicBezTo>
                      <a:pt x="1259572" y="406516"/>
                      <a:pt x="1275289" y="443726"/>
                      <a:pt x="1275289" y="482368"/>
                    </a:cubicBezTo>
                    <a:cubicBezTo>
                      <a:pt x="1275289" y="491670"/>
                      <a:pt x="1277433" y="500973"/>
                      <a:pt x="1281719" y="508844"/>
                    </a:cubicBezTo>
                    <a:cubicBezTo>
                      <a:pt x="1328156" y="596146"/>
                      <a:pt x="1278861" y="686309"/>
                      <a:pt x="1278861" y="686309"/>
                    </a:cubicBezTo>
                    <a:cubicBezTo>
                      <a:pt x="1278861" y="686309"/>
                      <a:pt x="1278861" y="686309"/>
                      <a:pt x="1251714" y="686309"/>
                    </a:cubicBezTo>
                    <a:cubicBezTo>
                      <a:pt x="1254571" y="673429"/>
                      <a:pt x="1256714" y="659833"/>
                      <a:pt x="1256714" y="646236"/>
                    </a:cubicBezTo>
                    <a:cubicBezTo>
                      <a:pt x="1256714" y="560366"/>
                      <a:pt x="1187416" y="490955"/>
                      <a:pt x="1101686" y="490955"/>
                    </a:cubicBezTo>
                    <a:cubicBezTo>
                      <a:pt x="1017385" y="490955"/>
                      <a:pt x="948086" y="560366"/>
                      <a:pt x="948086" y="646236"/>
                    </a:cubicBezTo>
                    <a:cubicBezTo>
                      <a:pt x="948086" y="659833"/>
                      <a:pt x="949515" y="673429"/>
                      <a:pt x="953087" y="686309"/>
                    </a:cubicBezTo>
                    <a:cubicBezTo>
                      <a:pt x="953087" y="686309"/>
                      <a:pt x="953087" y="686309"/>
                      <a:pt x="930940" y="686309"/>
                    </a:cubicBezTo>
                    <a:cubicBezTo>
                      <a:pt x="930940" y="686309"/>
                      <a:pt x="930940" y="686309"/>
                      <a:pt x="354405" y="670566"/>
                    </a:cubicBezTo>
                    <a:cubicBezTo>
                      <a:pt x="354405" y="670566"/>
                      <a:pt x="354405" y="670566"/>
                      <a:pt x="345118" y="669135"/>
                    </a:cubicBezTo>
                    <a:cubicBezTo>
                      <a:pt x="346547" y="661264"/>
                      <a:pt x="347261" y="654108"/>
                      <a:pt x="347261" y="646236"/>
                    </a:cubicBezTo>
                    <a:cubicBezTo>
                      <a:pt x="347261" y="560366"/>
                      <a:pt x="277248" y="490955"/>
                      <a:pt x="192233" y="490955"/>
                    </a:cubicBezTo>
                    <a:cubicBezTo>
                      <a:pt x="112218" y="490955"/>
                      <a:pt x="45777" y="553211"/>
                      <a:pt x="38633" y="632640"/>
                    </a:cubicBezTo>
                    <a:cubicBezTo>
                      <a:pt x="38633" y="632640"/>
                      <a:pt x="38633" y="632640"/>
                      <a:pt x="26488" y="631209"/>
                    </a:cubicBezTo>
                    <a:cubicBezTo>
                      <a:pt x="9342" y="625485"/>
                      <a:pt x="3626" y="603301"/>
                      <a:pt x="3626" y="603301"/>
                    </a:cubicBezTo>
                    <a:cubicBezTo>
                      <a:pt x="-8519" y="513853"/>
                      <a:pt x="12914" y="445873"/>
                      <a:pt x="22916" y="419396"/>
                    </a:cubicBezTo>
                    <a:cubicBezTo>
                      <a:pt x="25773" y="412241"/>
                      <a:pt x="30060" y="405800"/>
                      <a:pt x="35775" y="400076"/>
                    </a:cubicBezTo>
                    <a:cubicBezTo>
                      <a:pt x="35775" y="400076"/>
                      <a:pt x="35775" y="400076"/>
                      <a:pt x="47206" y="388626"/>
                    </a:cubicBezTo>
                    <a:cubicBezTo>
                      <a:pt x="48635" y="270555"/>
                      <a:pt x="65066" y="234060"/>
                      <a:pt x="65066" y="234060"/>
                    </a:cubicBezTo>
                    <a:cubicBezTo>
                      <a:pt x="101502" y="135310"/>
                      <a:pt x="157941" y="60173"/>
                      <a:pt x="167942" y="47293"/>
                    </a:cubicBezTo>
                    <a:cubicBezTo>
                      <a:pt x="168657" y="46577"/>
                      <a:pt x="168657" y="45146"/>
                      <a:pt x="167942" y="43715"/>
                    </a:cubicBezTo>
                    <a:cubicBezTo>
                      <a:pt x="167942" y="43715"/>
                      <a:pt x="167942" y="43715"/>
                      <a:pt x="156512" y="27256"/>
                    </a:cubicBezTo>
                    <a:cubicBezTo>
                      <a:pt x="155083" y="25825"/>
                      <a:pt x="156512" y="22963"/>
                      <a:pt x="158655" y="22247"/>
                    </a:cubicBezTo>
                    <a:cubicBezTo>
                      <a:pt x="288322" y="1853"/>
                      <a:pt x="408344" y="-2440"/>
                      <a:pt x="506040" y="113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79" name="Group 78">
            <a:extLst>
              <a:ext uri="{FF2B5EF4-FFF2-40B4-BE49-F238E27FC236}">
                <a16:creationId xmlns:a16="http://schemas.microsoft.com/office/drawing/2014/main" id="{D8ED4E80-EEA0-4DC3-B3C4-E5285051B88B}"/>
              </a:ext>
            </a:extLst>
          </p:cNvPr>
          <p:cNvGrpSpPr/>
          <p:nvPr/>
        </p:nvGrpSpPr>
        <p:grpSpPr>
          <a:xfrm>
            <a:off x="1188438" y="2825785"/>
            <a:ext cx="1092904" cy="855368"/>
            <a:chOff x="929790" y="2999695"/>
            <a:chExt cx="1195766" cy="935874"/>
          </a:xfrm>
        </p:grpSpPr>
        <p:grpSp>
          <p:nvGrpSpPr>
            <p:cNvPr id="81" name="Group 80">
              <a:extLst>
                <a:ext uri="{FF2B5EF4-FFF2-40B4-BE49-F238E27FC236}">
                  <a16:creationId xmlns:a16="http://schemas.microsoft.com/office/drawing/2014/main" id="{540001BE-B642-4F19-A1F4-8DCEE1F84F88}"/>
                </a:ext>
              </a:extLst>
            </p:cNvPr>
            <p:cNvGrpSpPr/>
            <p:nvPr/>
          </p:nvGrpSpPr>
          <p:grpSpPr>
            <a:xfrm rot="19800000">
              <a:off x="929790" y="2999695"/>
              <a:ext cx="926227" cy="927085"/>
              <a:chOff x="528540" y="2696474"/>
              <a:chExt cx="926227" cy="927085"/>
            </a:xfrm>
          </p:grpSpPr>
          <p:grpSp>
            <p:nvGrpSpPr>
              <p:cNvPr id="90" name="Group 89">
                <a:extLst>
                  <a:ext uri="{FF2B5EF4-FFF2-40B4-BE49-F238E27FC236}">
                    <a16:creationId xmlns:a16="http://schemas.microsoft.com/office/drawing/2014/main" id="{C8BCD74A-82FA-45ED-85FC-9B5A764ADC8D}"/>
                  </a:ext>
                </a:extLst>
              </p:cNvPr>
              <p:cNvGrpSpPr>
                <a:grpSpLocks/>
              </p:cNvGrpSpPr>
              <p:nvPr/>
            </p:nvGrpSpPr>
            <p:grpSpPr>
              <a:xfrm rot="1800000">
                <a:off x="958315" y="2789190"/>
                <a:ext cx="66678" cy="741654"/>
                <a:chOff x="3748568" y="2287851"/>
                <a:chExt cx="148686" cy="1653808"/>
              </a:xfrm>
            </p:grpSpPr>
            <p:sp>
              <p:nvSpPr>
                <p:cNvPr id="92" name="Rectangle 91">
                  <a:extLst>
                    <a:ext uri="{FF2B5EF4-FFF2-40B4-BE49-F238E27FC236}">
                      <a16:creationId xmlns:a16="http://schemas.microsoft.com/office/drawing/2014/main" id="{E80B9E2D-9799-42A4-9177-E861371F1BD3}"/>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93" name="Teardrop 92">
                  <a:extLst>
                    <a:ext uri="{FF2B5EF4-FFF2-40B4-BE49-F238E27FC236}">
                      <a16:creationId xmlns:a16="http://schemas.microsoft.com/office/drawing/2014/main" id="{C87FCDFD-E9C9-4FBB-9B61-19CB69A044EE}"/>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91" name="AutoShape 8">
                <a:extLst>
                  <a:ext uri="{FF2B5EF4-FFF2-40B4-BE49-F238E27FC236}">
                    <a16:creationId xmlns:a16="http://schemas.microsoft.com/office/drawing/2014/main" id="{F7886257-6238-43D4-8343-969B07529A6B}"/>
                  </a:ext>
                </a:extLst>
              </p:cNvPr>
              <p:cNvSpPr>
                <a:spLocks noChangeAspect="1" noChangeArrowheads="1" noTextEdit="1"/>
              </p:cNvSpPr>
              <p:nvPr/>
            </p:nvSpPr>
            <p:spPr bwMode="auto">
              <a:xfrm>
                <a:off x="528540" y="269647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82" name="Group 81">
              <a:extLst>
                <a:ext uri="{FF2B5EF4-FFF2-40B4-BE49-F238E27FC236}">
                  <a16:creationId xmlns:a16="http://schemas.microsoft.com/office/drawing/2014/main" id="{E78D34A9-2145-4920-B675-53AC199E93CC}"/>
                </a:ext>
              </a:extLst>
            </p:cNvPr>
            <p:cNvGrpSpPr/>
            <p:nvPr/>
          </p:nvGrpSpPr>
          <p:grpSpPr>
            <a:xfrm>
              <a:off x="1199329" y="3008484"/>
              <a:ext cx="926227" cy="927085"/>
              <a:chOff x="528540" y="3656094"/>
              <a:chExt cx="926227" cy="927085"/>
            </a:xfrm>
          </p:grpSpPr>
          <p:grpSp>
            <p:nvGrpSpPr>
              <p:cNvPr id="83" name="Group 82">
                <a:extLst>
                  <a:ext uri="{FF2B5EF4-FFF2-40B4-BE49-F238E27FC236}">
                    <a16:creationId xmlns:a16="http://schemas.microsoft.com/office/drawing/2014/main" id="{BF06921F-1FBE-427C-8536-302EEB39F972}"/>
                  </a:ext>
                </a:extLst>
              </p:cNvPr>
              <p:cNvGrpSpPr/>
              <p:nvPr/>
            </p:nvGrpSpPr>
            <p:grpSpPr>
              <a:xfrm>
                <a:off x="856419" y="3775060"/>
                <a:ext cx="270468" cy="691986"/>
                <a:chOff x="791086" y="3775060"/>
                <a:chExt cx="270468" cy="691986"/>
              </a:xfrm>
            </p:grpSpPr>
            <p:sp>
              <p:nvSpPr>
                <p:cNvPr id="88" name="Rectangle: Rounded Corners 87">
                  <a:extLst>
                    <a:ext uri="{FF2B5EF4-FFF2-40B4-BE49-F238E27FC236}">
                      <a16:creationId xmlns:a16="http://schemas.microsoft.com/office/drawing/2014/main" id="{02F4D669-AFCD-4B6E-9521-72E0AE27BE66}"/>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89" name="Freeform: Shape 88">
                  <a:extLst>
                    <a:ext uri="{FF2B5EF4-FFF2-40B4-BE49-F238E27FC236}">
                      <a16:creationId xmlns:a16="http://schemas.microsoft.com/office/drawing/2014/main" id="{3541DD2A-E118-43F4-A266-02E26CC3B8CC}"/>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84" name="Group 83">
                <a:extLst>
                  <a:ext uri="{FF2B5EF4-FFF2-40B4-BE49-F238E27FC236}">
                    <a16:creationId xmlns:a16="http://schemas.microsoft.com/office/drawing/2014/main" id="{9F19E017-6EF4-4DC5-82B2-F8B38A65FB1F}"/>
                  </a:ext>
                </a:extLst>
              </p:cNvPr>
              <p:cNvGrpSpPr/>
              <p:nvPr/>
            </p:nvGrpSpPr>
            <p:grpSpPr>
              <a:xfrm rot="9000000">
                <a:off x="889049" y="3827496"/>
                <a:ext cx="164431" cy="505560"/>
                <a:chOff x="1080621" y="2982166"/>
                <a:chExt cx="225378" cy="692942"/>
              </a:xfrm>
            </p:grpSpPr>
            <p:sp>
              <p:nvSpPr>
                <p:cNvPr id="86" name="Rectangle 85">
                  <a:extLst>
                    <a:ext uri="{FF2B5EF4-FFF2-40B4-BE49-F238E27FC236}">
                      <a16:creationId xmlns:a16="http://schemas.microsoft.com/office/drawing/2014/main" id="{C0458CEA-8A7B-4D50-BD06-00574B8BC850}"/>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87" name="Teardrop 86">
                  <a:extLst>
                    <a:ext uri="{FF2B5EF4-FFF2-40B4-BE49-F238E27FC236}">
                      <a16:creationId xmlns:a16="http://schemas.microsoft.com/office/drawing/2014/main" id="{B20C71AA-26E8-4967-A736-154FD9419233}"/>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85" name="AutoShape 8">
                <a:extLst>
                  <a:ext uri="{FF2B5EF4-FFF2-40B4-BE49-F238E27FC236}">
                    <a16:creationId xmlns:a16="http://schemas.microsoft.com/office/drawing/2014/main" id="{E67AA9A5-F88E-4FFD-BD18-FB1AD222F8CF}"/>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cxnSp>
        <p:nvCxnSpPr>
          <p:cNvPr id="96" name="Straight Arrow Connector 95">
            <a:extLst>
              <a:ext uri="{FF2B5EF4-FFF2-40B4-BE49-F238E27FC236}">
                <a16:creationId xmlns:a16="http://schemas.microsoft.com/office/drawing/2014/main" id="{6C40818D-7ADA-4AB5-B854-53ACD4C9A17D}"/>
              </a:ext>
            </a:extLst>
          </p:cNvPr>
          <p:cNvCxnSpPr>
            <a:cxnSpLocks/>
          </p:cNvCxnSpPr>
          <p:nvPr/>
        </p:nvCxnSpPr>
        <p:spPr>
          <a:xfrm>
            <a:off x="4168058" y="2646885"/>
            <a:ext cx="1127985" cy="0"/>
          </a:xfrm>
          <a:prstGeom prst="straightConnector1">
            <a:avLst/>
          </a:prstGeom>
          <a:ln w="19050" cap="rnd" cmpd="sng" algn="ctr">
            <a:solidFill>
              <a:srgbClr val="003B59"/>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Speech Bubble: Rectangle 96">
            <a:extLst>
              <a:ext uri="{FF2B5EF4-FFF2-40B4-BE49-F238E27FC236}">
                <a16:creationId xmlns:a16="http://schemas.microsoft.com/office/drawing/2014/main" id="{C27B4CFD-60AA-4DB8-B8DF-6411FBE1161B}"/>
              </a:ext>
            </a:extLst>
          </p:cNvPr>
          <p:cNvSpPr/>
          <p:nvPr/>
        </p:nvSpPr>
        <p:spPr bwMode="auto">
          <a:xfrm>
            <a:off x="2693298" y="2748696"/>
            <a:ext cx="1883835" cy="1103190"/>
          </a:xfrm>
          <a:prstGeom prst="wedgeRectCallout">
            <a:avLst>
              <a:gd name="adj1" fmla="val 9790"/>
              <a:gd name="adj2" fmla="val -59067"/>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98" name="Speech Bubble: Rectangle 97">
            <a:extLst>
              <a:ext uri="{FF2B5EF4-FFF2-40B4-BE49-F238E27FC236}">
                <a16:creationId xmlns:a16="http://schemas.microsoft.com/office/drawing/2014/main" id="{0A7B99AF-53DF-43DB-87DA-D79A50114F76}"/>
              </a:ext>
            </a:extLst>
          </p:cNvPr>
          <p:cNvSpPr/>
          <p:nvPr/>
        </p:nvSpPr>
        <p:spPr bwMode="auto">
          <a:xfrm>
            <a:off x="5037367" y="2748696"/>
            <a:ext cx="1368031" cy="1103190"/>
          </a:xfrm>
          <a:prstGeom prst="wedgeRectCallout">
            <a:avLst>
              <a:gd name="adj1" fmla="val -1651"/>
              <a:gd name="adj2" fmla="val -66534"/>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cxnSp>
        <p:nvCxnSpPr>
          <p:cNvPr id="99" name="Straight Connector 98">
            <a:extLst>
              <a:ext uri="{FF2B5EF4-FFF2-40B4-BE49-F238E27FC236}">
                <a16:creationId xmlns:a16="http://schemas.microsoft.com/office/drawing/2014/main" id="{5F670110-EBDA-4151-BC95-80AD51904A75}"/>
              </a:ext>
            </a:extLst>
          </p:cNvPr>
          <p:cNvCxnSpPr/>
          <p:nvPr/>
        </p:nvCxnSpPr>
        <p:spPr bwMode="auto">
          <a:xfrm>
            <a:off x="4807250" y="1691646"/>
            <a:ext cx="0" cy="2160240"/>
          </a:xfrm>
          <a:prstGeom prst="line">
            <a:avLst/>
          </a:prstGeom>
          <a:noFill/>
          <a:ln w="9525" cap="flat" cmpd="sng" algn="ctr">
            <a:solidFill>
              <a:srgbClr val="898989"/>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0" name="Group 99">
            <a:extLst>
              <a:ext uri="{FF2B5EF4-FFF2-40B4-BE49-F238E27FC236}">
                <a16:creationId xmlns:a16="http://schemas.microsoft.com/office/drawing/2014/main" id="{23E3B3F2-5621-4CBA-8FCF-7534242D41AD}"/>
              </a:ext>
            </a:extLst>
          </p:cNvPr>
          <p:cNvGrpSpPr/>
          <p:nvPr/>
        </p:nvGrpSpPr>
        <p:grpSpPr>
          <a:xfrm>
            <a:off x="5639866" y="2998876"/>
            <a:ext cx="642018" cy="707576"/>
            <a:chOff x="7166696" y="2208432"/>
            <a:chExt cx="1230523" cy="1356175"/>
          </a:xfrm>
        </p:grpSpPr>
        <p:grpSp>
          <p:nvGrpSpPr>
            <p:cNvPr id="101" name="Group 100">
              <a:extLst>
                <a:ext uri="{FF2B5EF4-FFF2-40B4-BE49-F238E27FC236}">
                  <a16:creationId xmlns:a16="http://schemas.microsoft.com/office/drawing/2014/main" id="{0530EC07-6A9E-4664-9C7E-1B8F52515068}"/>
                </a:ext>
              </a:extLst>
            </p:cNvPr>
            <p:cNvGrpSpPr/>
            <p:nvPr/>
          </p:nvGrpSpPr>
          <p:grpSpPr>
            <a:xfrm>
              <a:off x="7166696" y="2498926"/>
              <a:ext cx="926227" cy="927085"/>
              <a:chOff x="528540" y="3656094"/>
              <a:chExt cx="926227" cy="927085"/>
            </a:xfrm>
          </p:grpSpPr>
          <p:grpSp>
            <p:nvGrpSpPr>
              <p:cNvPr id="125" name="Group 124">
                <a:extLst>
                  <a:ext uri="{FF2B5EF4-FFF2-40B4-BE49-F238E27FC236}">
                    <a16:creationId xmlns:a16="http://schemas.microsoft.com/office/drawing/2014/main" id="{C39C7FCD-174C-49C1-A705-0F2B22D4A5E6}"/>
                  </a:ext>
                </a:extLst>
              </p:cNvPr>
              <p:cNvGrpSpPr/>
              <p:nvPr/>
            </p:nvGrpSpPr>
            <p:grpSpPr>
              <a:xfrm>
                <a:off x="856419" y="3775060"/>
                <a:ext cx="270468" cy="691986"/>
                <a:chOff x="791086" y="3775060"/>
                <a:chExt cx="270468" cy="691986"/>
              </a:xfrm>
            </p:grpSpPr>
            <p:sp>
              <p:nvSpPr>
                <p:cNvPr id="130" name="Rectangle: Rounded Corners 129">
                  <a:extLst>
                    <a:ext uri="{FF2B5EF4-FFF2-40B4-BE49-F238E27FC236}">
                      <a16:creationId xmlns:a16="http://schemas.microsoft.com/office/drawing/2014/main" id="{C293C6C5-62B8-40AD-B539-C109F635A2AF}"/>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31" name="Freeform: Shape 130">
                  <a:extLst>
                    <a:ext uri="{FF2B5EF4-FFF2-40B4-BE49-F238E27FC236}">
                      <a16:creationId xmlns:a16="http://schemas.microsoft.com/office/drawing/2014/main" id="{DDB16919-0C54-433E-9814-C1BA085E577A}"/>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26" name="Group 125">
                <a:extLst>
                  <a:ext uri="{FF2B5EF4-FFF2-40B4-BE49-F238E27FC236}">
                    <a16:creationId xmlns:a16="http://schemas.microsoft.com/office/drawing/2014/main" id="{8545FACF-95BB-4100-9CC4-CF4DF05D5D90}"/>
                  </a:ext>
                </a:extLst>
              </p:cNvPr>
              <p:cNvGrpSpPr/>
              <p:nvPr/>
            </p:nvGrpSpPr>
            <p:grpSpPr>
              <a:xfrm rot="9000000">
                <a:off x="889049" y="3827496"/>
                <a:ext cx="164431" cy="505560"/>
                <a:chOff x="1080621" y="2982166"/>
                <a:chExt cx="225378" cy="692942"/>
              </a:xfrm>
            </p:grpSpPr>
            <p:sp>
              <p:nvSpPr>
                <p:cNvPr id="128" name="Rectangle 127">
                  <a:extLst>
                    <a:ext uri="{FF2B5EF4-FFF2-40B4-BE49-F238E27FC236}">
                      <a16:creationId xmlns:a16="http://schemas.microsoft.com/office/drawing/2014/main" id="{882A2D57-D1B2-41D7-B862-6DEC92CE65E9}"/>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29" name="Teardrop 128">
                  <a:extLst>
                    <a:ext uri="{FF2B5EF4-FFF2-40B4-BE49-F238E27FC236}">
                      <a16:creationId xmlns:a16="http://schemas.microsoft.com/office/drawing/2014/main" id="{ED9055B7-7ED7-4EC4-9F61-45AA315BD755}"/>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127" name="AutoShape 8">
                <a:extLst>
                  <a:ext uri="{FF2B5EF4-FFF2-40B4-BE49-F238E27FC236}">
                    <a16:creationId xmlns:a16="http://schemas.microsoft.com/office/drawing/2014/main" id="{4116037D-7308-4107-9025-4F092C51885A}"/>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02" name="Group 101">
              <a:extLst>
                <a:ext uri="{FF2B5EF4-FFF2-40B4-BE49-F238E27FC236}">
                  <a16:creationId xmlns:a16="http://schemas.microsoft.com/office/drawing/2014/main" id="{243287EC-8187-4B38-B3B6-A59AC8277667}"/>
                </a:ext>
              </a:extLst>
            </p:cNvPr>
            <p:cNvGrpSpPr/>
            <p:nvPr/>
          </p:nvGrpSpPr>
          <p:grpSpPr>
            <a:xfrm>
              <a:off x="7470992" y="2327498"/>
              <a:ext cx="926227" cy="927085"/>
              <a:chOff x="528540" y="3656094"/>
              <a:chExt cx="926227" cy="927085"/>
            </a:xfrm>
          </p:grpSpPr>
          <p:grpSp>
            <p:nvGrpSpPr>
              <p:cNvPr id="118" name="Group 117">
                <a:extLst>
                  <a:ext uri="{FF2B5EF4-FFF2-40B4-BE49-F238E27FC236}">
                    <a16:creationId xmlns:a16="http://schemas.microsoft.com/office/drawing/2014/main" id="{D69224CC-DCD0-42CD-A337-A20F53A674D2}"/>
                  </a:ext>
                </a:extLst>
              </p:cNvPr>
              <p:cNvGrpSpPr/>
              <p:nvPr/>
            </p:nvGrpSpPr>
            <p:grpSpPr>
              <a:xfrm>
                <a:off x="856419" y="3775060"/>
                <a:ext cx="270468" cy="691986"/>
                <a:chOff x="791086" y="3775060"/>
                <a:chExt cx="270468" cy="691986"/>
              </a:xfrm>
            </p:grpSpPr>
            <p:sp>
              <p:nvSpPr>
                <p:cNvPr id="123" name="Rectangle: Rounded Corners 122">
                  <a:extLst>
                    <a:ext uri="{FF2B5EF4-FFF2-40B4-BE49-F238E27FC236}">
                      <a16:creationId xmlns:a16="http://schemas.microsoft.com/office/drawing/2014/main" id="{E28D3759-771C-4954-A901-4F456CA1422F}"/>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24" name="Freeform: Shape 123">
                  <a:extLst>
                    <a:ext uri="{FF2B5EF4-FFF2-40B4-BE49-F238E27FC236}">
                      <a16:creationId xmlns:a16="http://schemas.microsoft.com/office/drawing/2014/main" id="{451FBB6B-52F7-4E76-B829-D48105871A4A}"/>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19" name="Group 118">
                <a:extLst>
                  <a:ext uri="{FF2B5EF4-FFF2-40B4-BE49-F238E27FC236}">
                    <a16:creationId xmlns:a16="http://schemas.microsoft.com/office/drawing/2014/main" id="{944B530A-8440-49B2-9CB6-B101054D9B42}"/>
                  </a:ext>
                </a:extLst>
              </p:cNvPr>
              <p:cNvGrpSpPr/>
              <p:nvPr/>
            </p:nvGrpSpPr>
            <p:grpSpPr>
              <a:xfrm rot="9000000">
                <a:off x="889049" y="3827496"/>
                <a:ext cx="164431" cy="505560"/>
                <a:chOff x="1080621" y="2982166"/>
                <a:chExt cx="225378" cy="692942"/>
              </a:xfrm>
            </p:grpSpPr>
            <p:sp>
              <p:nvSpPr>
                <p:cNvPr id="121" name="Rectangle 120">
                  <a:extLst>
                    <a:ext uri="{FF2B5EF4-FFF2-40B4-BE49-F238E27FC236}">
                      <a16:creationId xmlns:a16="http://schemas.microsoft.com/office/drawing/2014/main" id="{8D440879-574D-4B56-95DF-FB78A56C14B9}"/>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22" name="Teardrop 121">
                  <a:extLst>
                    <a:ext uri="{FF2B5EF4-FFF2-40B4-BE49-F238E27FC236}">
                      <a16:creationId xmlns:a16="http://schemas.microsoft.com/office/drawing/2014/main" id="{5411B06F-5D37-419B-9260-70457D0B01CD}"/>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120" name="AutoShape 8">
                <a:extLst>
                  <a:ext uri="{FF2B5EF4-FFF2-40B4-BE49-F238E27FC236}">
                    <a16:creationId xmlns:a16="http://schemas.microsoft.com/office/drawing/2014/main" id="{61254B12-074F-471C-AB87-F752B3200515}"/>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03" name="Group 102">
              <a:extLst>
                <a:ext uri="{FF2B5EF4-FFF2-40B4-BE49-F238E27FC236}">
                  <a16:creationId xmlns:a16="http://schemas.microsoft.com/office/drawing/2014/main" id="{36498E28-ECF4-4010-B770-9CEF52593CCA}"/>
                </a:ext>
              </a:extLst>
            </p:cNvPr>
            <p:cNvGrpSpPr/>
            <p:nvPr/>
          </p:nvGrpSpPr>
          <p:grpSpPr>
            <a:xfrm>
              <a:off x="7318844" y="2637522"/>
              <a:ext cx="926227" cy="927085"/>
              <a:chOff x="528540" y="3656094"/>
              <a:chExt cx="926227" cy="927085"/>
            </a:xfrm>
          </p:grpSpPr>
          <p:grpSp>
            <p:nvGrpSpPr>
              <p:cNvPr id="111" name="Group 110">
                <a:extLst>
                  <a:ext uri="{FF2B5EF4-FFF2-40B4-BE49-F238E27FC236}">
                    <a16:creationId xmlns:a16="http://schemas.microsoft.com/office/drawing/2014/main" id="{C434EEA5-F8D8-41AF-A025-90A2AD007A36}"/>
                  </a:ext>
                </a:extLst>
              </p:cNvPr>
              <p:cNvGrpSpPr/>
              <p:nvPr/>
            </p:nvGrpSpPr>
            <p:grpSpPr>
              <a:xfrm>
                <a:off x="856419" y="3775060"/>
                <a:ext cx="270468" cy="691986"/>
                <a:chOff x="791086" y="3775060"/>
                <a:chExt cx="270468" cy="691986"/>
              </a:xfrm>
            </p:grpSpPr>
            <p:sp>
              <p:nvSpPr>
                <p:cNvPr id="116" name="Rectangle: Rounded Corners 115">
                  <a:extLst>
                    <a:ext uri="{FF2B5EF4-FFF2-40B4-BE49-F238E27FC236}">
                      <a16:creationId xmlns:a16="http://schemas.microsoft.com/office/drawing/2014/main" id="{020E4070-E7F4-40E1-BA2F-3CD473A36440}"/>
                    </a:ext>
                  </a:extLst>
                </p:cNvPr>
                <p:cNvSpPr/>
                <p:nvPr/>
              </p:nvSpPr>
              <p:spPr bwMode="auto">
                <a:xfrm>
                  <a:off x="791086" y="3775060"/>
                  <a:ext cx="270468"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17" name="Freeform: Shape 116">
                  <a:extLst>
                    <a:ext uri="{FF2B5EF4-FFF2-40B4-BE49-F238E27FC236}">
                      <a16:creationId xmlns:a16="http://schemas.microsoft.com/office/drawing/2014/main" id="{06E3AD56-C5F6-4215-B36E-F6E8725A24BD}"/>
                    </a:ext>
                  </a:extLst>
                </p:cNvPr>
                <p:cNvSpPr/>
                <p:nvPr/>
              </p:nvSpPr>
              <p:spPr bwMode="auto">
                <a:xfrm rot="10800000">
                  <a:off x="821459" y="3882292"/>
                  <a:ext cx="209720" cy="584754"/>
                </a:xfrm>
                <a:custGeom>
                  <a:avLst/>
                  <a:gdLst>
                    <a:gd name="connsiteX0" fmla="*/ 180020 w 360040"/>
                    <a:gd name="connsiteY0" fmla="*/ 0 h 1003884"/>
                    <a:gd name="connsiteX1" fmla="*/ 360040 w 360040"/>
                    <a:gd name="connsiteY1" fmla="*/ 180020 h 1003884"/>
                    <a:gd name="connsiteX2" fmla="*/ 359691 w 360040"/>
                    <a:gd name="connsiteY2" fmla="*/ 183485 h 1003884"/>
                    <a:gd name="connsiteX3" fmla="*/ 360040 w 360040"/>
                    <a:gd name="connsiteY3" fmla="*/ 183485 h 1003884"/>
                    <a:gd name="connsiteX4" fmla="*/ 360040 w 360040"/>
                    <a:gd name="connsiteY4" fmla="*/ 1003884 h 1003884"/>
                    <a:gd name="connsiteX5" fmla="*/ 0 w 360040"/>
                    <a:gd name="connsiteY5" fmla="*/ 1003884 h 1003884"/>
                    <a:gd name="connsiteX6" fmla="*/ 0 w 360040"/>
                    <a:gd name="connsiteY6" fmla="*/ 183485 h 1003884"/>
                    <a:gd name="connsiteX7" fmla="*/ 349 w 360040"/>
                    <a:gd name="connsiteY7" fmla="*/ 183485 h 1003884"/>
                    <a:gd name="connsiteX8" fmla="*/ 0 w 360040"/>
                    <a:gd name="connsiteY8" fmla="*/ 180020 h 1003884"/>
                    <a:gd name="connsiteX9" fmla="*/ 180020 w 360040"/>
                    <a:gd name="connsiteY9" fmla="*/ 0 h 100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40" h="1003884">
                      <a:moveTo>
                        <a:pt x="180020" y="0"/>
                      </a:moveTo>
                      <a:cubicBezTo>
                        <a:pt x="279442" y="0"/>
                        <a:pt x="360040" y="80598"/>
                        <a:pt x="360040" y="180020"/>
                      </a:cubicBezTo>
                      <a:lnTo>
                        <a:pt x="359691" y="183485"/>
                      </a:lnTo>
                      <a:lnTo>
                        <a:pt x="360040" y="183485"/>
                      </a:lnTo>
                      <a:lnTo>
                        <a:pt x="360040" y="1003884"/>
                      </a:lnTo>
                      <a:lnTo>
                        <a:pt x="0" y="1003884"/>
                      </a:lnTo>
                      <a:lnTo>
                        <a:pt x="0" y="183485"/>
                      </a:lnTo>
                      <a:lnTo>
                        <a:pt x="349" y="183485"/>
                      </a:lnTo>
                      <a:lnTo>
                        <a:pt x="0" y="180020"/>
                      </a:lnTo>
                      <a:cubicBezTo>
                        <a:pt x="0" y="80598"/>
                        <a:pt x="80598" y="0"/>
                        <a:pt x="180020" y="0"/>
                      </a:cubicBezTo>
                      <a:close/>
                    </a:path>
                  </a:pathLst>
                </a:custGeom>
                <a:solidFill>
                  <a:srgbClr val="FFFFFF"/>
                </a:solidFill>
                <a:ln w="9525" cap="flat" cmpd="sng" algn="ctr">
                  <a:solidFill>
                    <a:srgbClr val="003B5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12" name="Group 111">
                <a:extLst>
                  <a:ext uri="{FF2B5EF4-FFF2-40B4-BE49-F238E27FC236}">
                    <a16:creationId xmlns:a16="http://schemas.microsoft.com/office/drawing/2014/main" id="{1027F609-183A-480D-8BF7-2B793F8506A0}"/>
                  </a:ext>
                </a:extLst>
              </p:cNvPr>
              <p:cNvGrpSpPr/>
              <p:nvPr/>
            </p:nvGrpSpPr>
            <p:grpSpPr>
              <a:xfrm rot="9000000">
                <a:off x="889049" y="3827496"/>
                <a:ext cx="164431" cy="505560"/>
                <a:chOff x="1080621" y="2982166"/>
                <a:chExt cx="225378" cy="692942"/>
              </a:xfrm>
            </p:grpSpPr>
            <p:sp>
              <p:nvSpPr>
                <p:cNvPr id="114" name="Rectangle 113">
                  <a:extLst>
                    <a:ext uri="{FF2B5EF4-FFF2-40B4-BE49-F238E27FC236}">
                      <a16:creationId xmlns:a16="http://schemas.microsoft.com/office/drawing/2014/main" id="{64E19F4E-9351-41F9-B3F3-4EBF3EE619BF}"/>
                    </a:ext>
                  </a:extLst>
                </p:cNvPr>
                <p:cNvSpPr/>
                <p:nvPr/>
              </p:nvSpPr>
              <p:spPr bwMode="auto">
                <a:xfrm rot="1800000">
                  <a:off x="1080621" y="3225233"/>
                  <a:ext cx="20504" cy="449875"/>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15" name="Teardrop 114">
                  <a:extLst>
                    <a:ext uri="{FF2B5EF4-FFF2-40B4-BE49-F238E27FC236}">
                      <a16:creationId xmlns:a16="http://schemas.microsoft.com/office/drawing/2014/main" id="{B7D0CC1F-0983-4F5D-A636-6840097F9390}"/>
                    </a:ext>
                  </a:extLst>
                </p:cNvPr>
                <p:cNvSpPr/>
                <p:nvPr/>
              </p:nvSpPr>
              <p:spPr bwMode="auto">
                <a:xfrm rot="12600000">
                  <a:off x="1239321" y="2982166"/>
                  <a:ext cx="66678" cy="306293"/>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113" name="AutoShape 8">
                <a:extLst>
                  <a:ext uri="{FF2B5EF4-FFF2-40B4-BE49-F238E27FC236}">
                    <a16:creationId xmlns:a16="http://schemas.microsoft.com/office/drawing/2014/main" id="{9BF1C4E7-8CAF-4482-B6CA-11D2C73350FF}"/>
                  </a:ext>
                </a:extLst>
              </p:cNvPr>
              <p:cNvSpPr>
                <a:spLocks noChangeAspect="1" noChangeArrowheads="1" noTextEdit="1"/>
              </p:cNvSpPr>
              <p:nvPr/>
            </p:nvSpPr>
            <p:spPr bwMode="auto">
              <a:xfrm>
                <a:off x="528540" y="365609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104" name="Freeform: Shape 103">
              <a:extLst>
                <a:ext uri="{FF2B5EF4-FFF2-40B4-BE49-F238E27FC236}">
                  <a16:creationId xmlns:a16="http://schemas.microsoft.com/office/drawing/2014/main" id="{7277650C-142A-476D-A7E2-8393CA1DCF43}"/>
                </a:ext>
              </a:extLst>
            </p:cNvPr>
            <p:cNvSpPr/>
            <p:nvPr/>
          </p:nvSpPr>
          <p:spPr bwMode="auto">
            <a:xfrm>
              <a:off x="7290056" y="2208432"/>
              <a:ext cx="1078375" cy="1348781"/>
            </a:xfrm>
            <a:custGeom>
              <a:avLst/>
              <a:gdLst>
                <a:gd name="connsiteX0" fmla="*/ 24139 w 1078375"/>
                <a:gd name="connsiteY0" fmla="*/ 30193 h 1348781"/>
                <a:gd name="connsiteX1" fmla="*/ 24139 w 1078375"/>
                <a:gd name="connsiteY1" fmla="*/ 1318589 h 1348781"/>
                <a:gd name="connsiteX2" fmla="*/ 1054237 w 1078375"/>
                <a:gd name="connsiteY2" fmla="*/ 1318589 h 1348781"/>
                <a:gd name="connsiteX3" fmla="*/ 1054237 w 1078375"/>
                <a:gd name="connsiteY3" fmla="*/ 30193 h 1348781"/>
                <a:gd name="connsiteX4" fmla="*/ 0 w 1078375"/>
                <a:gd name="connsiteY4" fmla="*/ 0 h 1348781"/>
                <a:gd name="connsiteX5" fmla="*/ 1078375 w 1078375"/>
                <a:gd name="connsiteY5" fmla="*/ 0 h 1348781"/>
                <a:gd name="connsiteX6" fmla="*/ 1078375 w 1078375"/>
                <a:gd name="connsiteY6" fmla="*/ 1348781 h 1348781"/>
                <a:gd name="connsiteX7" fmla="*/ 0 w 1078375"/>
                <a:gd name="connsiteY7" fmla="*/ 1348781 h 134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8375" h="1348781">
                  <a:moveTo>
                    <a:pt x="24139" y="30193"/>
                  </a:moveTo>
                  <a:lnTo>
                    <a:pt x="24139" y="1318589"/>
                  </a:lnTo>
                  <a:lnTo>
                    <a:pt x="1054237" y="1318589"/>
                  </a:lnTo>
                  <a:lnTo>
                    <a:pt x="1054237" y="30193"/>
                  </a:lnTo>
                  <a:close/>
                  <a:moveTo>
                    <a:pt x="0" y="0"/>
                  </a:moveTo>
                  <a:lnTo>
                    <a:pt x="1078375" y="0"/>
                  </a:lnTo>
                  <a:lnTo>
                    <a:pt x="1078375" y="1348781"/>
                  </a:lnTo>
                  <a:lnTo>
                    <a:pt x="0" y="1348781"/>
                  </a:lnTo>
                  <a:close/>
                </a:path>
              </a:pathLst>
            </a:custGeom>
            <a:solidFill>
              <a:srgbClr val="003B59"/>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05" name="Rectangle 104">
              <a:extLst>
                <a:ext uri="{FF2B5EF4-FFF2-40B4-BE49-F238E27FC236}">
                  <a16:creationId xmlns:a16="http://schemas.microsoft.com/office/drawing/2014/main" id="{DDA5D2CE-8D33-4716-AA12-F0D6A73FC519}"/>
                </a:ext>
              </a:extLst>
            </p:cNvPr>
            <p:cNvSpPr/>
            <p:nvPr/>
          </p:nvSpPr>
          <p:spPr bwMode="auto">
            <a:xfrm>
              <a:off x="7323260" y="2310109"/>
              <a:ext cx="1011967" cy="45891"/>
            </a:xfrm>
            <a:prstGeom prst="rect">
              <a:avLst/>
            </a:prstGeom>
            <a:solidFill>
              <a:srgbClr val="4C7895"/>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106" name="Group 105">
              <a:extLst>
                <a:ext uri="{FF2B5EF4-FFF2-40B4-BE49-F238E27FC236}">
                  <a16:creationId xmlns:a16="http://schemas.microsoft.com/office/drawing/2014/main" id="{1C85D184-EBE3-4DD0-B6CB-B1ACD41AB8CD}"/>
                </a:ext>
              </a:extLst>
            </p:cNvPr>
            <p:cNvGrpSpPr>
              <a:grpSpLocks noChangeAspect="1"/>
            </p:cNvGrpSpPr>
            <p:nvPr/>
          </p:nvGrpSpPr>
          <p:grpSpPr>
            <a:xfrm>
              <a:off x="7985101" y="3165523"/>
              <a:ext cx="374972" cy="374972"/>
              <a:chOff x="5272088" y="2605088"/>
              <a:chExt cx="1646237" cy="1646237"/>
            </a:xfrm>
          </p:grpSpPr>
          <p:sp>
            <p:nvSpPr>
              <p:cNvPr id="107" name="AutoShape 57">
                <a:extLst>
                  <a:ext uri="{FF2B5EF4-FFF2-40B4-BE49-F238E27FC236}">
                    <a16:creationId xmlns:a16="http://schemas.microsoft.com/office/drawing/2014/main" id="{2D058DE7-D903-47A0-8399-F51669F2F34F}"/>
                  </a:ext>
                </a:extLst>
              </p:cNvPr>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08" name="Group 107">
                <a:extLst>
                  <a:ext uri="{FF2B5EF4-FFF2-40B4-BE49-F238E27FC236}">
                    <a16:creationId xmlns:a16="http://schemas.microsoft.com/office/drawing/2014/main" id="{5E85A3D1-93B6-4CDB-BA45-7C144596E1C3}"/>
                  </a:ext>
                </a:extLst>
              </p:cNvPr>
              <p:cNvGrpSpPr/>
              <p:nvPr/>
            </p:nvGrpSpPr>
            <p:grpSpPr>
              <a:xfrm>
                <a:off x="5443538" y="2774950"/>
                <a:ext cx="1303337" cy="1303337"/>
                <a:chOff x="5443538" y="2774950"/>
                <a:chExt cx="1303337" cy="1303337"/>
              </a:xfrm>
            </p:grpSpPr>
            <p:sp>
              <p:nvSpPr>
                <p:cNvPr id="109" name="Freeform 65">
                  <a:extLst>
                    <a:ext uri="{FF2B5EF4-FFF2-40B4-BE49-F238E27FC236}">
                      <a16:creationId xmlns:a16="http://schemas.microsoft.com/office/drawing/2014/main" id="{EF51C5C3-2ABA-4CDD-9409-047B78CB9A3F}"/>
                    </a:ext>
                  </a:extLst>
                </p:cNvPr>
                <p:cNvSpPr>
                  <a:spLocks noEditPoints="1"/>
                </p:cNvSpPr>
                <p:nvPr/>
              </p:nvSpPr>
              <p:spPr bwMode="auto">
                <a:xfrm>
                  <a:off x="5443538" y="2774950"/>
                  <a:ext cx="1303337" cy="1303337"/>
                </a:xfrm>
                <a:custGeom>
                  <a:avLst/>
                  <a:gdLst>
                    <a:gd name="T0" fmla="*/ 1802 w 1824"/>
                    <a:gd name="T1" fmla="*/ 0 h 1824"/>
                    <a:gd name="T2" fmla="*/ 22 w 1824"/>
                    <a:gd name="T3" fmla="*/ 0 h 1824"/>
                    <a:gd name="T4" fmla="*/ 0 w 1824"/>
                    <a:gd name="T5" fmla="*/ 22 h 1824"/>
                    <a:gd name="T6" fmla="*/ 0 w 1824"/>
                    <a:gd name="T7" fmla="*/ 1802 h 1824"/>
                    <a:gd name="T8" fmla="*/ 22 w 1824"/>
                    <a:gd name="T9" fmla="*/ 1824 h 1824"/>
                    <a:gd name="T10" fmla="*/ 1802 w 1824"/>
                    <a:gd name="T11" fmla="*/ 1824 h 1824"/>
                    <a:gd name="T12" fmla="*/ 1824 w 1824"/>
                    <a:gd name="T13" fmla="*/ 1802 h 1824"/>
                    <a:gd name="T14" fmla="*/ 1824 w 1824"/>
                    <a:gd name="T15" fmla="*/ 22 h 1824"/>
                    <a:gd name="T16" fmla="*/ 1802 w 1824"/>
                    <a:gd name="T17" fmla="*/ 0 h 1824"/>
                    <a:gd name="T18" fmla="*/ 1780 w 1824"/>
                    <a:gd name="T19" fmla="*/ 1780 h 1824"/>
                    <a:gd name="T20" fmla="*/ 44 w 1824"/>
                    <a:gd name="T21" fmla="*/ 1780 h 1824"/>
                    <a:gd name="T22" fmla="*/ 44 w 1824"/>
                    <a:gd name="T23" fmla="*/ 44 h 1824"/>
                    <a:gd name="T24" fmla="*/ 1780 w 1824"/>
                    <a:gd name="T25" fmla="*/ 44 h 1824"/>
                    <a:gd name="T26" fmla="*/ 1780 w 1824"/>
                    <a:gd name="T27" fmla="*/ 1780 h 1824"/>
                    <a:gd name="T28" fmla="*/ 1780 w 1824"/>
                    <a:gd name="T29" fmla="*/ 1780 h 1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24" h="1824">
                      <a:moveTo>
                        <a:pt x="1802" y="0"/>
                      </a:moveTo>
                      <a:cubicBezTo>
                        <a:pt x="22" y="0"/>
                        <a:pt x="22" y="0"/>
                        <a:pt x="22" y="0"/>
                      </a:cubicBezTo>
                      <a:cubicBezTo>
                        <a:pt x="10" y="0"/>
                        <a:pt x="0" y="10"/>
                        <a:pt x="0" y="22"/>
                      </a:cubicBezTo>
                      <a:cubicBezTo>
                        <a:pt x="0" y="1802"/>
                        <a:pt x="0" y="1802"/>
                        <a:pt x="0" y="1802"/>
                      </a:cubicBezTo>
                      <a:cubicBezTo>
                        <a:pt x="0" y="1814"/>
                        <a:pt x="10" y="1824"/>
                        <a:pt x="22" y="1824"/>
                      </a:cubicBezTo>
                      <a:cubicBezTo>
                        <a:pt x="1802" y="1824"/>
                        <a:pt x="1802" y="1824"/>
                        <a:pt x="1802" y="1824"/>
                      </a:cubicBezTo>
                      <a:cubicBezTo>
                        <a:pt x="1814" y="1824"/>
                        <a:pt x="1824" y="1814"/>
                        <a:pt x="1824" y="1802"/>
                      </a:cubicBezTo>
                      <a:cubicBezTo>
                        <a:pt x="1824" y="22"/>
                        <a:pt x="1824" y="22"/>
                        <a:pt x="1824" y="22"/>
                      </a:cubicBezTo>
                      <a:cubicBezTo>
                        <a:pt x="1824" y="10"/>
                        <a:pt x="1814" y="0"/>
                        <a:pt x="1802" y="0"/>
                      </a:cubicBezTo>
                      <a:close/>
                      <a:moveTo>
                        <a:pt x="1780" y="1780"/>
                      </a:moveTo>
                      <a:cubicBezTo>
                        <a:pt x="44" y="1780"/>
                        <a:pt x="44" y="1780"/>
                        <a:pt x="44" y="1780"/>
                      </a:cubicBezTo>
                      <a:cubicBezTo>
                        <a:pt x="44" y="44"/>
                        <a:pt x="44" y="44"/>
                        <a:pt x="44" y="44"/>
                      </a:cubicBezTo>
                      <a:cubicBezTo>
                        <a:pt x="1780" y="44"/>
                        <a:pt x="1780" y="44"/>
                        <a:pt x="1780" y="44"/>
                      </a:cubicBezTo>
                      <a:cubicBezTo>
                        <a:pt x="1780" y="1780"/>
                        <a:pt x="1780" y="1780"/>
                        <a:pt x="1780" y="1780"/>
                      </a:cubicBezTo>
                      <a:cubicBezTo>
                        <a:pt x="1780" y="1780"/>
                        <a:pt x="1780" y="1780"/>
                        <a:pt x="1780" y="178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0" name="Freeform 6">
                  <a:extLst>
                    <a:ext uri="{FF2B5EF4-FFF2-40B4-BE49-F238E27FC236}">
                      <a16:creationId xmlns:a16="http://schemas.microsoft.com/office/drawing/2014/main" id="{8990C4F6-8B8F-4CA8-AF0C-30D16E0580D4}"/>
                    </a:ext>
                  </a:extLst>
                </p:cNvPr>
                <p:cNvSpPr>
                  <a:spLocks/>
                </p:cNvSpPr>
                <p:nvPr/>
              </p:nvSpPr>
              <p:spPr bwMode="auto">
                <a:xfrm>
                  <a:off x="5507037" y="2835274"/>
                  <a:ext cx="1179512" cy="1181100"/>
                </a:xfrm>
                <a:custGeom>
                  <a:avLst/>
                  <a:gdLst>
                    <a:gd name="connsiteX0" fmla="*/ 588962 w 1179512"/>
                    <a:gd name="connsiteY0" fmla="*/ 1109663 h 1181100"/>
                    <a:gd name="connsiteX1" fmla="*/ 661987 w 1179512"/>
                    <a:gd name="connsiteY1" fmla="*/ 1109663 h 1181100"/>
                    <a:gd name="connsiteX2" fmla="*/ 661987 w 1179512"/>
                    <a:gd name="connsiteY2" fmla="*/ 1179513 h 1181100"/>
                    <a:gd name="connsiteX3" fmla="*/ 588962 w 1179512"/>
                    <a:gd name="connsiteY3" fmla="*/ 1179513 h 1181100"/>
                    <a:gd name="connsiteX4" fmla="*/ 588962 w 1179512"/>
                    <a:gd name="connsiteY4" fmla="*/ 1109663 h 1181100"/>
                    <a:gd name="connsiteX5" fmla="*/ 515937 w 1179512"/>
                    <a:gd name="connsiteY5" fmla="*/ 1036638 h 1181100"/>
                    <a:gd name="connsiteX6" fmla="*/ 588962 w 1179512"/>
                    <a:gd name="connsiteY6" fmla="*/ 1036638 h 1181100"/>
                    <a:gd name="connsiteX7" fmla="*/ 588962 w 1179512"/>
                    <a:gd name="connsiteY7" fmla="*/ 1109663 h 1181100"/>
                    <a:gd name="connsiteX8" fmla="*/ 515937 w 1179512"/>
                    <a:gd name="connsiteY8" fmla="*/ 1109663 h 1181100"/>
                    <a:gd name="connsiteX9" fmla="*/ 515937 w 1179512"/>
                    <a:gd name="connsiteY9" fmla="*/ 1036638 h 1181100"/>
                    <a:gd name="connsiteX10" fmla="*/ 811212 w 1179512"/>
                    <a:gd name="connsiteY10" fmla="*/ 887413 h 1181100"/>
                    <a:gd name="connsiteX11" fmla="*/ 811212 w 1179512"/>
                    <a:gd name="connsiteY11" fmla="*/ 958850 h 1181100"/>
                    <a:gd name="connsiteX12" fmla="*/ 884237 w 1179512"/>
                    <a:gd name="connsiteY12" fmla="*/ 958850 h 1181100"/>
                    <a:gd name="connsiteX13" fmla="*/ 884237 w 1179512"/>
                    <a:gd name="connsiteY13" fmla="*/ 887413 h 1181100"/>
                    <a:gd name="connsiteX14" fmla="*/ 811212 w 1179512"/>
                    <a:gd name="connsiteY14" fmla="*/ 887413 h 1181100"/>
                    <a:gd name="connsiteX15" fmla="*/ 146050 w 1179512"/>
                    <a:gd name="connsiteY15" fmla="*/ 887413 h 1181100"/>
                    <a:gd name="connsiteX16" fmla="*/ 293687 w 1179512"/>
                    <a:gd name="connsiteY16" fmla="*/ 887413 h 1181100"/>
                    <a:gd name="connsiteX17" fmla="*/ 293687 w 1179512"/>
                    <a:gd name="connsiteY17" fmla="*/ 1035050 h 1181100"/>
                    <a:gd name="connsiteX18" fmla="*/ 146050 w 1179512"/>
                    <a:gd name="connsiteY18" fmla="*/ 1035050 h 1181100"/>
                    <a:gd name="connsiteX19" fmla="*/ 146050 w 1179512"/>
                    <a:gd name="connsiteY19" fmla="*/ 887413 h 1181100"/>
                    <a:gd name="connsiteX20" fmla="*/ 958850 w 1179512"/>
                    <a:gd name="connsiteY20" fmla="*/ 812800 h 1181100"/>
                    <a:gd name="connsiteX21" fmla="*/ 958850 w 1179512"/>
                    <a:gd name="connsiteY21" fmla="*/ 958850 h 1181100"/>
                    <a:gd name="connsiteX22" fmla="*/ 1031875 w 1179512"/>
                    <a:gd name="connsiteY22" fmla="*/ 958850 h 1181100"/>
                    <a:gd name="connsiteX23" fmla="*/ 1031875 w 1179512"/>
                    <a:gd name="connsiteY23" fmla="*/ 812800 h 1181100"/>
                    <a:gd name="connsiteX24" fmla="*/ 958850 w 1179512"/>
                    <a:gd name="connsiteY24" fmla="*/ 812800 h 1181100"/>
                    <a:gd name="connsiteX25" fmla="*/ 74612 w 1179512"/>
                    <a:gd name="connsiteY25" fmla="*/ 812800 h 1181100"/>
                    <a:gd name="connsiteX26" fmla="*/ 74612 w 1179512"/>
                    <a:gd name="connsiteY26" fmla="*/ 1106487 h 1181100"/>
                    <a:gd name="connsiteX27" fmla="*/ 366712 w 1179512"/>
                    <a:gd name="connsiteY27" fmla="*/ 1106487 h 1181100"/>
                    <a:gd name="connsiteX28" fmla="*/ 366712 w 1179512"/>
                    <a:gd name="connsiteY28" fmla="*/ 812800 h 1181100"/>
                    <a:gd name="connsiteX29" fmla="*/ 74612 w 1179512"/>
                    <a:gd name="connsiteY29" fmla="*/ 812800 h 1181100"/>
                    <a:gd name="connsiteX30" fmla="*/ 588962 w 1179512"/>
                    <a:gd name="connsiteY30" fmla="*/ 739775 h 1181100"/>
                    <a:gd name="connsiteX31" fmla="*/ 661987 w 1179512"/>
                    <a:gd name="connsiteY31" fmla="*/ 739775 h 1181100"/>
                    <a:gd name="connsiteX32" fmla="*/ 661987 w 1179512"/>
                    <a:gd name="connsiteY32" fmla="*/ 1035050 h 1181100"/>
                    <a:gd name="connsiteX33" fmla="*/ 589678 w 1179512"/>
                    <a:gd name="connsiteY33" fmla="*/ 1035050 h 1181100"/>
                    <a:gd name="connsiteX34" fmla="*/ 588962 w 1179512"/>
                    <a:gd name="connsiteY34" fmla="*/ 917798 h 1181100"/>
                    <a:gd name="connsiteX35" fmla="*/ 588962 w 1179512"/>
                    <a:gd name="connsiteY35" fmla="*/ 887770 h 1181100"/>
                    <a:gd name="connsiteX36" fmla="*/ 515937 w 1179512"/>
                    <a:gd name="connsiteY36" fmla="*/ 887770 h 1181100"/>
                    <a:gd name="connsiteX37" fmla="*/ 515937 w 1179512"/>
                    <a:gd name="connsiteY37" fmla="*/ 813415 h 1181100"/>
                    <a:gd name="connsiteX38" fmla="*/ 588962 w 1179512"/>
                    <a:gd name="connsiteY38" fmla="*/ 813415 h 1181100"/>
                    <a:gd name="connsiteX39" fmla="*/ 588962 w 1179512"/>
                    <a:gd name="connsiteY39" fmla="*/ 739775 h 1181100"/>
                    <a:gd name="connsiteX40" fmla="*/ 1587 w 1179512"/>
                    <a:gd name="connsiteY40" fmla="*/ 739775 h 1181100"/>
                    <a:gd name="connsiteX41" fmla="*/ 441324 w 1179512"/>
                    <a:gd name="connsiteY41" fmla="*/ 739775 h 1181100"/>
                    <a:gd name="connsiteX42" fmla="*/ 441324 w 1179512"/>
                    <a:gd name="connsiteY42" fmla="*/ 1179512 h 1181100"/>
                    <a:gd name="connsiteX43" fmla="*/ 1587 w 1179512"/>
                    <a:gd name="connsiteY43" fmla="*/ 1179512 h 1181100"/>
                    <a:gd name="connsiteX44" fmla="*/ 1587 w 1179512"/>
                    <a:gd name="connsiteY44" fmla="*/ 739775 h 1181100"/>
                    <a:gd name="connsiteX45" fmla="*/ 958850 w 1179512"/>
                    <a:gd name="connsiteY45" fmla="*/ 665163 h 1181100"/>
                    <a:gd name="connsiteX46" fmla="*/ 958850 w 1179512"/>
                    <a:gd name="connsiteY46" fmla="*/ 738188 h 1181100"/>
                    <a:gd name="connsiteX47" fmla="*/ 1031875 w 1179512"/>
                    <a:gd name="connsiteY47" fmla="*/ 738188 h 1181100"/>
                    <a:gd name="connsiteX48" fmla="*/ 1031875 w 1179512"/>
                    <a:gd name="connsiteY48" fmla="*/ 665163 h 1181100"/>
                    <a:gd name="connsiteX49" fmla="*/ 958850 w 1179512"/>
                    <a:gd name="connsiteY49" fmla="*/ 665163 h 1181100"/>
                    <a:gd name="connsiteX50" fmla="*/ 811212 w 1179512"/>
                    <a:gd name="connsiteY50" fmla="*/ 665163 h 1181100"/>
                    <a:gd name="connsiteX51" fmla="*/ 811212 w 1179512"/>
                    <a:gd name="connsiteY51" fmla="*/ 812800 h 1181100"/>
                    <a:gd name="connsiteX52" fmla="*/ 958133 w 1179512"/>
                    <a:gd name="connsiteY52" fmla="*/ 812800 h 1181100"/>
                    <a:gd name="connsiteX53" fmla="*/ 958849 w 1179512"/>
                    <a:gd name="connsiteY53" fmla="*/ 738982 h 1181100"/>
                    <a:gd name="connsiteX54" fmla="*/ 884314 w 1179512"/>
                    <a:gd name="connsiteY54" fmla="*/ 738982 h 1181100"/>
                    <a:gd name="connsiteX55" fmla="*/ 884314 w 1179512"/>
                    <a:gd name="connsiteY55" fmla="*/ 665163 h 1181100"/>
                    <a:gd name="connsiteX56" fmla="*/ 811212 w 1179512"/>
                    <a:gd name="connsiteY56" fmla="*/ 665163 h 1181100"/>
                    <a:gd name="connsiteX57" fmla="*/ 515937 w 1179512"/>
                    <a:gd name="connsiteY57" fmla="*/ 665163 h 1181100"/>
                    <a:gd name="connsiteX58" fmla="*/ 588962 w 1179512"/>
                    <a:gd name="connsiteY58" fmla="*/ 665163 h 1181100"/>
                    <a:gd name="connsiteX59" fmla="*/ 588246 w 1179512"/>
                    <a:gd name="connsiteY59" fmla="*/ 739775 h 1181100"/>
                    <a:gd name="connsiteX60" fmla="*/ 515937 w 1179512"/>
                    <a:gd name="connsiteY60" fmla="*/ 739775 h 1181100"/>
                    <a:gd name="connsiteX61" fmla="*/ 515937 w 1179512"/>
                    <a:gd name="connsiteY61" fmla="*/ 665163 h 1181100"/>
                    <a:gd name="connsiteX62" fmla="*/ 366580 w 1179512"/>
                    <a:gd name="connsiteY62" fmla="*/ 519113 h 1181100"/>
                    <a:gd name="connsiteX63" fmla="*/ 515937 w 1179512"/>
                    <a:gd name="connsiteY63" fmla="*/ 519113 h 1181100"/>
                    <a:gd name="connsiteX64" fmla="*/ 515937 w 1179512"/>
                    <a:gd name="connsiteY64" fmla="*/ 592138 h 1181100"/>
                    <a:gd name="connsiteX65" fmla="*/ 441616 w 1179512"/>
                    <a:gd name="connsiteY65" fmla="*/ 592138 h 1181100"/>
                    <a:gd name="connsiteX66" fmla="*/ 441616 w 1179512"/>
                    <a:gd name="connsiteY66" fmla="*/ 665163 h 1181100"/>
                    <a:gd name="connsiteX67" fmla="*/ 293687 w 1179512"/>
                    <a:gd name="connsiteY67" fmla="*/ 665163 h 1181100"/>
                    <a:gd name="connsiteX68" fmla="*/ 293687 w 1179512"/>
                    <a:gd name="connsiteY68" fmla="*/ 592138 h 1181100"/>
                    <a:gd name="connsiteX69" fmla="*/ 366580 w 1179512"/>
                    <a:gd name="connsiteY69" fmla="*/ 592138 h 1181100"/>
                    <a:gd name="connsiteX70" fmla="*/ 366580 w 1179512"/>
                    <a:gd name="connsiteY70" fmla="*/ 519113 h 1181100"/>
                    <a:gd name="connsiteX71" fmla="*/ 219075 w 1179512"/>
                    <a:gd name="connsiteY71" fmla="*/ 519113 h 1181100"/>
                    <a:gd name="connsiteX72" fmla="*/ 293687 w 1179512"/>
                    <a:gd name="connsiteY72" fmla="*/ 519113 h 1181100"/>
                    <a:gd name="connsiteX73" fmla="*/ 293687 w 1179512"/>
                    <a:gd name="connsiteY73" fmla="*/ 592138 h 1181100"/>
                    <a:gd name="connsiteX74" fmla="*/ 219075 w 1179512"/>
                    <a:gd name="connsiteY74" fmla="*/ 591422 h 1181100"/>
                    <a:gd name="connsiteX75" fmla="*/ 219075 w 1179512"/>
                    <a:gd name="connsiteY75" fmla="*/ 519113 h 1181100"/>
                    <a:gd name="connsiteX76" fmla="*/ 1587 w 1179512"/>
                    <a:gd name="connsiteY76" fmla="*/ 519113 h 1181100"/>
                    <a:gd name="connsiteX77" fmla="*/ 146341 w 1179512"/>
                    <a:gd name="connsiteY77" fmla="*/ 519113 h 1181100"/>
                    <a:gd name="connsiteX78" fmla="*/ 146341 w 1179512"/>
                    <a:gd name="connsiteY78" fmla="*/ 592138 h 1181100"/>
                    <a:gd name="connsiteX79" fmla="*/ 219074 w 1179512"/>
                    <a:gd name="connsiteY79" fmla="*/ 592138 h 1181100"/>
                    <a:gd name="connsiteX80" fmla="*/ 219074 w 1179512"/>
                    <a:gd name="connsiteY80" fmla="*/ 665163 h 1181100"/>
                    <a:gd name="connsiteX81" fmla="*/ 1587 w 1179512"/>
                    <a:gd name="connsiteY81" fmla="*/ 665163 h 1181100"/>
                    <a:gd name="connsiteX82" fmla="*/ 1587 w 1179512"/>
                    <a:gd name="connsiteY82" fmla="*/ 519113 h 1181100"/>
                    <a:gd name="connsiteX83" fmla="*/ 589509 w 1179512"/>
                    <a:gd name="connsiteY83" fmla="*/ 368915 h 1181100"/>
                    <a:gd name="connsiteX84" fmla="*/ 663795 w 1179512"/>
                    <a:gd name="connsiteY84" fmla="*/ 368915 h 1181100"/>
                    <a:gd name="connsiteX85" fmla="*/ 663795 w 1179512"/>
                    <a:gd name="connsiteY85" fmla="*/ 516910 h 1181100"/>
                    <a:gd name="connsiteX86" fmla="*/ 810939 w 1179512"/>
                    <a:gd name="connsiteY86" fmla="*/ 516910 h 1181100"/>
                    <a:gd name="connsiteX87" fmla="*/ 810939 w 1179512"/>
                    <a:gd name="connsiteY87" fmla="*/ 589835 h 1181100"/>
                    <a:gd name="connsiteX88" fmla="*/ 885225 w 1179512"/>
                    <a:gd name="connsiteY88" fmla="*/ 589835 h 1181100"/>
                    <a:gd name="connsiteX89" fmla="*/ 885225 w 1179512"/>
                    <a:gd name="connsiteY89" fmla="*/ 517625 h 1181100"/>
                    <a:gd name="connsiteX90" fmla="*/ 958797 w 1179512"/>
                    <a:gd name="connsiteY90" fmla="*/ 517625 h 1181100"/>
                    <a:gd name="connsiteX91" fmla="*/ 958797 w 1179512"/>
                    <a:gd name="connsiteY91" fmla="*/ 590550 h 1181100"/>
                    <a:gd name="connsiteX92" fmla="*/ 1031875 w 1179512"/>
                    <a:gd name="connsiteY92" fmla="*/ 590550 h 1181100"/>
                    <a:gd name="connsiteX93" fmla="*/ 1031875 w 1179512"/>
                    <a:gd name="connsiteY93" fmla="*/ 519113 h 1181100"/>
                    <a:gd name="connsiteX94" fmla="*/ 1179512 w 1179512"/>
                    <a:gd name="connsiteY94" fmla="*/ 519113 h 1181100"/>
                    <a:gd name="connsiteX95" fmla="*/ 1179512 w 1179512"/>
                    <a:gd name="connsiteY95" fmla="*/ 665163 h 1181100"/>
                    <a:gd name="connsiteX96" fmla="*/ 1106050 w 1179512"/>
                    <a:gd name="connsiteY96" fmla="*/ 665163 h 1181100"/>
                    <a:gd name="connsiteX97" fmla="*/ 1106050 w 1179512"/>
                    <a:gd name="connsiteY97" fmla="*/ 592138 h 1181100"/>
                    <a:gd name="connsiteX98" fmla="*/ 1032669 w 1179512"/>
                    <a:gd name="connsiteY98" fmla="*/ 592138 h 1181100"/>
                    <a:gd name="connsiteX99" fmla="*/ 1032385 w 1179512"/>
                    <a:gd name="connsiteY99" fmla="*/ 592138 h 1181100"/>
                    <a:gd name="connsiteX100" fmla="*/ 1032387 w 1179512"/>
                    <a:gd name="connsiteY100" fmla="*/ 592420 h 1181100"/>
                    <a:gd name="connsiteX101" fmla="*/ 1032669 w 1179512"/>
                    <a:gd name="connsiteY101" fmla="*/ 592138 h 1181100"/>
                    <a:gd name="connsiteX102" fmla="*/ 1033463 w 1179512"/>
                    <a:gd name="connsiteY102" fmla="*/ 592932 h 1181100"/>
                    <a:gd name="connsiteX103" fmla="*/ 1032669 w 1179512"/>
                    <a:gd name="connsiteY103" fmla="*/ 593726 h 1181100"/>
                    <a:gd name="connsiteX104" fmla="*/ 1032397 w 1179512"/>
                    <a:gd name="connsiteY104" fmla="*/ 593454 h 1181100"/>
                    <a:gd name="connsiteX105" fmla="*/ 1033083 w 1179512"/>
                    <a:gd name="connsiteY105" fmla="*/ 664905 h 1181100"/>
                    <a:gd name="connsiteX106" fmla="*/ 1105940 w 1179512"/>
                    <a:gd name="connsiteY106" fmla="*/ 664905 h 1181100"/>
                    <a:gd name="connsiteX107" fmla="*/ 1105940 w 1179512"/>
                    <a:gd name="connsiteY107" fmla="*/ 812185 h 1181100"/>
                    <a:gd name="connsiteX108" fmla="*/ 1179512 w 1179512"/>
                    <a:gd name="connsiteY108" fmla="*/ 812185 h 1181100"/>
                    <a:gd name="connsiteX109" fmla="*/ 1179512 w 1179512"/>
                    <a:gd name="connsiteY109" fmla="*/ 885825 h 1181100"/>
                    <a:gd name="connsiteX110" fmla="*/ 1106655 w 1179512"/>
                    <a:gd name="connsiteY110" fmla="*/ 885825 h 1181100"/>
                    <a:gd name="connsiteX111" fmla="*/ 1106655 w 1179512"/>
                    <a:gd name="connsiteY111" fmla="*/ 1033820 h 1181100"/>
                    <a:gd name="connsiteX112" fmla="*/ 1179512 w 1179512"/>
                    <a:gd name="connsiteY112" fmla="*/ 1033820 h 1181100"/>
                    <a:gd name="connsiteX113" fmla="*/ 1179512 w 1179512"/>
                    <a:gd name="connsiteY113" fmla="*/ 1181100 h 1181100"/>
                    <a:gd name="connsiteX114" fmla="*/ 968083 w 1179512"/>
                    <a:gd name="connsiteY114" fmla="*/ 1181100 h 1181100"/>
                    <a:gd name="connsiteX115" fmla="*/ 968083 w 1179512"/>
                    <a:gd name="connsiteY115" fmla="*/ 1107460 h 1181100"/>
                    <a:gd name="connsiteX116" fmla="*/ 1031654 w 1179512"/>
                    <a:gd name="connsiteY116" fmla="*/ 1107460 h 1181100"/>
                    <a:gd name="connsiteX117" fmla="*/ 1031654 w 1179512"/>
                    <a:gd name="connsiteY117" fmla="*/ 1034535 h 1181100"/>
                    <a:gd name="connsiteX118" fmla="*/ 958797 w 1179512"/>
                    <a:gd name="connsiteY118" fmla="*/ 1034535 h 1181100"/>
                    <a:gd name="connsiteX119" fmla="*/ 958797 w 1179512"/>
                    <a:gd name="connsiteY119" fmla="*/ 1107460 h 1181100"/>
                    <a:gd name="connsiteX120" fmla="*/ 885225 w 1179512"/>
                    <a:gd name="connsiteY120" fmla="*/ 1107460 h 1181100"/>
                    <a:gd name="connsiteX121" fmla="*/ 885225 w 1179512"/>
                    <a:gd name="connsiteY121" fmla="*/ 1180385 h 1181100"/>
                    <a:gd name="connsiteX122" fmla="*/ 738081 w 1179512"/>
                    <a:gd name="connsiteY122" fmla="*/ 1180385 h 1181100"/>
                    <a:gd name="connsiteX123" fmla="*/ 738081 w 1179512"/>
                    <a:gd name="connsiteY123" fmla="*/ 1107460 h 1181100"/>
                    <a:gd name="connsiteX124" fmla="*/ 810225 w 1179512"/>
                    <a:gd name="connsiteY124" fmla="*/ 1107460 h 1181100"/>
                    <a:gd name="connsiteX125" fmla="*/ 810225 w 1179512"/>
                    <a:gd name="connsiteY125" fmla="*/ 1033820 h 1181100"/>
                    <a:gd name="connsiteX126" fmla="*/ 737367 w 1179512"/>
                    <a:gd name="connsiteY126" fmla="*/ 1033820 h 1181100"/>
                    <a:gd name="connsiteX127" fmla="*/ 737367 w 1179512"/>
                    <a:gd name="connsiteY127" fmla="*/ 664190 h 1181100"/>
                    <a:gd name="connsiteX128" fmla="*/ 589509 w 1179512"/>
                    <a:gd name="connsiteY128" fmla="*/ 664190 h 1181100"/>
                    <a:gd name="connsiteX129" fmla="*/ 589509 w 1179512"/>
                    <a:gd name="connsiteY129" fmla="*/ 516910 h 1181100"/>
                    <a:gd name="connsiteX130" fmla="*/ 516652 w 1179512"/>
                    <a:gd name="connsiteY130" fmla="*/ 516910 h 1181100"/>
                    <a:gd name="connsiteX131" fmla="*/ 516652 w 1179512"/>
                    <a:gd name="connsiteY131" fmla="*/ 443270 h 1181100"/>
                    <a:gd name="connsiteX132" fmla="*/ 589509 w 1179512"/>
                    <a:gd name="connsiteY132" fmla="*/ 443270 h 1181100"/>
                    <a:gd name="connsiteX133" fmla="*/ 589509 w 1179512"/>
                    <a:gd name="connsiteY133" fmla="*/ 368915 h 1181100"/>
                    <a:gd name="connsiteX134" fmla="*/ 884237 w 1179512"/>
                    <a:gd name="connsiteY134" fmla="*/ 149225 h 1181100"/>
                    <a:gd name="connsiteX135" fmla="*/ 1031874 w 1179512"/>
                    <a:gd name="connsiteY135" fmla="*/ 149225 h 1181100"/>
                    <a:gd name="connsiteX136" fmla="*/ 1031874 w 1179512"/>
                    <a:gd name="connsiteY136" fmla="*/ 295275 h 1181100"/>
                    <a:gd name="connsiteX137" fmla="*/ 884237 w 1179512"/>
                    <a:gd name="connsiteY137" fmla="*/ 295275 h 1181100"/>
                    <a:gd name="connsiteX138" fmla="*/ 884237 w 1179512"/>
                    <a:gd name="connsiteY138" fmla="*/ 149225 h 1181100"/>
                    <a:gd name="connsiteX139" fmla="*/ 146050 w 1179512"/>
                    <a:gd name="connsiteY139" fmla="*/ 149225 h 1181100"/>
                    <a:gd name="connsiteX140" fmla="*/ 293687 w 1179512"/>
                    <a:gd name="connsiteY140" fmla="*/ 149225 h 1181100"/>
                    <a:gd name="connsiteX141" fmla="*/ 293687 w 1179512"/>
                    <a:gd name="connsiteY141" fmla="*/ 295275 h 1181100"/>
                    <a:gd name="connsiteX142" fmla="*/ 146050 w 1179512"/>
                    <a:gd name="connsiteY142" fmla="*/ 295275 h 1181100"/>
                    <a:gd name="connsiteX143" fmla="*/ 146050 w 1179512"/>
                    <a:gd name="connsiteY143" fmla="*/ 149225 h 1181100"/>
                    <a:gd name="connsiteX144" fmla="*/ 811212 w 1179512"/>
                    <a:gd name="connsiteY144" fmla="*/ 74613 h 1181100"/>
                    <a:gd name="connsiteX145" fmla="*/ 811212 w 1179512"/>
                    <a:gd name="connsiteY145" fmla="*/ 369888 h 1181100"/>
                    <a:gd name="connsiteX146" fmla="*/ 1104899 w 1179512"/>
                    <a:gd name="connsiteY146" fmla="*/ 369888 h 1181100"/>
                    <a:gd name="connsiteX147" fmla="*/ 1104899 w 1179512"/>
                    <a:gd name="connsiteY147" fmla="*/ 74613 h 1181100"/>
                    <a:gd name="connsiteX148" fmla="*/ 811212 w 1179512"/>
                    <a:gd name="connsiteY148" fmla="*/ 74613 h 1181100"/>
                    <a:gd name="connsiteX149" fmla="*/ 73025 w 1179512"/>
                    <a:gd name="connsiteY149" fmla="*/ 74613 h 1181100"/>
                    <a:gd name="connsiteX150" fmla="*/ 73025 w 1179512"/>
                    <a:gd name="connsiteY150" fmla="*/ 368300 h 1181100"/>
                    <a:gd name="connsiteX151" fmla="*/ 366712 w 1179512"/>
                    <a:gd name="connsiteY151" fmla="*/ 368300 h 1181100"/>
                    <a:gd name="connsiteX152" fmla="*/ 366712 w 1179512"/>
                    <a:gd name="connsiteY152" fmla="*/ 74613 h 1181100"/>
                    <a:gd name="connsiteX153" fmla="*/ 73025 w 1179512"/>
                    <a:gd name="connsiteY153" fmla="*/ 74613 h 1181100"/>
                    <a:gd name="connsiteX154" fmla="*/ 736600 w 1179512"/>
                    <a:gd name="connsiteY154" fmla="*/ 0 h 1181100"/>
                    <a:gd name="connsiteX155" fmla="*/ 1179512 w 1179512"/>
                    <a:gd name="connsiteY155" fmla="*/ 0 h 1181100"/>
                    <a:gd name="connsiteX156" fmla="*/ 1179512 w 1179512"/>
                    <a:gd name="connsiteY156" fmla="*/ 442912 h 1181100"/>
                    <a:gd name="connsiteX157" fmla="*/ 736600 w 1179512"/>
                    <a:gd name="connsiteY157" fmla="*/ 442912 h 1181100"/>
                    <a:gd name="connsiteX158" fmla="*/ 736600 w 1179512"/>
                    <a:gd name="connsiteY158" fmla="*/ 0 h 1181100"/>
                    <a:gd name="connsiteX159" fmla="*/ 515937 w 1179512"/>
                    <a:gd name="connsiteY159" fmla="*/ 0 h 1181100"/>
                    <a:gd name="connsiteX160" fmla="*/ 663081 w 1179512"/>
                    <a:gd name="connsiteY160" fmla="*/ 0 h 1181100"/>
                    <a:gd name="connsiteX161" fmla="*/ 663081 w 1179512"/>
                    <a:gd name="connsiteY161" fmla="*/ 220920 h 1181100"/>
                    <a:gd name="connsiteX162" fmla="*/ 589509 w 1179512"/>
                    <a:gd name="connsiteY162" fmla="*/ 220920 h 1181100"/>
                    <a:gd name="connsiteX163" fmla="*/ 589509 w 1179512"/>
                    <a:gd name="connsiteY163" fmla="*/ 368915 h 1181100"/>
                    <a:gd name="connsiteX164" fmla="*/ 516652 w 1179512"/>
                    <a:gd name="connsiteY164" fmla="*/ 368915 h 1181100"/>
                    <a:gd name="connsiteX165" fmla="*/ 516652 w 1179512"/>
                    <a:gd name="connsiteY165" fmla="*/ 147995 h 1181100"/>
                    <a:gd name="connsiteX166" fmla="*/ 588795 w 1179512"/>
                    <a:gd name="connsiteY166" fmla="*/ 147995 h 1181100"/>
                    <a:gd name="connsiteX167" fmla="*/ 588795 w 1179512"/>
                    <a:gd name="connsiteY167" fmla="*/ 74355 h 1181100"/>
                    <a:gd name="connsiteX168" fmla="*/ 515937 w 1179512"/>
                    <a:gd name="connsiteY168" fmla="*/ 74355 h 1181100"/>
                    <a:gd name="connsiteX169" fmla="*/ 515937 w 1179512"/>
                    <a:gd name="connsiteY169" fmla="*/ 0 h 1181100"/>
                    <a:gd name="connsiteX170" fmla="*/ 0 w 1179512"/>
                    <a:gd name="connsiteY170" fmla="*/ 0 h 1181100"/>
                    <a:gd name="connsiteX171" fmla="*/ 441325 w 1179512"/>
                    <a:gd name="connsiteY171" fmla="*/ 0 h 1181100"/>
                    <a:gd name="connsiteX172" fmla="*/ 441325 w 1179512"/>
                    <a:gd name="connsiteY172" fmla="*/ 442912 h 1181100"/>
                    <a:gd name="connsiteX173" fmla="*/ 0 w 1179512"/>
                    <a:gd name="connsiteY173" fmla="*/ 442912 h 1181100"/>
                    <a:gd name="connsiteX174" fmla="*/ 0 w 1179512"/>
                    <a:gd name="connsiteY174" fmla="*/ 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79512" h="1181100">
                      <a:moveTo>
                        <a:pt x="588962" y="1109663"/>
                      </a:moveTo>
                      <a:cubicBezTo>
                        <a:pt x="613304" y="1109663"/>
                        <a:pt x="636930" y="1109663"/>
                        <a:pt x="661987" y="1109663"/>
                      </a:cubicBezTo>
                      <a:cubicBezTo>
                        <a:pt x="661987" y="1132471"/>
                        <a:pt x="661987" y="1155992"/>
                        <a:pt x="661987" y="1179513"/>
                      </a:cubicBezTo>
                      <a:cubicBezTo>
                        <a:pt x="638362" y="1179513"/>
                        <a:pt x="614020" y="1179513"/>
                        <a:pt x="588962" y="1179513"/>
                      </a:cubicBezTo>
                      <a:cubicBezTo>
                        <a:pt x="588962" y="1155992"/>
                        <a:pt x="588962" y="1132471"/>
                        <a:pt x="588962" y="1109663"/>
                      </a:cubicBezTo>
                      <a:close/>
                      <a:moveTo>
                        <a:pt x="515937" y="1036638"/>
                      </a:moveTo>
                      <a:cubicBezTo>
                        <a:pt x="540279" y="1036638"/>
                        <a:pt x="564621" y="1036638"/>
                        <a:pt x="588962" y="1036638"/>
                      </a:cubicBezTo>
                      <a:cubicBezTo>
                        <a:pt x="588962" y="1060743"/>
                        <a:pt x="588962" y="1084849"/>
                        <a:pt x="588962" y="1109663"/>
                      </a:cubicBezTo>
                      <a:cubicBezTo>
                        <a:pt x="564621" y="1109663"/>
                        <a:pt x="540995" y="1109663"/>
                        <a:pt x="515937" y="1109663"/>
                      </a:cubicBezTo>
                      <a:cubicBezTo>
                        <a:pt x="515937" y="1084849"/>
                        <a:pt x="515937" y="1061452"/>
                        <a:pt x="515937" y="1036638"/>
                      </a:cubicBezTo>
                      <a:close/>
                      <a:moveTo>
                        <a:pt x="811212" y="887413"/>
                      </a:moveTo>
                      <a:cubicBezTo>
                        <a:pt x="811212" y="912169"/>
                        <a:pt x="811212" y="935509"/>
                        <a:pt x="811212" y="958850"/>
                      </a:cubicBezTo>
                      <a:cubicBezTo>
                        <a:pt x="836518" y="958850"/>
                        <a:pt x="860378" y="958850"/>
                        <a:pt x="884237" y="958850"/>
                      </a:cubicBezTo>
                      <a:cubicBezTo>
                        <a:pt x="884237" y="934802"/>
                        <a:pt x="884237" y="911461"/>
                        <a:pt x="884237" y="887413"/>
                      </a:cubicBezTo>
                      <a:cubicBezTo>
                        <a:pt x="859655" y="887413"/>
                        <a:pt x="835795" y="887413"/>
                        <a:pt x="811212" y="887413"/>
                      </a:cubicBezTo>
                      <a:close/>
                      <a:moveTo>
                        <a:pt x="146050" y="887413"/>
                      </a:moveTo>
                      <a:cubicBezTo>
                        <a:pt x="195263" y="887413"/>
                        <a:pt x="243762" y="887413"/>
                        <a:pt x="293687" y="887413"/>
                      </a:cubicBezTo>
                      <a:cubicBezTo>
                        <a:pt x="293687" y="936625"/>
                        <a:pt x="293687" y="985838"/>
                        <a:pt x="293687" y="1035050"/>
                      </a:cubicBezTo>
                      <a:cubicBezTo>
                        <a:pt x="244475" y="1035050"/>
                        <a:pt x="195976" y="1035050"/>
                        <a:pt x="146050" y="1035050"/>
                      </a:cubicBezTo>
                      <a:cubicBezTo>
                        <a:pt x="146050" y="985838"/>
                        <a:pt x="146050" y="937339"/>
                        <a:pt x="146050" y="887413"/>
                      </a:cubicBezTo>
                      <a:close/>
                      <a:moveTo>
                        <a:pt x="958850" y="812800"/>
                      </a:moveTo>
                      <a:cubicBezTo>
                        <a:pt x="958850" y="861246"/>
                        <a:pt x="958850" y="910404"/>
                        <a:pt x="958850" y="958850"/>
                      </a:cubicBezTo>
                      <a:cubicBezTo>
                        <a:pt x="983908" y="958850"/>
                        <a:pt x="1007534" y="958850"/>
                        <a:pt x="1031875" y="958850"/>
                      </a:cubicBezTo>
                      <a:cubicBezTo>
                        <a:pt x="1031875" y="909692"/>
                        <a:pt x="1031875" y="861958"/>
                        <a:pt x="1031875" y="812800"/>
                      </a:cubicBezTo>
                      <a:cubicBezTo>
                        <a:pt x="1006818" y="812800"/>
                        <a:pt x="982476" y="812800"/>
                        <a:pt x="958850" y="812800"/>
                      </a:cubicBezTo>
                      <a:close/>
                      <a:moveTo>
                        <a:pt x="74612" y="812800"/>
                      </a:moveTo>
                      <a:cubicBezTo>
                        <a:pt x="74612" y="910935"/>
                        <a:pt x="74612" y="1008353"/>
                        <a:pt x="74612" y="1106487"/>
                      </a:cubicBezTo>
                      <a:cubicBezTo>
                        <a:pt x="172216" y="1106487"/>
                        <a:pt x="269108" y="1106487"/>
                        <a:pt x="366712" y="1106487"/>
                      </a:cubicBezTo>
                      <a:cubicBezTo>
                        <a:pt x="366712" y="1007636"/>
                        <a:pt x="366712" y="910218"/>
                        <a:pt x="366712" y="812800"/>
                      </a:cubicBezTo>
                      <a:cubicBezTo>
                        <a:pt x="268396" y="812800"/>
                        <a:pt x="172216" y="812800"/>
                        <a:pt x="74612" y="812800"/>
                      </a:cubicBezTo>
                      <a:close/>
                      <a:moveTo>
                        <a:pt x="588962" y="739775"/>
                      </a:moveTo>
                      <a:cubicBezTo>
                        <a:pt x="613304" y="739775"/>
                        <a:pt x="636930" y="739775"/>
                        <a:pt x="661987" y="739775"/>
                      </a:cubicBezTo>
                      <a:cubicBezTo>
                        <a:pt x="661987" y="837723"/>
                        <a:pt x="661987" y="935672"/>
                        <a:pt x="661987" y="1035050"/>
                      </a:cubicBezTo>
                      <a:cubicBezTo>
                        <a:pt x="637646" y="1035050"/>
                        <a:pt x="614020" y="1035050"/>
                        <a:pt x="589678" y="1035050"/>
                      </a:cubicBezTo>
                      <a:cubicBezTo>
                        <a:pt x="589678" y="995728"/>
                        <a:pt x="588962" y="957120"/>
                        <a:pt x="588962" y="917798"/>
                      </a:cubicBezTo>
                      <a:cubicBezTo>
                        <a:pt x="588962" y="908504"/>
                        <a:pt x="588962" y="898494"/>
                        <a:pt x="588962" y="887770"/>
                      </a:cubicBezTo>
                      <a:cubicBezTo>
                        <a:pt x="564621" y="887770"/>
                        <a:pt x="540995" y="887770"/>
                        <a:pt x="515937" y="887770"/>
                      </a:cubicBezTo>
                      <a:cubicBezTo>
                        <a:pt x="515937" y="862747"/>
                        <a:pt x="515937" y="838438"/>
                        <a:pt x="515937" y="813415"/>
                      </a:cubicBezTo>
                      <a:cubicBezTo>
                        <a:pt x="539563" y="813415"/>
                        <a:pt x="563905" y="813415"/>
                        <a:pt x="588962" y="813415"/>
                      </a:cubicBezTo>
                      <a:cubicBezTo>
                        <a:pt x="588962" y="788392"/>
                        <a:pt x="588962" y="764083"/>
                        <a:pt x="588962" y="739775"/>
                      </a:cubicBezTo>
                      <a:close/>
                      <a:moveTo>
                        <a:pt x="1587" y="739775"/>
                      </a:moveTo>
                      <a:cubicBezTo>
                        <a:pt x="148642" y="739775"/>
                        <a:pt x="294983" y="739775"/>
                        <a:pt x="441324" y="739775"/>
                      </a:cubicBezTo>
                      <a:cubicBezTo>
                        <a:pt x="441324" y="886116"/>
                        <a:pt x="441324" y="1031743"/>
                        <a:pt x="441324" y="1179512"/>
                      </a:cubicBezTo>
                      <a:cubicBezTo>
                        <a:pt x="294983" y="1179512"/>
                        <a:pt x="149356" y="1179512"/>
                        <a:pt x="1587" y="1179512"/>
                      </a:cubicBezTo>
                      <a:cubicBezTo>
                        <a:pt x="1587" y="1033171"/>
                        <a:pt x="1587" y="886830"/>
                        <a:pt x="1587" y="739775"/>
                      </a:cubicBezTo>
                      <a:close/>
                      <a:moveTo>
                        <a:pt x="958850" y="665163"/>
                      </a:moveTo>
                      <a:cubicBezTo>
                        <a:pt x="958850" y="690686"/>
                        <a:pt x="958850" y="714083"/>
                        <a:pt x="958850" y="738188"/>
                      </a:cubicBezTo>
                      <a:cubicBezTo>
                        <a:pt x="982956" y="738188"/>
                        <a:pt x="1007061" y="738188"/>
                        <a:pt x="1031875" y="738188"/>
                      </a:cubicBezTo>
                      <a:cubicBezTo>
                        <a:pt x="1031875" y="712665"/>
                        <a:pt x="1031875" y="689268"/>
                        <a:pt x="1031875" y="665163"/>
                      </a:cubicBezTo>
                      <a:cubicBezTo>
                        <a:pt x="1007770" y="665163"/>
                        <a:pt x="982956" y="665163"/>
                        <a:pt x="958850" y="665163"/>
                      </a:cubicBezTo>
                      <a:close/>
                      <a:moveTo>
                        <a:pt x="811212" y="665163"/>
                      </a:moveTo>
                      <a:cubicBezTo>
                        <a:pt x="811212" y="714614"/>
                        <a:pt x="811212" y="763349"/>
                        <a:pt x="811212" y="812800"/>
                      </a:cubicBezTo>
                      <a:cubicBezTo>
                        <a:pt x="860663" y="812800"/>
                        <a:pt x="909398" y="812800"/>
                        <a:pt x="958133" y="812800"/>
                      </a:cubicBezTo>
                      <a:cubicBezTo>
                        <a:pt x="958133" y="788433"/>
                        <a:pt x="958133" y="763349"/>
                        <a:pt x="958849" y="738982"/>
                      </a:cubicBezTo>
                      <a:cubicBezTo>
                        <a:pt x="933765" y="738982"/>
                        <a:pt x="909398" y="738982"/>
                        <a:pt x="884314" y="738982"/>
                      </a:cubicBezTo>
                      <a:cubicBezTo>
                        <a:pt x="884314" y="713181"/>
                        <a:pt x="884314" y="689530"/>
                        <a:pt x="884314" y="665163"/>
                      </a:cubicBezTo>
                      <a:cubicBezTo>
                        <a:pt x="859230" y="665163"/>
                        <a:pt x="835580" y="665163"/>
                        <a:pt x="811212" y="665163"/>
                      </a:cubicBezTo>
                      <a:close/>
                      <a:moveTo>
                        <a:pt x="515937" y="665163"/>
                      </a:moveTo>
                      <a:cubicBezTo>
                        <a:pt x="540279" y="665163"/>
                        <a:pt x="564621" y="665163"/>
                        <a:pt x="588962" y="665163"/>
                      </a:cubicBezTo>
                      <a:cubicBezTo>
                        <a:pt x="588962" y="690034"/>
                        <a:pt x="588246" y="714904"/>
                        <a:pt x="588246" y="739775"/>
                      </a:cubicBezTo>
                      <a:cubicBezTo>
                        <a:pt x="564621" y="739775"/>
                        <a:pt x="540279" y="739775"/>
                        <a:pt x="515937" y="739775"/>
                      </a:cubicBezTo>
                      <a:cubicBezTo>
                        <a:pt x="515937" y="714904"/>
                        <a:pt x="515937" y="690744"/>
                        <a:pt x="515937" y="665163"/>
                      </a:cubicBezTo>
                      <a:close/>
                      <a:moveTo>
                        <a:pt x="366580" y="519113"/>
                      </a:moveTo>
                      <a:cubicBezTo>
                        <a:pt x="417318" y="519113"/>
                        <a:pt x="465913" y="519113"/>
                        <a:pt x="515937" y="519113"/>
                      </a:cubicBezTo>
                      <a:cubicBezTo>
                        <a:pt x="515937" y="543455"/>
                        <a:pt x="515937" y="567796"/>
                        <a:pt x="515937" y="592138"/>
                      </a:cubicBezTo>
                      <a:cubicBezTo>
                        <a:pt x="490925" y="592138"/>
                        <a:pt x="465913" y="592138"/>
                        <a:pt x="441616" y="592138"/>
                      </a:cubicBezTo>
                      <a:cubicBezTo>
                        <a:pt x="441616" y="617195"/>
                        <a:pt x="441616" y="640821"/>
                        <a:pt x="441616" y="665163"/>
                      </a:cubicBezTo>
                      <a:cubicBezTo>
                        <a:pt x="392306" y="665163"/>
                        <a:pt x="343711" y="665163"/>
                        <a:pt x="293687" y="665163"/>
                      </a:cubicBezTo>
                      <a:cubicBezTo>
                        <a:pt x="293687" y="640821"/>
                        <a:pt x="293687" y="616480"/>
                        <a:pt x="293687" y="592138"/>
                      </a:cubicBezTo>
                      <a:cubicBezTo>
                        <a:pt x="317270" y="592138"/>
                        <a:pt x="341567" y="592138"/>
                        <a:pt x="366580" y="592138"/>
                      </a:cubicBezTo>
                      <a:cubicBezTo>
                        <a:pt x="366580" y="567796"/>
                        <a:pt x="366580" y="544170"/>
                        <a:pt x="366580" y="519113"/>
                      </a:cubicBezTo>
                      <a:close/>
                      <a:moveTo>
                        <a:pt x="219075" y="519113"/>
                      </a:moveTo>
                      <a:cubicBezTo>
                        <a:pt x="244657" y="519113"/>
                        <a:pt x="268817" y="519113"/>
                        <a:pt x="293687" y="519113"/>
                      </a:cubicBezTo>
                      <a:cubicBezTo>
                        <a:pt x="293687" y="543455"/>
                        <a:pt x="293687" y="567796"/>
                        <a:pt x="293687" y="592138"/>
                      </a:cubicBezTo>
                      <a:cubicBezTo>
                        <a:pt x="268817" y="592138"/>
                        <a:pt x="244657" y="592138"/>
                        <a:pt x="219075" y="591422"/>
                      </a:cubicBezTo>
                      <a:cubicBezTo>
                        <a:pt x="219075" y="567796"/>
                        <a:pt x="219075" y="543455"/>
                        <a:pt x="219075" y="519113"/>
                      </a:cubicBezTo>
                      <a:close/>
                      <a:moveTo>
                        <a:pt x="1587" y="519113"/>
                      </a:moveTo>
                      <a:cubicBezTo>
                        <a:pt x="50076" y="519113"/>
                        <a:pt x="97851" y="519113"/>
                        <a:pt x="146341" y="519113"/>
                      </a:cubicBezTo>
                      <a:cubicBezTo>
                        <a:pt x="146341" y="542739"/>
                        <a:pt x="146341" y="566364"/>
                        <a:pt x="146341" y="592138"/>
                      </a:cubicBezTo>
                      <a:cubicBezTo>
                        <a:pt x="171298" y="592138"/>
                        <a:pt x="195543" y="592138"/>
                        <a:pt x="219074" y="592138"/>
                      </a:cubicBezTo>
                      <a:cubicBezTo>
                        <a:pt x="219074" y="615764"/>
                        <a:pt x="219074" y="640105"/>
                        <a:pt x="219074" y="665163"/>
                      </a:cubicBezTo>
                      <a:cubicBezTo>
                        <a:pt x="147054" y="665163"/>
                        <a:pt x="74320" y="665163"/>
                        <a:pt x="1587" y="665163"/>
                      </a:cubicBezTo>
                      <a:cubicBezTo>
                        <a:pt x="1587" y="617195"/>
                        <a:pt x="1587" y="568512"/>
                        <a:pt x="1587" y="519113"/>
                      </a:cubicBezTo>
                      <a:close/>
                      <a:moveTo>
                        <a:pt x="589509" y="368915"/>
                      </a:moveTo>
                      <a:cubicBezTo>
                        <a:pt x="613795" y="368915"/>
                        <a:pt x="638081" y="368915"/>
                        <a:pt x="663795" y="368915"/>
                      </a:cubicBezTo>
                      <a:cubicBezTo>
                        <a:pt x="663795" y="418962"/>
                        <a:pt x="663795" y="467578"/>
                        <a:pt x="663795" y="516910"/>
                      </a:cubicBezTo>
                      <a:cubicBezTo>
                        <a:pt x="713081" y="516910"/>
                        <a:pt x="761653" y="516910"/>
                        <a:pt x="810939" y="516910"/>
                      </a:cubicBezTo>
                      <a:cubicBezTo>
                        <a:pt x="810939" y="541933"/>
                        <a:pt x="810939" y="565527"/>
                        <a:pt x="810939" y="589835"/>
                      </a:cubicBezTo>
                      <a:cubicBezTo>
                        <a:pt x="835939" y="589835"/>
                        <a:pt x="860225" y="589835"/>
                        <a:pt x="885225" y="589835"/>
                      </a:cubicBezTo>
                      <a:cubicBezTo>
                        <a:pt x="885225" y="564812"/>
                        <a:pt x="885225" y="541218"/>
                        <a:pt x="885225" y="517625"/>
                      </a:cubicBezTo>
                      <a:cubicBezTo>
                        <a:pt x="910225" y="517625"/>
                        <a:pt x="933797" y="517625"/>
                        <a:pt x="958797" y="517625"/>
                      </a:cubicBezTo>
                      <a:cubicBezTo>
                        <a:pt x="958797" y="541933"/>
                        <a:pt x="958797" y="566242"/>
                        <a:pt x="958797" y="590550"/>
                      </a:cubicBezTo>
                      <a:lnTo>
                        <a:pt x="1031875" y="590550"/>
                      </a:lnTo>
                      <a:lnTo>
                        <a:pt x="1031875" y="519113"/>
                      </a:lnTo>
                      <a:cubicBezTo>
                        <a:pt x="1081801" y="519113"/>
                        <a:pt x="1131013" y="519113"/>
                        <a:pt x="1179512" y="519113"/>
                      </a:cubicBezTo>
                      <a:cubicBezTo>
                        <a:pt x="1179512" y="567796"/>
                        <a:pt x="1179512" y="616480"/>
                        <a:pt x="1179512" y="665163"/>
                      </a:cubicBezTo>
                      <a:cubicBezTo>
                        <a:pt x="1155263" y="665163"/>
                        <a:pt x="1131013" y="665163"/>
                        <a:pt x="1106050" y="665163"/>
                      </a:cubicBezTo>
                      <a:cubicBezTo>
                        <a:pt x="1106050" y="640821"/>
                        <a:pt x="1106050" y="617195"/>
                        <a:pt x="1106050" y="592138"/>
                      </a:cubicBezTo>
                      <a:lnTo>
                        <a:pt x="1032669" y="592138"/>
                      </a:lnTo>
                      <a:lnTo>
                        <a:pt x="1032385" y="592138"/>
                      </a:lnTo>
                      <a:lnTo>
                        <a:pt x="1032387" y="592420"/>
                      </a:lnTo>
                      <a:lnTo>
                        <a:pt x="1032669" y="592138"/>
                      </a:lnTo>
                      <a:cubicBezTo>
                        <a:pt x="1033108" y="592138"/>
                        <a:pt x="1033463" y="592493"/>
                        <a:pt x="1033463" y="592932"/>
                      </a:cubicBezTo>
                      <a:cubicBezTo>
                        <a:pt x="1033463" y="593370"/>
                        <a:pt x="1033108" y="593726"/>
                        <a:pt x="1032669" y="593726"/>
                      </a:cubicBezTo>
                      <a:lnTo>
                        <a:pt x="1032397" y="593454"/>
                      </a:lnTo>
                      <a:lnTo>
                        <a:pt x="1033083" y="664905"/>
                      </a:lnTo>
                      <a:cubicBezTo>
                        <a:pt x="1057369" y="664905"/>
                        <a:pt x="1081655" y="664905"/>
                        <a:pt x="1105940" y="664905"/>
                      </a:cubicBezTo>
                      <a:cubicBezTo>
                        <a:pt x="1105940" y="713522"/>
                        <a:pt x="1105940" y="762139"/>
                        <a:pt x="1105940" y="812185"/>
                      </a:cubicBezTo>
                      <a:cubicBezTo>
                        <a:pt x="1131655" y="812185"/>
                        <a:pt x="1155941" y="812185"/>
                        <a:pt x="1179512" y="812185"/>
                      </a:cubicBezTo>
                      <a:cubicBezTo>
                        <a:pt x="1179512" y="836493"/>
                        <a:pt x="1179512" y="861517"/>
                        <a:pt x="1179512" y="885825"/>
                      </a:cubicBezTo>
                      <a:cubicBezTo>
                        <a:pt x="1155226" y="885825"/>
                        <a:pt x="1130941" y="885825"/>
                        <a:pt x="1106655" y="885825"/>
                      </a:cubicBezTo>
                      <a:cubicBezTo>
                        <a:pt x="1106655" y="935872"/>
                        <a:pt x="1106655" y="984488"/>
                        <a:pt x="1106655" y="1033820"/>
                      </a:cubicBezTo>
                      <a:cubicBezTo>
                        <a:pt x="1131655" y="1033820"/>
                        <a:pt x="1155941" y="1033820"/>
                        <a:pt x="1179512" y="1033820"/>
                      </a:cubicBezTo>
                      <a:cubicBezTo>
                        <a:pt x="1179512" y="1083152"/>
                        <a:pt x="1179512" y="1131769"/>
                        <a:pt x="1179512" y="1181100"/>
                      </a:cubicBezTo>
                      <a:cubicBezTo>
                        <a:pt x="1109512" y="1181100"/>
                        <a:pt x="1039511" y="1181100"/>
                        <a:pt x="968083" y="1181100"/>
                      </a:cubicBezTo>
                      <a:cubicBezTo>
                        <a:pt x="968083" y="1156792"/>
                        <a:pt x="968083" y="1132483"/>
                        <a:pt x="968083" y="1107460"/>
                      </a:cubicBezTo>
                      <a:cubicBezTo>
                        <a:pt x="989511" y="1107460"/>
                        <a:pt x="1010226" y="1107460"/>
                        <a:pt x="1031654" y="1107460"/>
                      </a:cubicBezTo>
                      <a:cubicBezTo>
                        <a:pt x="1031654" y="1083152"/>
                        <a:pt x="1031654" y="1058843"/>
                        <a:pt x="1031654" y="1034535"/>
                      </a:cubicBezTo>
                      <a:cubicBezTo>
                        <a:pt x="1007368" y="1034535"/>
                        <a:pt x="983797" y="1034535"/>
                        <a:pt x="958797" y="1034535"/>
                      </a:cubicBezTo>
                      <a:cubicBezTo>
                        <a:pt x="958797" y="1058129"/>
                        <a:pt x="958797" y="1081722"/>
                        <a:pt x="958797" y="1107460"/>
                      </a:cubicBezTo>
                      <a:cubicBezTo>
                        <a:pt x="933797" y="1107460"/>
                        <a:pt x="909511" y="1107460"/>
                        <a:pt x="885225" y="1107460"/>
                      </a:cubicBezTo>
                      <a:cubicBezTo>
                        <a:pt x="885225" y="1132483"/>
                        <a:pt x="885225" y="1156077"/>
                        <a:pt x="885225" y="1180385"/>
                      </a:cubicBezTo>
                      <a:cubicBezTo>
                        <a:pt x="835225" y="1180385"/>
                        <a:pt x="786653" y="1180385"/>
                        <a:pt x="738081" y="1180385"/>
                      </a:cubicBezTo>
                      <a:cubicBezTo>
                        <a:pt x="738081" y="1156792"/>
                        <a:pt x="738081" y="1132483"/>
                        <a:pt x="738081" y="1107460"/>
                      </a:cubicBezTo>
                      <a:cubicBezTo>
                        <a:pt x="761653" y="1107460"/>
                        <a:pt x="785224" y="1107460"/>
                        <a:pt x="810225" y="1107460"/>
                      </a:cubicBezTo>
                      <a:cubicBezTo>
                        <a:pt x="810225" y="1083152"/>
                        <a:pt x="810225" y="1058843"/>
                        <a:pt x="810225" y="1033820"/>
                      </a:cubicBezTo>
                      <a:cubicBezTo>
                        <a:pt x="785939" y="1033820"/>
                        <a:pt x="762367" y="1033820"/>
                        <a:pt x="737367" y="1033820"/>
                      </a:cubicBezTo>
                      <a:cubicBezTo>
                        <a:pt x="737367" y="910848"/>
                        <a:pt x="737367" y="788592"/>
                        <a:pt x="737367" y="664190"/>
                      </a:cubicBezTo>
                      <a:cubicBezTo>
                        <a:pt x="687367" y="664190"/>
                        <a:pt x="638795" y="664190"/>
                        <a:pt x="589509" y="664190"/>
                      </a:cubicBezTo>
                      <a:cubicBezTo>
                        <a:pt x="589509" y="615573"/>
                        <a:pt x="589509" y="566957"/>
                        <a:pt x="589509" y="516910"/>
                      </a:cubicBezTo>
                      <a:cubicBezTo>
                        <a:pt x="564509" y="516910"/>
                        <a:pt x="540937" y="516910"/>
                        <a:pt x="516652" y="516910"/>
                      </a:cubicBezTo>
                      <a:cubicBezTo>
                        <a:pt x="516652" y="492602"/>
                        <a:pt x="516652" y="468293"/>
                        <a:pt x="516652" y="443270"/>
                      </a:cubicBezTo>
                      <a:cubicBezTo>
                        <a:pt x="540223" y="443270"/>
                        <a:pt x="564509" y="443270"/>
                        <a:pt x="589509" y="443270"/>
                      </a:cubicBezTo>
                      <a:cubicBezTo>
                        <a:pt x="589509" y="417532"/>
                        <a:pt x="589509" y="393224"/>
                        <a:pt x="589509" y="368915"/>
                      </a:cubicBezTo>
                      <a:close/>
                      <a:moveTo>
                        <a:pt x="884237" y="149225"/>
                      </a:moveTo>
                      <a:cubicBezTo>
                        <a:pt x="932972" y="149225"/>
                        <a:pt x="982423" y="149225"/>
                        <a:pt x="1031874" y="149225"/>
                      </a:cubicBezTo>
                      <a:cubicBezTo>
                        <a:pt x="1031874" y="197436"/>
                        <a:pt x="1031874" y="246355"/>
                        <a:pt x="1031874" y="295275"/>
                      </a:cubicBezTo>
                      <a:cubicBezTo>
                        <a:pt x="983140" y="295275"/>
                        <a:pt x="933688" y="295275"/>
                        <a:pt x="884237" y="295275"/>
                      </a:cubicBezTo>
                      <a:cubicBezTo>
                        <a:pt x="884237" y="246355"/>
                        <a:pt x="884237" y="198145"/>
                        <a:pt x="884237" y="149225"/>
                      </a:cubicBezTo>
                      <a:close/>
                      <a:moveTo>
                        <a:pt x="146050" y="149225"/>
                      </a:moveTo>
                      <a:cubicBezTo>
                        <a:pt x="194549" y="149225"/>
                        <a:pt x="243762" y="149225"/>
                        <a:pt x="293687" y="149225"/>
                      </a:cubicBezTo>
                      <a:cubicBezTo>
                        <a:pt x="293687" y="197436"/>
                        <a:pt x="293687" y="246355"/>
                        <a:pt x="293687" y="295275"/>
                      </a:cubicBezTo>
                      <a:cubicBezTo>
                        <a:pt x="244475" y="295275"/>
                        <a:pt x="195263" y="295275"/>
                        <a:pt x="146050" y="295275"/>
                      </a:cubicBezTo>
                      <a:cubicBezTo>
                        <a:pt x="146050" y="246355"/>
                        <a:pt x="146050" y="197436"/>
                        <a:pt x="146050" y="149225"/>
                      </a:cubicBezTo>
                      <a:close/>
                      <a:moveTo>
                        <a:pt x="811212" y="74613"/>
                      </a:moveTo>
                      <a:cubicBezTo>
                        <a:pt x="811212" y="173516"/>
                        <a:pt x="811212" y="271702"/>
                        <a:pt x="811212" y="369888"/>
                      </a:cubicBezTo>
                      <a:cubicBezTo>
                        <a:pt x="909583" y="369888"/>
                        <a:pt x="1007954" y="369888"/>
                        <a:pt x="1104899" y="369888"/>
                      </a:cubicBezTo>
                      <a:cubicBezTo>
                        <a:pt x="1104899" y="270985"/>
                        <a:pt x="1104899" y="172799"/>
                        <a:pt x="1104899" y="74613"/>
                      </a:cubicBezTo>
                      <a:cubicBezTo>
                        <a:pt x="1007241" y="74613"/>
                        <a:pt x="908870" y="74613"/>
                        <a:pt x="811212" y="74613"/>
                      </a:cubicBezTo>
                      <a:close/>
                      <a:moveTo>
                        <a:pt x="73025" y="74613"/>
                      </a:moveTo>
                      <a:cubicBezTo>
                        <a:pt x="73025" y="173223"/>
                        <a:pt x="73025" y="271119"/>
                        <a:pt x="73025" y="368300"/>
                      </a:cubicBezTo>
                      <a:cubicBezTo>
                        <a:pt x="171876" y="368300"/>
                        <a:pt x="270010" y="368300"/>
                        <a:pt x="366712" y="368300"/>
                      </a:cubicBezTo>
                      <a:cubicBezTo>
                        <a:pt x="366712" y="269690"/>
                        <a:pt x="366712" y="172509"/>
                        <a:pt x="366712" y="74613"/>
                      </a:cubicBezTo>
                      <a:cubicBezTo>
                        <a:pt x="269294" y="74613"/>
                        <a:pt x="171876" y="74613"/>
                        <a:pt x="73025" y="74613"/>
                      </a:cubicBezTo>
                      <a:close/>
                      <a:moveTo>
                        <a:pt x="736600" y="0"/>
                      </a:moveTo>
                      <a:cubicBezTo>
                        <a:pt x="883761" y="0"/>
                        <a:pt x="1032351" y="0"/>
                        <a:pt x="1179512" y="0"/>
                      </a:cubicBezTo>
                      <a:cubicBezTo>
                        <a:pt x="1179512" y="147161"/>
                        <a:pt x="1179512" y="295751"/>
                        <a:pt x="1179512" y="442912"/>
                      </a:cubicBezTo>
                      <a:cubicBezTo>
                        <a:pt x="1032351" y="442912"/>
                        <a:pt x="884476" y="442912"/>
                        <a:pt x="736600" y="442912"/>
                      </a:cubicBezTo>
                      <a:cubicBezTo>
                        <a:pt x="736600" y="294322"/>
                        <a:pt x="736600" y="147161"/>
                        <a:pt x="736600" y="0"/>
                      </a:cubicBezTo>
                      <a:close/>
                      <a:moveTo>
                        <a:pt x="515937" y="0"/>
                      </a:moveTo>
                      <a:cubicBezTo>
                        <a:pt x="565223" y="0"/>
                        <a:pt x="613795" y="0"/>
                        <a:pt x="663081" y="0"/>
                      </a:cubicBezTo>
                      <a:cubicBezTo>
                        <a:pt x="663081" y="72925"/>
                        <a:pt x="663081" y="146565"/>
                        <a:pt x="663081" y="220920"/>
                      </a:cubicBezTo>
                      <a:cubicBezTo>
                        <a:pt x="638795" y="220920"/>
                        <a:pt x="614509" y="220920"/>
                        <a:pt x="589509" y="220920"/>
                      </a:cubicBezTo>
                      <a:cubicBezTo>
                        <a:pt x="589509" y="270967"/>
                        <a:pt x="589509" y="319583"/>
                        <a:pt x="589509" y="368915"/>
                      </a:cubicBezTo>
                      <a:cubicBezTo>
                        <a:pt x="565223" y="368915"/>
                        <a:pt x="540937" y="368915"/>
                        <a:pt x="516652" y="368915"/>
                      </a:cubicBezTo>
                      <a:cubicBezTo>
                        <a:pt x="516652" y="295275"/>
                        <a:pt x="516652" y="222350"/>
                        <a:pt x="516652" y="147995"/>
                      </a:cubicBezTo>
                      <a:cubicBezTo>
                        <a:pt x="540223" y="147995"/>
                        <a:pt x="564509" y="147995"/>
                        <a:pt x="588795" y="147995"/>
                      </a:cubicBezTo>
                      <a:cubicBezTo>
                        <a:pt x="588795" y="122972"/>
                        <a:pt x="588795" y="99378"/>
                        <a:pt x="588795" y="74355"/>
                      </a:cubicBezTo>
                      <a:cubicBezTo>
                        <a:pt x="565223" y="74355"/>
                        <a:pt x="540937" y="74355"/>
                        <a:pt x="515937" y="74355"/>
                      </a:cubicBezTo>
                      <a:cubicBezTo>
                        <a:pt x="515937" y="48617"/>
                        <a:pt x="515937" y="24308"/>
                        <a:pt x="515937" y="0"/>
                      </a:cubicBezTo>
                      <a:close/>
                      <a:moveTo>
                        <a:pt x="0" y="0"/>
                      </a:moveTo>
                      <a:cubicBezTo>
                        <a:pt x="147109" y="0"/>
                        <a:pt x="294931" y="0"/>
                        <a:pt x="441325" y="0"/>
                      </a:cubicBezTo>
                      <a:cubicBezTo>
                        <a:pt x="441325" y="147637"/>
                        <a:pt x="441325" y="294558"/>
                        <a:pt x="441325" y="442912"/>
                      </a:cubicBezTo>
                      <a:cubicBezTo>
                        <a:pt x="294931" y="442912"/>
                        <a:pt x="147823" y="442912"/>
                        <a:pt x="0" y="442912"/>
                      </a:cubicBezTo>
                      <a:cubicBezTo>
                        <a:pt x="0" y="295275"/>
                        <a:pt x="0" y="147637"/>
                        <a:pt x="0"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grpSp>
        <p:nvGrpSpPr>
          <p:cNvPr id="132" name="Group 131">
            <a:extLst>
              <a:ext uri="{FF2B5EF4-FFF2-40B4-BE49-F238E27FC236}">
                <a16:creationId xmlns:a16="http://schemas.microsoft.com/office/drawing/2014/main" id="{D43920AC-F8AA-40E5-85C9-86196B06ED11}"/>
              </a:ext>
            </a:extLst>
          </p:cNvPr>
          <p:cNvGrpSpPr/>
          <p:nvPr/>
        </p:nvGrpSpPr>
        <p:grpSpPr>
          <a:xfrm>
            <a:off x="4911070" y="2844241"/>
            <a:ext cx="924403" cy="927085"/>
            <a:chOff x="472500" y="3795886"/>
            <a:chExt cx="924403" cy="927085"/>
          </a:xfrm>
        </p:grpSpPr>
        <p:sp>
          <p:nvSpPr>
            <p:cNvPr id="133" name="AutoShape 43">
              <a:extLst>
                <a:ext uri="{FF2B5EF4-FFF2-40B4-BE49-F238E27FC236}">
                  <a16:creationId xmlns:a16="http://schemas.microsoft.com/office/drawing/2014/main" id="{D2C794DC-C1C7-4CF6-8978-9F7888116ECE}"/>
                </a:ext>
              </a:extLst>
            </p:cNvPr>
            <p:cNvSpPr>
              <a:spLocks noChangeAspect="1" noChangeArrowheads="1" noTextEdit="1"/>
            </p:cNvSpPr>
            <p:nvPr/>
          </p:nvSpPr>
          <p:spPr bwMode="auto">
            <a:xfrm>
              <a:off x="472500" y="3795886"/>
              <a:ext cx="924403"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4" name="Rectangle: Rounded Corners 133">
              <a:extLst>
                <a:ext uri="{FF2B5EF4-FFF2-40B4-BE49-F238E27FC236}">
                  <a16:creationId xmlns:a16="http://schemas.microsoft.com/office/drawing/2014/main" id="{241D3722-66E4-4457-A1EF-FE3524108234}"/>
                </a:ext>
              </a:extLst>
            </p:cNvPr>
            <p:cNvSpPr/>
            <p:nvPr/>
          </p:nvSpPr>
          <p:spPr bwMode="auto">
            <a:xfrm>
              <a:off x="755149" y="3930280"/>
              <a:ext cx="355084"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35" name="Arrow: Pentagon 134">
              <a:extLst>
                <a:ext uri="{FF2B5EF4-FFF2-40B4-BE49-F238E27FC236}">
                  <a16:creationId xmlns:a16="http://schemas.microsoft.com/office/drawing/2014/main" id="{2E69A4CD-912D-40D4-9F17-786A90ACA033}"/>
                </a:ext>
              </a:extLst>
            </p:cNvPr>
            <p:cNvSpPr/>
            <p:nvPr/>
          </p:nvSpPr>
          <p:spPr bwMode="auto">
            <a:xfrm rot="5400000">
              <a:off x="606487" y="4224942"/>
              <a:ext cx="656429" cy="284000"/>
            </a:xfrm>
            <a:prstGeom prst="homePlate">
              <a:avLst/>
            </a:pr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6C8CA6"/>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136" name="Group 135">
              <a:extLst>
                <a:ext uri="{FF2B5EF4-FFF2-40B4-BE49-F238E27FC236}">
                  <a16:creationId xmlns:a16="http://schemas.microsoft.com/office/drawing/2014/main" id="{E3DAF349-ECE5-4419-9EA4-380BC6EE0645}"/>
                </a:ext>
              </a:extLst>
            </p:cNvPr>
            <p:cNvGrpSpPr>
              <a:grpSpLocks/>
            </p:cNvGrpSpPr>
            <p:nvPr/>
          </p:nvGrpSpPr>
          <p:grpSpPr>
            <a:xfrm rot="10800000">
              <a:off x="827584" y="4064211"/>
              <a:ext cx="45720" cy="508538"/>
              <a:chOff x="3748568" y="2287851"/>
              <a:chExt cx="148686" cy="1653808"/>
            </a:xfrm>
          </p:grpSpPr>
          <p:sp>
            <p:nvSpPr>
              <p:cNvPr id="146" name="Rectangle 145">
                <a:extLst>
                  <a:ext uri="{FF2B5EF4-FFF2-40B4-BE49-F238E27FC236}">
                    <a16:creationId xmlns:a16="http://schemas.microsoft.com/office/drawing/2014/main" id="{2F131D87-8707-4909-A4DC-75E6DB00510A}"/>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47" name="Teardrop 146">
                <a:extLst>
                  <a:ext uri="{FF2B5EF4-FFF2-40B4-BE49-F238E27FC236}">
                    <a16:creationId xmlns:a16="http://schemas.microsoft.com/office/drawing/2014/main" id="{AF9931BD-8371-4DFC-967A-5A27788A4173}"/>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37" name="Group 136">
              <a:extLst>
                <a:ext uri="{FF2B5EF4-FFF2-40B4-BE49-F238E27FC236}">
                  <a16:creationId xmlns:a16="http://schemas.microsoft.com/office/drawing/2014/main" id="{96BC22C7-F949-4328-B138-939F85456DEF}"/>
                </a:ext>
              </a:extLst>
            </p:cNvPr>
            <p:cNvGrpSpPr>
              <a:grpSpLocks/>
            </p:cNvGrpSpPr>
            <p:nvPr/>
          </p:nvGrpSpPr>
          <p:grpSpPr>
            <a:xfrm rot="10800000">
              <a:off x="886971" y="4101071"/>
              <a:ext cx="45720" cy="508538"/>
              <a:chOff x="3748568" y="2287851"/>
              <a:chExt cx="148686" cy="1653808"/>
            </a:xfrm>
          </p:grpSpPr>
          <p:sp>
            <p:nvSpPr>
              <p:cNvPr id="144" name="Rectangle 143">
                <a:extLst>
                  <a:ext uri="{FF2B5EF4-FFF2-40B4-BE49-F238E27FC236}">
                    <a16:creationId xmlns:a16="http://schemas.microsoft.com/office/drawing/2014/main" id="{FB6C7FB2-E439-4B11-B44D-1610B2DD1D16}"/>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45" name="Teardrop 144">
                <a:extLst>
                  <a:ext uri="{FF2B5EF4-FFF2-40B4-BE49-F238E27FC236}">
                    <a16:creationId xmlns:a16="http://schemas.microsoft.com/office/drawing/2014/main" id="{BB8AD0B9-69DD-47D0-92FE-25DDF650ACA4}"/>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38" name="Group 137">
              <a:extLst>
                <a:ext uri="{FF2B5EF4-FFF2-40B4-BE49-F238E27FC236}">
                  <a16:creationId xmlns:a16="http://schemas.microsoft.com/office/drawing/2014/main" id="{81EA84A6-17F7-4258-8F81-6EC53B833F3E}"/>
                </a:ext>
              </a:extLst>
            </p:cNvPr>
            <p:cNvGrpSpPr>
              <a:grpSpLocks/>
            </p:cNvGrpSpPr>
            <p:nvPr/>
          </p:nvGrpSpPr>
          <p:grpSpPr>
            <a:xfrm rot="10800000">
              <a:off x="952143" y="4108460"/>
              <a:ext cx="45720" cy="508538"/>
              <a:chOff x="3748568" y="2287851"/>
              <a:chExt cx="148686" cy="1653808"/>
            </a:xfrm>
          </p:grpSpPr>
          <p:sp>
            <p:nvSpPr>
              <p:cNvPr id="142" name="Rectangle 141">
                <a:extLst>
                  <a:ext uri="{FF2B5EF4-FFF2-40B4-BE49-F238E27FC236}">
                    <a16:creationId xmlns:a16="http://schemas.microsoft.com/office/drawing/2014/main" id="{65CD4F66-C5D9-4015-AEC2-99AD3AAC87F8}"/>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43" name="Teardrop 142">
                <a:extLst>
                  <a:ext uri="{FF2B5EF4-FFF2-40B4-BE49-F238E27FC236}">
                    <a16:creationId xmlns:a16="http://schemas.microsoft.com/office/drawing/2014/main" id="{896E22B5-2D13-4A1A-A97D-ACD2E0FB5C70}"/>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39" name="Group 138">
              <a:extLst>
                <a:ext uri="{FF2B5EF4-FFF2-40B4-BE49-F238E27FC236}">
                  <a16:creationId xmlns:a16="http://schemas.microsoft.com/office/drawing/2014/main" id="{E2FA9A93-4698-4992-BF22-3EACEBE00F06}"/>
                </a:ext>
              </a:extLst>
            </p:cNvPr>
            <p:cNvGrpSpPr>
              <a:grpSpLocks/>
            </p:cNvGrpSpPr>
            <p:nvPr/>
          </p:nvGrpSpPr>
          <p:grpSpPr>
            <a:xfrm rot="10800000" flipH="1">
              <a:off x="1010544" y="4064211"/>
              <a:ext cx="45720" cy="508538"/>
              <a:chOff x="3748568" y="2287851"/>
              <a:chExt cx="148686" cy="1653808"/>
            </a:xfrm>
          </p:grpSpPr>
          <p:sp>
            <p:nvSpPr>
              <p:cNvPr id="140" name="Rectangle 139">
                <a:extLst>
                  <a:ext uri="{FF2B5EF4-FFF2-40B4-BE49-F238E27FC236}">
                    <a16:creationId xmlns:a16="http://schemas.microsoft.com/office/drawing/2014/main" id="{C7D106BC-DD14-408D-AFEC-3CFDF9298327}"/>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141" name="Teardrop 140">
                <a:extLst>
                  <a:ext uri="{FF2B5EF4-FFF2-40B4-BE49-F238E27FC236}">
                    <a16:creationId xmlns:a16="http://schemas.microsoft.com/office/drawing/2014/main" id="{56396252-851D-47CC-8288-599E2C356689}"/>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cxnSp>
        <p:nvCxnSpPr>
          <p:cNvPr id="148" name="Straight Arrow Connector 147">
            <a:extLst>
              <a:ext uri="{FF2B5EF4-FFF2-40B4-BE49-F238E27FC236}">
                <a16:creationId xmlns:a16="http://schemas.microsoft.com/office/drawing/2014/main" id="{6A159737-D108-4580-9E32-C75213703437}"/>
              </a:ext>
            </a:extLst>
          </p:cNvPr>
          <p:cNvCxnSpPr>
            <a:cxnSpLocks/>
          </p:cNvCxnSpPr>
          <p:nvPr/>
        </p:nvCxnSpPr>
        <p:spPr>
          <a:xfrm>
            <a:off x="5810935" y="2646885"/>
            <a:ext cx="1374528" cy="0"/>
          </a:xfrm>
          <a:prstGeom prst="straightConnector1">
            <a:avLst/>
          </a:prstGeom>
          <a:ln w="19050" cap="rnd" cmpd="sng" algn="ctr">
            <a:solidFill>
              <a:srgbClr val="003B59"/>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B77846DF-7DF5-48A9-AF8A-E09CDF9C2044}"/>
              </a:ext>
            </a:extLst>
          </p:cNvPr>
          <p:cNvGrpSpPr>
            <a:grpSpLocks noChangeAspect="1"/>
          </p:cNvGrpSpPr>
          <p:nvPr/>
        </p:nvGrpSpPr>
        <p:grpSpPr>
          <a:xfrm>
            <a:off x="7185463" y="1786012"/>
            <a:ext cx="924403" cy="927085"/>
            <a:chOff x="1755775" y="2309813"/>
            <a:chExt cx="1641475" cy="1646237"/>
          </a:xfrm>
        </p:grpSpPr>
        <p:sp>
          <p:nvSpPr>
            <p:cNvPr id="150" name="AutoShape 43">
              <a:extLst>
                <a:ext uri="{FF2B5EF4-FFF2-40B4-BE49-F238E27FC236}">
                  <a16:creationId xmlns:a16="http://schemas.microsoft.com/office/drawing/2014/main" id="{0C7BA0CB-0022-47DE-B01B-2B742B211472}"/>
                </a:ext>
              </a:extLst>
            </p:cNvPr>
            <p:cNvSpPr>
              <a:spLocks noChangeAspect="1" noChangeArrowheads="1" noTextEdit="1"/>
            </p:cNvSpPr>
            <p:nvPr/>
          </p:nvSpPr>
          <p:spPr bwMode="auto">
            <a:xfrm>
              <a:off x="1755775" y="2309813"/>
              <a:ext cx="1641475"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51" name="Group 150">
              <a:extLst>
                <a:ext uri="{FF2B5EF4-FFF2-40B4-BE49-F238E27FC236}">
                  <a16:creationId xmlns:a16="http://schemas.microsoft.com/office/drawing/2014/main" id="{99E346F1-507D-4ECC-9164-AB26F90F87F8}"/>
                </a:ext>
              </a:extLst>
            </p:cNvPr>
            <p:cNvGrpSpPr/>
            <p:nvPr/>
          </p:nvGrpSpPr>
          <p:grpSpPr>
            <a:xfrm>
              <a:off x="2065338" y="2479675"/>
              <a:ext cx="1020763" cy="1304925"/>
              <a:chOff x="2065338" y="2479675"/>
              <a:chExt cx="1020763" cy="1304925"/>
            </a:xfrm>
          </p:grpSpPr>
          <p:sp>
            <p:nvSpPr>
              <p:cNvPr id="152" name="Freeform 45">
                <a:extLst>
                  <a:ext uri="{FF2B5EF4-FFF2-40B4-BE49-F238E27FC236}">
                    <a16:creationId xmlns:a16="http://schemas.microsoft.com/office/drawing/2014/main" id="{46476E6D-F3D9-4C9E-AB9A-449F86C5CB30}"/>
                  </a:ext>
                </a:extLst>
              </p:cNvPr>
              <p:cNvSpPr>
                <a:spLocks noEditPoints="1"/>
              </p:cNvSpPr>
              <p:nvPr/>
            </p:nvSpPr>
            <p:spPr bwMode="auto">
              <a:xfrm>
                <a:off x="2087563" y="2541588"/>
                <a:ext cx="976313" cy="1168400"/>
              </a:xfrm>
              <a:custGeom>
                <a:avLst/>
                <a:gdLst>
                  <a:gd name="T0" fmla="*/ 1370 w 1370"/>
                  <a:gd name="T1" fmla="*/ 530 h 1639"/>
                  <a:gd name="T2" fmla="*/ 1369 w 1370"/>
                  <a:gd name="T3" fmla="*/ 526 h 1639"/>
                  <a:gd name="T4" fmla="*/ 1367 w 1370"/>
                  <a:gd name="T5" fmla="*/ 522 h 1639"/>
                  <a:gd name="T6" fmla="*/ 1364 w 1370"/>
                  <a:gd name="T7" fmla="*/ 519 h 1639"/>
                  <a:gd name="T8" fmla="*/ 1363 w 1370"/>
                  <a:gd name="T9" fmla="*/ 518 h 1639"/>
                  <a:gd name="T10" fmla="*/ 1360 w 1370"/>
                  <a:gd name="T11" fmla="*/ 516 h 1639"/>
                  <a:gd name="T12" fmla="*/ 1356 w 1370"/>
                  <a:gd name="T13" fmla="*/ 514 h 1639"/>
                  <a:gd name="T14" fmla="*/ 1350 w 1370"/>
                  <a:gd name="T15" fmla="*/ 512 h 1639"/>
                  <a:gd name="T16" fmla="*/ 1168 w 1370"/>
                  <a:gd name="T17" fmla="*/ 517 h 1639"/>
                  <a:gd name="T18" fmla="*/ 1074 w 1370"/>
                  <a:gd name="T19" fmla="*/ 520 h 1639"/>
                  <a:gd name="T20" fmla="*/ 1030 w 1370"/>
                  <a:gd name="T21" fmla="*/ 521 h 1639"/>
                  <a:gd name="T22" fmla="*/ 222 w 1370"/>
                  <a:gd name="T23" fmla="*/ 544 h 1639"/>
                  <a:gd name="T24" fmla="*/ 54 w 1370"/>
                  <a:gd name="T25" fmla="*/ 493 h 1639"/>
                  <a:gd name="T26" fmla="*/ 21 w 1370"/>
                  <a:gd name="T27" fmla="*/ 484 h 1639"/>
                  <a:gd name="T28" fmla="*/ 17 w 1370"/>
                  <a:gd name="T29" fmla="*/ 485 h 1639"/>
                  <a:gd name="T30" fmla="*/ 13 w 1370"/>
                  <a:gd name="T31" fmla="*/ 486 h 1639"/>
                  <a:gd name="T32" fmla="*/ 9 w 1370"/>
                  <a:gd name="T33" fmla="*/ 488 h 1639"/>
                  <a:gd name="T34" fmla="*/ 6 w 1370"/>
                  <a:gd name="T35" fmla="*/ 491 h 1639"/>
                  <a:gd name="T36" fmla="*/ 3 w 1370"/>
                  <a:gd name="T37" fmla="*/ 494 h 1639"/>
                  <a:gd name="T38" fmla="*/ 1 w 1370"/>
                  <a:gd name="T39" fmla="*/ 497 h 1639"/>
                  <a:gd name="T40" fmla="*/ 1 w 1370"/>
                  <a:gd name="T41" fmla="*/ 499 h 1639"/>
                  <a:gd name="T42" fmla="*/ 0 w 1370"/>
                  <a:gd name="T43" fmla="*/ 502 h 1639"/>
                  <a:gd name="T44" fmla="*/ 0 w 1370"/>
                  <a:gd name="T45" fmla="*/ 506 h 1639"/>
                  <a:gd name="T46" fmla="*/ 0 w 1370"/>
                  <a:gd name="T47" fmla="*/ 966 h 1639"/>
                  <a:gd name="T48" fmla="*/ 0 w 1370"/>
                  <a:gd name="T49" fmla="*/ 1466 h 1639"/>
                  <a:gd name="T50" fmla="*/ 44 w 1370"/>
                  <a:gd name="T51" fmla="*/ 1466 h 1639"/>
                  <a:gd name="T52" fmla="*/ 197 w 1370"/>
                  <a:gd name="T53" fmla="*/ 1065 h 1639"/>
                  <a:gd name="T54" fmla="*/ 219 w 1370"/>
                  <a:gd name="T55" fmla="*/ 1638 h 1639"/>
                  <a:gd name="T56" fmla="*/ 241 w 1370"/>
                  <a:gd name="T57" fmla="*/ 1071 h 1639"/>
                  <a:gd name="T58" fmla="*/ 1030 w 1370"/>
                  <a:gd name="T59" fmla="*/ 1335 h 1639"/>
                  <a:gd name="T60" fmla="*/ 1074 w 1370"/>
                  <a:gd name="T61" fmla="*/ 1335 h 1639"/>
                  <a:gd name="T62" fmla="*/ 1326 w 1370"/>
                  <a:gd name="T63" fmla="*/ 1002 h 1639"/>
                  <a:gd name="T64" fmla="*/ 1348 w 1370"/>
                  <a:gd name="T65" fmla="*/ 1434 h 1639"/>
                  <a:gd name="T66" fmla="*/ 1370 w 1370"/>
                  <a:gd name="T67" fmla="*/ 535 h 1639"/>
                  <a:gd name="T68" fmla="*/ 1370 w 1370"/>
                  <a:gd name="T69" fmla="*/ 534 h 1639"/>
                  <a:gd name="T70" fmla="*/ 44 w 1370"/>
                  <a:gd name="T71" fmla="*/ 951 h 1639"/>
                  <a:gd name="T72" fmla="*/ 197 w 1370"/>
                  <a:gd name="T73" fmla="*/ 583 h 1639"/>
                  <a:gd name="T74" fmla="*/ 44 w 1370"/>
                  <a:gd name="T75" fmla="*/ 951 h 1639"/>
                  <a:gd name="T76" fmla="*/ 241 w 1370"/>
                  <a:gd name="T77" fmla="*/ 588 h 1639"/>
                  <a:gd name="T78" fmla="*/ 1030 w 1370"/>
                  <a:gd name="T79" fmla="*/ 977 h 1639"/>
                  <a:gd name="T80" fmla="*/ 1074 w 1370"/>
                  <a:gd name="T81" fmla="*/ 974 h 1639"/>
                  <a:gd name="T82" fmla="*/ 1326 w 1370"/>
                  <a:gd name="T83" fmla="*/ 557 h 1639"/>
                  <a:gd name="T84" fmla="*/ 1074 w 1370"/>
                  <a:gd name="T85" fmla="*/ 974 h 1639"/>
                  <a:gd name="T86" fmla="*/ 278 w 1370"/>
                  <a:gd name="T87" fmla="*/ 0 h 1639"/>
                  <a:gd name="T88" fmla="*/ 1282 w 1370"/>
                  <a:gd name="T89" fmla="*/ 382 h 1639"/>
                  <a:gd name="T90" fmla="*/ 911 w 1370"/>
                  <a:gd name="T91" fmla="*/ 329 h 1639"/>
                  <a:gd name="T92" fmla="*/ 879 w 1370"/>
                  <a:gd name="T93" fmla="*/ 291 h 1639"/>
                  <a:gd name="T94" fmla="*/ 911 w 1370"/>
                  <a:gd name="T95" fmla="*/ 329 h 1639"/>
                  <a:gd name="T96" fmla="*/ 941 w 1370"/>
                  <a:gd name="T97" fmla="*/ 331 h 1639"/>
                  <a:gd name="T98" fmla="*/ 973 w 1370"/>
                  <a:gd name="T99" fmla="*/ 289 h 1639"/>
                  <a:gd name="T100" fmla="*/ 1036 w 1370"/>
                  <a:gd name="T101" fmla="*/ 329 h 1639"/>
                  <a:gd name="T102" fmla="*/ 1004 w 1370"/>
                  <a:gd name="T103" fmla="*/ 291 h 1639"/>
                  <a:gd name="T104" fmla="*/ 1036 w 1370"/>
                  <a:gd name="T105" fmla="*/ 329 h 1639"/>
                  <a:gd name="T106" fmla="*/ 1119 w 1370"/>
                  <a:gd name="T107" fmla="*/ 304 h 1639"/>
                  <a:gd name="T108" fmla="*/ 1226 w 1370"/>
                  <a:gd name="T109" fmla="*/ 297 h 1639"/>
                  <a:gd name="T110" fmla="*/ 146 w 1370"/>
                  <a:gd name="T111" fmla="*/ 384 h 1639"/>
                  <a:gd name="T112" fmla="*/ 88 w 1370"/>
                  <a:gd name="T113" fmla="*/ 28 h 1639"/>
                  <a:gd name="T114" fmla="*/ 146 w 1370"/>
                  <a:gd name="T115" fmla="*/ 384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0" h="1639">
                    <a:moveTo>
                      <a:pt x="1370" y="534"/>
                    </a:moveTo>
                    <a:cubicBezTo>
                      <a:pt x="1370" y="533"/>
                      <a:pt x="1370" y="531"/>
                      <a:pt x="1370" y="530"/>
                    </a:cubicBezTo>
                    <a:cubicBezTo>
                      <a:pt x="1370" y="530"/>
                      <a:pt x="1370" y="530"/>
                      <a:pt x="1370" y="530"/>
                    </a:cubicBezTo>
                    <a:cubicBezTo>
                      <a:pt x="1370" y="528"/>
                      <a:pt x="1369" y="527"/>
                      <a:pt x="1369" y="526"/>
                    </a:cubicBezTo>
                    <a:cubicBezTo>
                      <a:pt x="1369" y="526"/>
                      <a:pt x="1369" y="526"/>
                      <a:pt x="1368" y="525"/>
                    </a:cubicBezTo>
                    <a:cubicBezTo>
                      <a:pt x="1368" y="524"/>
                      <a:pt x="1367" y="523"/>
                      <a:pt x="1367" y="522"/>
                    </a:cubicBezTo>
                    <a:cubicBezTo>
                      <a:pt x="1367" y="522"/>
                      <a:pt x="1366" y="522"/>
                      <a:pt x="1366" y="522"/>
                    </a:cubicBezTo>
                    <a:cubicBezTo>
                      <a:pt x="1366" y="521"/>
                      <a:pt x="1365" y="520"/>
                      <a:pt x="1364" y="519"/>
                    </a:cubicBezTo>
                    <a:cubicBezTo>
                      <a:pt x="1364" y="519"/>
                      <a:pt x="1364" y="518"/>
                      <a:pt x="1364" y="518"/>
                    </a:cubicBezTo>
                    <a:cubicBezTo>
                      <a:pt x="1364" y="518"/>
                      <a:pt x="1364" y="518"/>
                      <a:pt x="1363" y="518"/>
                    </a:cubicBezTo>
                    <a:cubicBezTo>
                      <a:pt x="1363" y="517"/>
                      <a:pt x="1361" y="517"/>
                      <a:pt x="1360" y="516"/>
                    </a:cubicBezTo>
                    <a:cubicBezTo>
                      <a:pt x="1360" y="516"/>
                      <a:pt x="1360" y="516"/>
                      <a:pt x="1360" y="516"/>
                    </a:cubicBezTo>
                    <a:cubicBezTo>
                      <a:pt x="1359" y="515"/>
                      <a:pt x="1358" y="514"/>
                      <a:pt x="1357" y="514"/>
                    </a:cubicBezTo>
                    <a:cubicBezTo>
                      <a:pt x="1356" y="514"/>
                      <a:pt x="1356" y="514"/>
                      <a:pt x="1356" y="514"/>
                    </a:cubicBezTo>
                    <a:cubicBezTo>
                      <a:pt x="1355" y="513"/>
                      <a:pt x="1354" y="513"/>
                      <a:pt x="1353" y="513"/>
                    </a:cubicBezTo>
                    <a:cubicBezTo>
                      <a:pt x="1350" y="512"/>
                      <a:pt x="1350" y="512"/>
                      <a:pt x="1350" y="512"/>
                    </a:cubicBezTo>
                    <a:cubicBezTo>
                      <a:pt x="1168" y="517"/>
                      <a:pt x="1168" y="517"/>
                      <a:pt x="1168" y="517"/>
                    </a:cubicBezTo>
                    <a:cubicBezTo>
                      <a:pt x="1168" y="517"/>
                      <a:pt x="1168" y="517"/>
                      <a:pt x="1168" y="517"/>
                    </a:cubicBezTo>
                    <a:cubicBezTo>
                      <a:pt x="1074" y="520"/>
                      <a:pt x="1074" y="520"/>
                      <a:pt x="1074" y="520"/>
                    </a:cubicBezTo>
                    <a:cubicBezTo>
                      <a:pt x="1074" y="520"/>
                      <a:pt x="1074" y="520"/>
                      <a:pt x="1074" y="520"/>
                    </a:cubicBezTo>
                    <a:cubicBezTo>
                      <a:pt x="1030" y="521"/>
                      <a:pt x="1030" y="521"/>
                      <a:pt x="1030" y="521"/>
                    </a:cubicBezTo>
                    <a:cubicBezTo>
                      <a:pt x="1030" y="521"/>
                      <a:pt x="1030" y="521"/>
                      <a:pt x="1030" y="521"/>
                    </a:cubicBezTo>
                    <a:cubicBezTo>
                      <a:pt x="222" y="544"/>
                      <a:pt x="222" y="544"/>
                      <a:pt x="222" y="544"/>
                    </a:cubicBezTo>
                    <a:cubicBezTo>
                      <a:pt x="222" y="544"/>
                      <a:pt x="222" y="544"/>
                      <a:pt x="222" y="544"/>
                    </a:cubicBezTo>
                    <a:cubicBezTo>
                      <a:pt x="153" y="523"/>
                      <a:pt x="153" y="523"/>
                      <a:pt x="153" y="523"/>
                    </a:cubicBezTo>
                    <a:cubicBezTo>
                      <a:pt x="54" y="493"/>
                      <a:pt x="54" y="493"/>
                      <a:pt x="54" y="493"/>
                    </a:cubicBezTo>
                    <a:cubicBezTo>
                      <a:pt x="27" y="484"/>
                      <a:pt x="27" y="484"/>
                      <a:pt x="27" y="484"/>
                    </a:cubicBezTo>
                    <a:cubicBezTo>
                      <a:pt x="21" y="484"/>
                      <a:pt x="21" y="484"/>
                      <a:pt x="21" y="484"/>
                    </a:cubicBezTo>
                    <a:cubicBezTo>
                      <a:pt x="21" y="484"/>
                      <a:pt x="21" y="484"/>
                      <a:pt x="21" y="484"/>
                    </a:cubicBezTo>
                    <a:cubicBezTo>
                      <a:pt x="19" y="484"/>
                      <a:pt x="18" y="484"/>
                      <a:pt x="17" y="485"/>
                    </a:cubicBezTo>
                    <a:cubicBezTo>
                      <a:pt x="17" y="485"/>
                      <a:pt x="16" y="485"/>
                      <a:pt x="16" y="485"/>
                    </a:cubicBezTo>
                    <a:cubicBezTo>
                      <a:pt x="15" y="485"/>
                      <a:pt x="14" y="485"/>
                      <a:pt x="13" y="486"/>
                    </a:cubicBezTo>
                    <a:cubicBezTo>
                      <a:pt x="13" y="486"/>
                      <a:pt x="12" y="486"/>
                      <a:pt x="12" y="486"/>
                    </a:cubicBezTo>
                    <a:cubicBezTo>
                      <a:pt x="11" y="487"/>
                      <a:pt x="10" y="487"/>
                      <a:pt x="9" y="488"/>
                    </a:cubicBezTo>
                    <a:cubicBezTo>
                      <a:pt x="9" y="488"/>
                      <a:pt x="9" y="488"/>
                      <a:pt x="9" y="488"/>
                    </a:cubicBezTo>
                    <a:cubicBezTo>
                      <a:pt x="8" y="489"/>
                      <a:pt x="7" y="490"/>
                      <a:pt x="6" y="491"/>
                    </a:cubicBezTo>
                    <a:cubicBezTo>
                      <a:pt x="6" y="491"/>
                      <a:pt x="6" y="491"/>
                      <a:pt x="6" y="491"/>
                    </a:cubicBezTo>
                    <a:cubicBezTo>
                      <a:pt x="5" y="492"/>
                      <a:pt x="4" y="493"/>
                      <a:pt x="3" y="494"/>
                    </a:cubicBezTo>
                    <a:cubicBezTo>
                      <a:pt x="3" y="494"/>
                      <a:pt x="3" y="494"/>
                      <a:pt x="3" y="494"/>
                    </a:cubicBezTo>
                    <a:cubicBezTo>
                      <a:pt x="2" y="495"/>
                      <a:pt x="2" y="496"/>
                      <a:pt x="1" y="497"/>
                    </a:cubicBezTo>
                    <a:cubicBezTo>
                      <a:pt x="1" y="498"/>
                      <a:pt x="1" y="498"/>
                      <a:pt x="1" y="498"/>
                    </a:cubicBezTo>
                    <a:cubicBezTo>
                      <a:pt x="1" y="498"/>
                      <a:pt x="1" y="499"/>
                      <a:pt x="1" y="499"/>
                    </a:cubicBezTo>
                    <a:cubicBezTo>
                      <a:pt x="0" y="500"/>
                      <a:pt x="0" y="501"/>
                      <a:pt x="0" y="502"/>
                    </a:cubicBezTo>
                    <a:cubicBezTo>
                      <a:pt x="0" y="502"/>
                      <a:pt x="0" y="502"/>
                      <a:pt x="0" y="502"/>
                    </a:cubicBezTo>
                    <a:cubicBezTo>
                      <a:pt x="0" y="503"/>
                      <a:pt x="0" y="504"/>
                      <a:pt x="0" y="506"/>
                    </a:cubicBezTo>
                    <a:cubicBezTo>
                      <a:pt x="0" y="506"/>
                      <a:pt x="0" y="506"/>
                      <a:pt x="0" y="506"/>
                    </a:cubicBezTo>
                    <a:cubicBezTo>
                      <a:pt x="0" y="506"/>
                      <a:pt x="0" y="506"/>
                      <a:pt x="0" y="506"/>
                    </a:cubicBezTo>
                    <a:cubicBezTo>
                      <a:pt x="0" y="966"/>
                      <a:pt x="0" y="966"/>
                      <a:pt x="0" y="966"/>
                    </a:cubicBezTo>
                    <a:cubicBezTo>
                      <a:pt x="0" y="966"/>
                      <a:pt x="0" y="966"/>
                      <a:pt x="0" y="966"/>
                    </a:cubicBezTo>
                    <a:cubicBezTo>
                      <a:pt x="0" y="1466"/>
                      <a:pt x="0" y="1466"/>
                      <a:pt x="0" y="1466"/>
                    </a:cubicBezTo>
                    <a:cubicBezTo>
                      <a:pt x="7" y="1465"/>
                      <a:pt x="14" y="1465"/>
                      <a:pt x="22" y="1465"/>
                    </a:cubicBezTo>
                    <a:cubicBezTo>
                      <a:pt x="29" y="1465"/>
                      <a:pt x="37" y="1465"/>
                      <a:pt x="44" y="1466"/>
                    </a:cubicBezTo>
                    <a:cubicBezTo>
                      <a:pt x="44" y="999"/>
                      <a:pt x="44" y="999"/>
                      <a:pt x="44" y="999"/>
                    </a:cubicBezTo>
                    <a:cubicBezTo>
                      <a:pt x="197" y="1065"/>
                      <a:pt x="197" y="1065"/>
                      <a:pt x="197" y="1065"/>
                    </a:cubicBezTo>
                    <a:cubicBezTo>
                      <a:pt x="197" y="1639"/>
                      <a:pt x="197" y="1639"/>
                      <a:pt x="197" y="1639"/>
                    </a:cubicBezTo>
                    <a:cubicBezTo>
                      <a:pt x="205" y="1638"/>
                      <a:pt x="212" y="1638"/>
                      <a:pt x="219" y="1638"/>
                    </a:cubicBezTo>
                    <a:cubicBezTo>
                      <a:pt x="227" y="1638"/>
                      <a:pt x="234" y="1638"/>
                      <a:pt x="241" y="1639"/>
                    </a:cubicBezTo>
                    <a:cubicBezTo>
                      <a:pt x="241" y="1071"/>
                      <a:pt x="241" y="1071"/>
                      <a:pt x="241" y="1071"/>
                    </a:cubicBezTo>
                    <a:cubicBezTo>
                      <a:pt x="1030" y="1021"/>
                      <a:pt x="1030" y="1021"/>
                      <a:pt x="1030" y="1021"/>
                    </a:cubicBezTo>
                    <a:cubicBezTo>
                      <a:pt x="1030" y="1335"/>
                      <a:pt x="1030" y="1335"/>
                      <a:pt x="1030" y="1335"/>
                    </a:cubicBezTo>
                    <a:cubicBezTo>
                      <a:pt x="1037" y="1334"/>
                      <a:pt x="1045" y="1334"/>
                      <a:pt x="1052" y="1334"/>
                    </a:cubicBezTo>
                    <a:cubicBezTo>
                      <a:pt x="1060" y="1334"/>
                      <a:pt x="1067" y="1334"/>
                      <a:pt x="1074" y="1335"/>
                    </a:cubicBezTo>
                    <a:cubicBezTo>
                      <a:pt x="1074" y="1018"/>
                      <a:pt x="1074" y="1018"/>
                      <a:pt x="1074" y="1018"/>
                    </a:cubicBezTo>
                    <a:cubicBezTo>
                      <a:pt x="1326" y="1002"/>
                      <a:pt x="1326" y="1002"/>
                      <a:pt x="1326" y="1002"/>
                    </a:cubicBezTo>
                    <a:cubicBezTo>
                      <a:pt x="1326" y="1435"/>
                      <a:pt x="1326" y="1435"/>
                      <a:pt x="1326" y="1435"/>
                    </a:cubicBezTo>
                    <a:cubicBezTo>
                      <a:pt x="1333" y="1434"/>
                      <a:pt x="1341" y="1434"/>
                      <a:pt x="1348" y="1434"/>
                    </a:cubicBezTo>
                    <a:cubicBezTo>
                      <a:pt x="1356" y="1434"/>
                      <a:pt x="1363" y="1434"/>
                      <a:pt x="1370" y="1435"/>
                    </a:cubicBezTo>
                    <a:cubicBezTo>
                      <a:pt x="1370" y="535"/>
                      <a:pt x="1370" y="535"/>
                      <a:pt x="1370" y="535"/>
                    </a:cubicBezTo>
                    <a:cubicBezTo>
                      <a:pt x="1370" y="534"/>
                      <a:pt x="1370" y="534"/>
                      <a:pt x="1370" y="534"/>
                    </a:cubicBezTo>
                    <a:cubicBezTo>
                      <a:pt x="1370" y="534"/>
                      <a:pt x="1370" y="534"/>
                      <a:pt x="1370" y="534"/>
                    </a:cubicBezTo>
                    <a:cubicBezTo>
                      <a:pt x="1370" y="534"/>
                      <a:pt x="1370" y="534"/>
                      <a:pt x="1370" y="534"/>
                    </a:cubicBezTo>
                    <a:close/>
                    <a:moveTo>
                      <a:pt x="44" y="951"/>
                    </a:moveTo>
                    <a:cubicBezTo>
                      <a:pt x="44" y="536"/>
                      <a:pt x="44" y="536"/>
                      <a:pt x="44" y="536"/>
                    </a:cubicBezTo>
                    <a:cubicBezTo>
                      <a:pt x="197" y="583"/>
                      <a:pt x="197" y="583"/>
                      <a:pt x="197" y="583"/>
                    </a:cubicBezTo>
                    <a:cubicBezTo>
                      <a:pt x="197" y="1017"/>
                      <a:pt x="197" y="1017"/>
                      <a:pt x="197" y="1017"/>
                    </a:cubicBezTo>
                    <a:lnTo>
                      <a:pt x="44" y="951"/>
                    </a:lnTo>
                    <a:close/>
                    <a:moveTo>
                      <a:pt x="241" y="1027"/>
                    </a:moveTo>
                    <a:cubicBezTo>
                      <a:pt x="241" y="588"/>
                      <a:pt x="241" y="588"/>
                      <a:pt x="241" y="588"/>
                    </a:cubicBezTo>
                    <a:cubicBezTo>
                      <a:pt x="1030" y="565"/>
                      <a:pt x="1030" y="565"/>
                      <a:pt x="1030" y="565"/>
                    </a:cubicBezTo>
                    <a:cubicBezTo>
                      <a:pt x="1030" y="977"/>
                      <a:pt x="1030" y="977"/>
                      <a:pt x="1030" y="977"/>
                    </a:cubicBezTo>
                    <a:lnTo>
                      <a:pt x="241" y="1027"/>
                    </a:lnTo>
                    <a:close/>
                    <a:moveTo>
                      <a:pt x="1074" y="974"/>
                    </a:moveTo>
                    <a:cubicBezTo>
                      <a:pt x="1074" y="564"/>
                      <a:pt x="1074" y="564"/>
                      <a:pt x="1074" y="564"/>
                    </a:cubicBezTo>
                    <a:cubicBezTo>
                      <a:pt x="1326" y="557"/>
                      <a:pt x="1326" y="557"/>
                      <a:pt x="1326" y="557"/>
                    </a:cubicBezTo>
                    <a:cubicBezTo>
                      <a:pt x="1326" y="958"/>
                      <a:pt x="1326" y="958"/>
                      <a:pt x="1326" y="958"/>
                    </a:cubicBezTo>
                    <a:lnTo>
                      <a:pt x="1074" y="974"/>
                    </a:lnTo>
                    <a:close/>
                    <a:moveTo>
                      <a:pt x="1282" y="0"/>
                    </a:moveTo>
                    <a:cubicBezTo>
                      <a:pt x="278" y="0"/>
                      <a:pt x="278" y="0"/>
                      <a:pt x="278" y="0"/>
                    </a:cubicBezTo>
                    <a:cubicBezTo>
                      <a:pt x="278" y="411"/>
                      <a:pt x="278" y="411"/>
                      <a:pt x="278" y="411"/>
                    </a:cubicBezTo>
                    <a:cubicBezTo>
                      <a:pt x="1282" y="382"/>
                      <a:pt x="1282" y="382"/>
                      <a:pt x="1282" y="382"/>
                    </a:cubicBezTo>
                    <a:lnTo>
                      <a:pt x="1282" y="0"/>
                    </a:lnTo>
                    <a:close/>
                    <a:moveTo>
                      <a:pt x="911" y="329"/>
                    </a:moveTo>
                    <a:cubicBezTo>
                      <a:pt x="879" y="331"/>
                      <a:pt x="879" y="331"/>
                      <a:pt x="879" y="331"/>
                    </a:cubicBezTo>
                    <a:cubicBezTo>
                      <a:pt x="879" y="291"/>
                      <a:pt x="879" y="291"/>
                      <a:pt x="879" y="291"/>
                    </a:cubicBezTo>
                    <a:cubicBezTo>
                      <a:pt x="911" y="289"/>
                      <a:pt x="911" y="289"/>
                      <a:pt x="911" y="289"/>
                    </a:cubicBezTo>
                    <a:lnTo>
                      <a:pt x="911" y="329"/>
                    </a:lnTo>
                    <a:close/>
                    <a:moveTo>
                      <a:pt x="973" y="329"/>
                    </a:moveTo>
                    <a:cubicBezTo>
                      <a:pt x="941" y="331"/>
                      <a:pt x="941" y="331"/>
                      <a:pt x="941" y="331"/>
                    </a:cubicBezTo>
                    <a:cubicBezTo>
                      <a:pt x="941" y="291"/>
                      <a:pt x="941" y="291"/>
                      <a:pt x="941" y="291"/>
                    </a:cubicBezTo>
                    <a:cubicBezTo>
                      <a:pt x="973" y="289"/>
                      <a:pt x="973" y="289"/>
                      <a:pt x="973" y="289"/>
                    </a:cubicBezTo>
                    <a:lnTo>
                      <a:pt x="973" y="329"/>
                    </a:lnTo>
                    <a:close/>
                    <a:moveTo>
                      <a:pt x="1036" y="329"/>
                    </a:moveTo>
                    <a:cubicBezTo>
                      <a:pt x="1004" y="331"/>
                      <a:pt x="1004" y="331"/>
                      <a:pt x="1004" y="331"/>
                    </a:cubicBezTo>
                    <a:cubicBezTo>
                      <a:pt x="1004" y="291"/>
                      <a:pt x="1004" y="291"/>
                      <a:pt x="1004" y="291"/>
                    </a:cubicBezTo>
                    <a:cubicBezTo>
                      <a:pt x="1036" y="289"/>
                      <a:pt x="1036" y="289"/>
                      <a:pt x="1036" y="289"/>
                    </a:cubicBezTo>
                    <a:lnTo>
                      <a:pt x="1036" y="329"/>
                    </a:lnTo>
                    <a:close/>
                    <a:moveTo>
                      <a:pt x="1172" y="354"/>
                    </a:moveTo>
                    <a:cubicBezTo>
                      <a:pt x="1143" y="356"/>
                      <a:pt x="1119" y="333"/>
                      <a:pt x="1119" y="304"/>
                    </a:cubicBezTo>
                    <a:cubicBezTo>
                      <a:pt x="1119" y="274"/>
                      <a:pt x="1143" y="249"/>
                      <a:pt x="1172" y="247"/>
                    </a:cubicBezTo>
                    <a:cubicBezTo>
                      <a:pt x="1202" y="245"/>
                      <a:pt x="1226" y="267"/>
                      <a:pt x="1226" y="297"/>
                    </a:cubicBezTo>
                    <a:cubicBezTo>
                      <a:pt x="1226" y="326"/>
                      <a:pt x="1202" y="352"/>
                      <a:pt x="1172" y="354"/>
                    </a:cubicBezTo>
                    <a:close/>
                    <a:moveTo>
                      <a:pt x="146" y="384"/>
                    </a:moveTo>
                    <a:cubicBezTo>
                      <a:pt x="88" y="365"/>
                      <a:pt x="88" y="365"/>
                      <a:pt x="88" y="365"/>
                    </a:cubicBezTo>
                    <a:cubicBezTo>
                      <a:pt x="88" y="28"/>
                      <a:pt x="88" y="28"/>
                      <a:pt x="88" y="28"/>
                    </a:cubicBezTo>
                    <a:cubicBezTo>
                      <a:pt x="146" y="16"/>
                      <a:pt x="146" y="16"/>
                      <a:pt x="146" y="16"/>
                    </a:cubicBezTo>
                    <a:lnTo>
                      <a:pt x="146" y="384"/>
                    </a:lnTo>
                    <a:close/>
                  </a:path>
                </a:pathLst>
              </a:custGeom>
              <a:solidFill>
                <a:srgbClr val="4C7895"/>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53" name="Freeform 46">
                <a:extLst>
                  <a:ext uri="{FF2B5EF4-FFF2-40B4-BE49-F238E27FC236}">
                    <a16:creationId xmlns:a16="http://schemas.microsoft.com/office/drawing/2014/main" id="{32DDB382-48BF-4ABD-B2C5-F581094B7D51}"/>
                  </a:ext>
                </a:extLst>
              </p:cNvPr>
              <p:cNvSpPr>
                <a:spLocks noEditPoints="1"/>
              </p:cNvSpPr>
              <p:nvPr/>
            </p:nvSpPr>
            <p:spPr bwMode="auto">
              <a:xfrm>
                <a:off x="2065338" y="2479675"/>
                <a:ext cx="1020763" cy="1304925"/>
              </a:xfrm>
              <a:custGeom>
                <a:avLst/>
                <a:gdLst>
                  <a:gd name="T0" fmla="*/ 251 w 1434"/>
                  <a:gd name="T1" fmla="*/ 1832 h 1832"/>
                  <a:gd name="T2" fmla="*/ 229 w 1434"/>
                  <a:gd name="T3" fmla="*/ 1772 h 1832"/>
                  <a:gd name="T4" fmla="*/ 273 w 1434"/>
                  <a:gd name="T5" fmla="*/ 1772 h 1832"/>
                  <a:gd name="T6" fmla="*/ 76 w 1434"/>
                  <a:gd name="T7" fmla="*/ 1599 h 1832"/>
                  <a:gd name="T8" fmla="*/ 32 w 1434"/>
                  <a:gd name="T9" fmla="*/ 1599 h 1832"/>
                  <a:gd name="T10" fmla="*/ 54 w 1434"/>
                  <a:gd name="T11" fmla="*/ 1659 h 1832"/>
                  <a:gd name="T12" fmla="*/ 76 w 1434"/>
                  <a:gd name="T13" fmla="*/ 1599 h 1832"/>
                  <a:gd name="T14" fmla="*/ 1380 w 1434"/>
                  <a:gd name="T15" fmla="*/ 1566 h 1832"/>
                  <a:gd name="T16" fmla="*/ 1327 w 1434"/>
                  <a:gd name="T17" fmla="*/ 1597 h 1832"/>
                  <a:gd name="T18" fmla="*/ 1434 w 1434"/>
                  <a:gd name="T19" fmla="*/ 1597 h 1832"/>
                  <a:gd name="T20" fmla="*/ 1106 w 1434"/>
                  <a:gd name="T21" fmla="*/ 1469 h 1832"/>
                  <a:gd name="T22" fmla="*/ 1062 w 1434"/>
                  <a:gd name="T23" fmla="*/ 1469 h 1832"/>
                  <a:gd name="T24" fmla="*/ 1084 w 1434"/>
                  <a:gd name="T25" fmla="*/ 1528 h 1832"/>
                  <a:gd name="T26" fmla="*/ 1106 w 1434"/>
                  <a:gd name="T27" fmla="*/ 1469 h 1832"/>
                  <a:gd name="T28" fmla="*/ 32 w 1434"/>
                  <a:gd name="T29" fmla="*/ 62 h 1832"/>
                  <a:gd name="T30" fmla="*/ 239 w 1434"/>
                  <a:gd name="T31" fmla="*/ 1 h 1832"/>
                  <a:gd name="T32" fmla="*/ 242 w 1434"/>
                  <a:gd name="T33" fmla="*/ 0 h 1832"/>
                  <a:gd name="T34" fmla="*/ 244 w 1434"/>
                  <a:gd name="T35" fmla="*/ 0 h 1832"/>
                  <a:gd name="T36" fmla="*/ 1402 w 1434"/>
                  <a:gd name="T37" fmla="*/ 22 h 1832"/>
                  <a:gd name="T38" fmla="*/ 1381 w 1434"/>
                  <a:gd name="T39" fmla="*/ 556 h 1832"/>
                  <a:gd name="T40" fmla="*/ 1106 w 1434"/>
                  <a:gd name="T41" fmla="*/ 564 h 1832"/>
                  <a:gd name="T42" fmla="*/ 252 w 1434"/>
                  <a:gd name="T43" fmla="*/ 588 h 1832"/>
                  <a:gd name="T44" fmla="*/ 245 w 1434"/>
                  <a:gd name="T45" fmla="*/ 587 h 1832"/>
                  <a:gd name="T46" fmla="*/ 237 w 1434"/>
                  <a:gd name="T47" fmla="*/ 585 h 1832"/>
                  <a:gd name="T48" fmla="*/ 184 w 1434"/>
                  <a:gd name="T49" fmla="*/ 567 h 1832"/>
                  <a:gd name="T50" fmla="*/ 32 w 1434"/>
                  <a:gd name="T51" fmla="*/ 500 h 1832"/>
                  <a:gd name="T52" fmla="*/ 266 w 1434"/>
                  <a:gd name="T53" fmla="*/ 44 h 1832"/>
                  <a:gd name="T54" fmla="*/ 1358 w 1434"/>
                  <a:gd name="T55" fmla="*/ 513 h 1832"/>
                  <a:gd name="T56" fmla="*/ 76 w 1434"/>
                  <a:gd name="T57" fmla="*/ 485 h 1832"/>
                  <a:gd name="T58" fmla="*/ 222 w 1434"/>
                  <a:gd name="T59" fmla="*/ 49 h 1832"/>
                  <a:gd name="T60" fmla="*/ 76 w 1434"/>
                  <a:gd name="T61" fmla="*/ 485 h 1832"/>
                  <a:gd name="T62" fmla="*/ 185 w 1434"/>
                  <a:gd name="T63" fmla="*/ 1038 h 1832"/>
                  <a:gd name="T64" fmla="*/ 120 w 1434"/>
                  <a:gd name="T65" fmla="*/ 683 h 1832"/>
                  <a:gd name="T66" fmla="*/ 1150 w 1434"/>
                  <a:gd name="T67" fmla="*/ 1015 h 1832"/>
                  <a:gd name="T68" fmla="*/ 1314 w 1434"/>
                  <a:gd name="T69" fmla="*/ 691 h 1832"/>
                  <a:gd name="T70" fmla="*/ 1150 w 1434"/>
                  <a:gd name="T71" fmla="*/ 1015 h 1832"/>
                  <a:gd name="T72" fmla="*/ 1203 w 1434"/>
                  <a:gd name="T73" fmla="*/ 420 h 1832"/>
                  <a:gd name="T74" fmla="*/ 1208 w 1434"/>
                  <a:gd name="T75" fmla="*/ 357 h 1832"/>
                  <a:gd name="T76" fmla="*/ 1173 w 1434"/>
                  <a:gd name="T77" fmla="*/ 392 h 1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34" h="1832">
                    <a:moveTo>
                      <a:pt x="305" y="1801"/>
                    </a:moveTo>
                    <a:cubicBezTo>
                      <a:pt x="305" y="1818"/>
                      <a:pt x="281" y="1832"/>
                      <a:pt x="251" y="1832"/>
                    </a:cubicBezTo>
                    <a:cubicBezTo>
                      <a:pt x="222" y="1832"/>
                      <a:pt x="198" y="1818"/>
                      <a:pt x="198" y="1801"/>
                    </a:cubicBezTo>
                    <a:cubicBezTo>
                      <a:pt x="198" y="1788"/>
                      <a:pt x="211" y="1777"/>
                      <a:pt x="229" y="1772"/>
                    </a:cubicBezTo>
                    <a:cubicBezTo>
                      <a:pt x="236" y="1771"/>
                      <a:pt x="244" y="1770"/>
                      <a:pt x="251" y="1770"/>
                    </a:cubicBezTo>
                    <a:cubicBezTo>
                      <a:pt x="259" y="1770"/>
                      <a:pt x="267" y="1771"/>
                      <a:pt x="273" y="1772"/>
                    </a:cubicBezTo>
                    <a:cubicBezTo>
                      <a:pt x="292" y="1777"/>
                      <a:pt x="305" y="1788"/>
                      <a:pt x="305" y="1801"/>
                    </a:cubicBezTo>
                    <a:close/>
                    <a:moveTo>
                      <a:pt x="76" y="1599"/>
                    </a:moveTo>
                    <a:cubicBezTo>
                      <a:pt x="69" y="1598"/>
                      <a:pt x="62" y="1597"/>
                      <a:pt x="54" y="1597"/>
                    </a:cubicBezTo>
                    <a:cubicBezTo>
                      <a:pt x="46" y="1597"/>
                      <a:pt x="38" y="1598"/>
                      <a:pt x="32" y="1599"/>
                    </a:cubicBezTo>
                    <a:cubicBezTo>
                      <a:pt x="13" y="1604"/>
                      <a:pt x="0" y="1615"/>
                      <a:pt x="0" y="1628"/>
                    </a:cubicBezTo>
                    <a:cubicBezTo>
                      <a:pt x="0" y="1645"/>
                      <a:pt x="24" y="1659"/>
                      <a:pt x="54" y="1659"/>
                    </a:cubicBezTo>
                    <a:cubicBezTo>
                      <a:pt x="83" y="1659"/>
                      <a:pt x="107" y="1645"/>
                      <a:pt x="107" y="1628"/>
                    </a:cubicBezTo>
                    <a:cubicBezTo>
                      <a:pt x="107" y="1615"/>
                      <a:pt x="94" y="1604"/>
                      <a:pt x="76" y="1599"/>
                    </a:cubicBezTo>
                    <a:close/>
                    <a:moveTo>
                      <a:pt x="1402" y="1568"/>
                    </a:moveTo>
                    <a:cubicBezTo>
                      <a:pt x="1396" y="1567"/>
                      <a:pt x="1388" y="1566"/>
                      <a:pt x="1380" y="1566"/>
                    </a:cubicBezTo>
                    <a:cubicBezTo>
                      <a:pt x="1372" y="1566"/>
                      <a:pt x="1365" y="1567"/>
                      <a:pt x="1358" y="1568"/>
                    </a:cubicBezTo>
                    <a:cubicBezTo>
                      <a:pt x="1340" y="1573"/>
                      <a:pt x="1327" y="1584"/>
                      <a:pt x="1327" y="1597"/>
                    </a:cubicBezTo>
                    <a:cubicBezTo>
                      <a:pt x="1327" y="1614"/>
                      <a:pt x="1351" y="1628"/>
                      <a:pt x="1380" y="1628"/>
                    </a:cubicBezTo>
                    <a:cubicBezTo>
                      <a:pt x="1410" y="1628"/>
                      <a:pt x="1434" y="1614"/>
                      <a:pt x="1434" y="1597"/>
                    </a:cubicBezTo>
                    <a:cubicBezTo>
                      <a:pt x="1434" y="1584"/>
                      <a:pt x="1421" y="1573"/>
                      <a:pt x="1402" y="1568"/>
                    </a:cubicBezTo>
                    <a:close/>
                    <a:moveTo>
                      <a:pt x="1106" y="1469"/>
                    </a:moveTo>
                    <a:cubicBezTo>
                      <a:pt x="1100" y="1467"/>
                      <a:pt x="1092" y="1466"/>
                      <a:pt x="1084" y="1466"/>
                    </a:cubicBezTo>
                    <a:cubicBezTo>
                      <a:pt x="1076" y="1466"/>
                      <a:pt x="1069" y="1467"/>
                      <a:pt x="1062" y="1469"/>
                    </a:cubicBezTo>
                    <a:cubicBezTo>
                      <a:pt x="1044" y="1473"/>
                      <a:pt x="1031" y="1484"/>
                      <a:pt x="1031" y="1497"/>
                    </a:cubicBezTo>
                    <a:cubicBezTo>
                      <a:pt x="1031" y="1514"/>
                      <a:pt x="1055" y="1528"/>
                      <a:pt x="1084" y="1528"/>
                    </a:cubicBezTo>
                    <a:cubicBezTo>
                      <a:pt x="1114" y="1528"/>
                      <a:pt x="1138" y="1514"/>
                      <a:pt x="1138" y="1497"/>
                    </a:cubicBezTo>
                    <a:cubicBezTo>
                      <a:pt x="1138" y="1484"/>
                      <a:pt x="1125" y="1473"/>
                      <a:pt x="1106" y="1469"/>
                    </a:cubicBezTo>
                    <a:close/>
                    <a:moveTo>
                      <a:pt x="32" y="500"/>
                    </a:moveTo>
                    <a:cubicBezTo>
                      <a:pt x="32" y="62"/>
                      <a:pt x="32" y="62"/>
                      <a:pt x="32" y="62"/>
                    </a:cubicBezTo>
                    <a:cubicBezTo>
                      <a:pt x="32" y="52"/>
                      <a:pt x="39" y="43"/>
                      <a:pt x="49" y="41"/>
                    </a:cubicBezTo>
                    <a:cubicBezTo>
                      <a:pt x="239" y="1"/>
                      <a:pt x="239" y="1"/>
                      <a:pt x="239" y="1"/>
                    </a:cubicBezTo>
                    <a:cubicBezTo>
                      <a:pt x="239" y="1"/>
                      <a:pt x="239" y="1"/>
                      <a:pt x="239" y="1"/>
                    </a:cubicBezTo>
                    <a:cubicBezTo>
                      <a:pt x="240" y="1"/>
                      <a:pt x="241" y="1"/>
                      <a:pt x="242" y="0"/>
                    </a:cubicBezTo>
                    <a:cubicBezTo>
                      <a:pt x="242" y="0"/>
                      <a:pt x="242" y="0"/>
                      <a:pt x="243" y="0"/>
                    </a:cubicBezTo>
                    <a:cubicBezTo>
                      <a:pt x="243" y="0"/>
                      <a:pt x="243" y="0"/>
                      <a:pt x="244" y="0"/>
                    </a:cubicBezTo>
                    <a:cubicBezTo>
                      <a:pt x="1380" y="0"/>
                      <a:pt x="1380" y="0"/>
                      <a:pt x="1380" y="0"/>
                    </a:cubicBezTo>
                    <a:cubicBezTo>
                      <a:pt x="1392" y="0"/>
                      <a:pt x="1402" y="10"/>
                      <a:pt x="1402" y="22"/>
                    </a:cubicBezTo>
                    <a:cubicBezTo>
                      <a:pt x="1402" y="534"/>
                      <a:pt x="1402" y="534"/>
                      <a:pt x="1402" y="534"/>
                    </a:cubicBezTo>
                    <a:cubicBezTo>
                      <a:pt x="1402" y="546"/>
                      <a:pt x="1393" y="556"/>
                      <a:pt x="1381" y="556"/>
                    </a:cubicBezTo>
                    <a:cubicBezTo>
                      <a:pt x="1204" y="561"/>
                      <a:pt x="1204" y="561"/>
                      <a:pt x="1204" y="561"/>
                    </a:cubicBezTo>
                    <a:cubicBezTo>
                      <a:pt x="1106" y="564"/>
                      <a:pt x="1106" y="564"/>
                      <a:pt x="1106" y="564"/>
                    </a:cubicBezTo>
                    <a:cubicBezTo>
                      <a:pt x="1064" y="565"/>
                      <a:pt x="1064" y="565"/>
                      <a:pt x="1064" y="565"/>
                    </a:cubicBezTo>
                    <a:cubicBezTo>
                      <a:pt x="252" y="588"/>
                      <a:pt x="252" y="588"/>
                      <a:pt x="252" y="588"/>
                    </a:cubicBezTo>
                    <a:cubicBezTo>
                      <a:pt x="252" y="588"/>
                      <a:pt x="252" y="588"/>
                      <a:pt x="251" y="588"/>
                    </a:cubicBezTo>
                    <a:cubicBezTo>
                      <a:pt x="249" y="588"/>
                      <a:pt x="247" y="588"/>
                      <a:pt x="245" y="587"/>
                    </a:cubicBezTo>
                    <a:cubicBezTo>
                      <a:pt x="237" y="585"/>
                      <a:pt x="237" y="585"/>
                      <a:pt x="237" y="585"/>
                    </a:cubicBezTo>
                    <a:cubicBezTo>
                      <a:pt x="237" y="585"/>
                      <a:pt x="237" y="585"/>
                      <a:pt x="237" y="585"/>
                    </a:cubicBezTo>
                    <a:cubicBezTo>
                      <a:pt x="237" y="585"/>
                      <a:pt x="237" y="585"/>
                      <a:pt x="237" y="585"/>
                    </a:cubicBezTo>
                    <a:cubicBezTo>
                      <a:pt x="184" y="567"/>
                      <a:pt x="184" y="567"/>
                      <a:pt x="184" y="567"/>
                    </a:cubicBezTo>
                    <a:cubicBezTo>
                      <a:pt x="47" y="521"/>
                      <a:pt x="47" y="521"/>
                      <a:pt x="47" y="521"/>
                    </a:cubicBezTo>
                    <a:cubicBezTo>
                      <a:pt x="38" y="518"/>
                      <a:pt x="32" y="510"/>
                      <a:pt x="32" y="500"/>
                    </a:cubicBezTo>
                    <a:close/>
                    <a:moveTo>
                      <a:pt x="1358" y="44"/>
                    </a:moveTo>
                    <a:cubicBezTo>
                      <a:pt x="266" y="44"/>
                      <a:pt x="266" y="44"/>
                      <a:pt x="266" y="44"/>
                    </a:cubicBezTo>
                    <a:cubicBezTo>
                      <a:pt x="266" y="544"/>
                      <a:pt x="266" y="544"/>
                      <a:pt x="266" y="544"/>
                    </a:cubicBezTo>
                    <a:cubicBezTo>
                      <a:pt x="1358" y="513"/>
                      <a:pt x="1358" y="513"/>
                      <a:pt x="1358" y="513"/>
                    </a:cubicBezTo>
                    <a:lnTo>
                      <a:pt x="1358" y="44"/>
                    </a:lnTo>
                    <a:close/>
                    <a:moveTo>
                      <a:pt x="76" y="485"/>
                    </a:moveTo>
                    <a:cubicBezTo>
                      <a:pt x="222" y="533"/>
                      <a:pt x="222" y="533"/>
                      <a:pt x="222" y="533"/>
                    </a:cubicBezTo>
                    <a:cubicBezTo>
                      <a:pt x="222" y="49"/>
                      <a:pt x="222" y="49"/>
                      <a:pt x="222" y="49"/>
                    </a:cubicBezTo>
                    <a:cubicBezTo>
                      <a:pt x="76" y="80"/>
                      <a:pt x="76" y="80"/>
                      <a:pt x="76" y="80"/>
                    </a:cubicBezTo>
                    <a:lnTo>
                      <a:pt x="76" y="485"/>
                    </a:lnTo>
                    <a:close/>
                    <a:moveTo>
                      <a:pt x="120" y="1010"/>
                    </a:moveTo>
                    <a:cubicBezTo>
                      <a:pt x="185" y="1038"/>
                      <a:pt x="185" y="1038"/>
                      <a:pt x="185" y="1038"/>
                    </a:cubicBezTo>
                    <a:cubicBezTo>
                      <a:pt x="185" y="703"/>
                      <a:pt x="185" y="703"/>
                      <a:pt x="185" y="703"/>
                    </a:cubicBezTo>
                    <a:cubicBezTo>
                      <a:pt x="120" y="683"/>
                      <a:pt x="120" y="683"/>
                      <a:pt x="120" y="683"/>
                    </a:cubicBezTo>
                    <a:lnTo>
                      <a:pt x="120" y="1010"/>
                    </a:lnTo>
                    <a:close/>
                    <a:moveTo>
                      <a:pt x="1150" y="1015"/>
                    </a:moveTo>
                    <a:cubicBezTo>
                      <a:pt x="1314" y="1005"/>
                      <a:pt x="1314" y="1005"/>
                      <a:pt x="1314" y="1005"/>
                    </a:cubicBezTo>
                    <a:cubicBezTo>
                      <a:pt x="1314" y="691"/>
                      <a:pt x="1314" y="691"/>
                      <a:pt x="1314" y="691"/>
                    </a:cubicBezTo>
                    <a:cubicBezTo>
                      <a:pt x="1150" y="696"/>
                      <a:pt x="1150" y="696"/>
                      <a:pt x="1150" y="696"/>
                    </a:cubicBezTo>
                    <a:lnTo>
                      <a:pt x="1150" y="1015"/>
                    </a:lnTo>
                    <a:close/>
                    <a:moveTo>
                      <a:pt x="1201" y="420"/>
                    </a:moveTo>
                    <a:cubicBezTo>
                      <a:pt x="1202" y="420"/>
                      <a:pt x="1202" y="420"/>
                      <a:pt x="1203" y="420"/>
                    </a:cubicBezTo>
                    <a:cubicBezTo>
                      <a:pt x="1221" y="419"/>
                      <a:pt x="1236" y="403"/>
                      <a:pt x="1236" y="385"/>
                    </a:cubicBezTo>
                    <a:cubicBezTo>
                      <a:pt x="1236" y="369"/>
                      <a:pt x="1224" y="357"/>
                      <a:pt x="1208" y="357"/>
                    </a:cubicBezTo>
                    <a:cubicBezTo>
                      <a:pt x="1207" y="357"/>
                      <a:pt x="1206" y="357"/>
                      <a:pt x="1206" y="357"/>
                    </a:cubicBezTo>
                    <a:cubicBezTo>
                      <a:pt x="1188" y="358"/>
                      <a:pt x="1173" y="374"/>
                      <a:pt x="1173" y="392"/>
                    </a:cubicBezTo>
                    <a:cubicBezTo>
                      <a:pt x="1173" y="408"/>
                      <a:pt x="1185" y="420"/>
                      <a:pt x="1201" y="420"/>
                    </a:cubicBezTo>
                    <a:close/>
                  </a:path>
                </a:pathLst>
              </a:custGeom>
              <a:solidFill>
                <a:srgbClr val="003B59"/>
              </a:solidFill>
              <a:ln>
                <a:noFill/>
              </a:ln>
            </p:spPr>
            <p:txBody>
              <a:bodyPr vert="horz" wrap="square" lIns="91440" tIns="45720" rIns="91440" bIns="45720" numCol="1" anchor="t" anchorCtr="0" compatLnSpc="1">
                <a:prstTxWarp prst="textNoShape">
                  <a:avLst/>
                </a:prstTxWarp>
              </a:bodyPr>
              <a:lstStyle/>
              <a:p>
                <a:endParaRPr lang="de-DE" dirty="0"/>
              </a:p>
            </p:txBody>
          </p:sp>
        </p:grpSp>
      </p:grpSp>
      <p:cxnSp>
        <p:nvCxnSpPr>
          <p:cNvPr id="161" name="Straight Connector 160">
            <a:extLst>
              <a:ext uri="{FF2B5EF4-FFF2-40B4-BE49-F238E27FC236}">
                <a16:creationId xmlns:a16="http://schemas.microsoft.com/office/drawing/2014/main" id="{923F0F37-13B6-470D-9CEA-11D472FAFDFD}"/>
              </a:ext>
            </a:extLst>
          </p:cNvPr>
          <p:cNvCxnSpPr/>
          <p:nvPr/>
        </p:nvCxnSpPr>
        <p:spPr bwMode="auto">
          <a:xfrm>
            <a:off x="6635236" y="1691646"/>
            <a:ext cx="0" cy="2160240"/>
          </a:xfrm>
          <a:prstGeom prst="line">
            <a:avLst/>
          </a:prstGeom>
          <a:noFill/>
          <a:ln w="9525" cap="flat" cmpd="sng" algn="ctr">
            <a:solidFill>
              <a:srgbClr val="898989"/>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2" name="Speech Bubble: Rectangle 161">
            <a:extLst>
              <a:ext uri="{FF2B5EF4-FFF2-40B4-BE49-F238E27FC236}">
                <a16:creationId xmlns:a16="http://schemas.microsoft.com/office/drawing/2014/main" id="{B6B412BB-BD00-4D22-9CD2-9A6D873BD35D}"/>
              </a:ext>
            </a:extLst>
          </p:cNvPr>
          <p:cNvSpPr/>
          <p:nvPr/>
        </p:nvSpPr>
        <p:spPr bwMode="auto">
          <a:xfrm>
            <a:off x="6865074" y="2748696"/>
            <a:ext cx="1671574" cy="1103190"/>
          </a:xfrm>
          <a:prstGeom prst="wedgeRectCallout">
            <a:avLst>
              <a:gd name="adj1" fmla="val 3769"/>
              <a:gd name="adj2" fmla="val -61307"/>
            </a:avLst>
          </a:prstGeom>
          <a:noFill/>
          <a:ln w="9525" cap="flat" cmpd="sng" algn="ctr">
            <a:solidFill>
              <a:srgbClr val="0A4E78"/>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163" name="Group 162">
            <a:extLst>
              <a:ext uri="{FF2B5EF4-FFF2-40B4-BE49-F238E27FC236}">
                <a16:creationId xmlns:a16="http://schemas.microsoft.com/office/drawing/2014/main" id="{5E1CBED7-83A5-4EEE-91DC-4A76E04F6B14}"/>
              </a:ext>
            </a:extLst>
          </p:cNvPr>
          <p:cNvGrpSpPr>
            <a:grpSpLocks noChangeAspect="1"/>
          </p:cNvGrpSpPr>
          <p:nvPr/>
        </p:nvGrpSpPr>
        <p:grpSpPr>
          <a:xfrm>
            <a:off x="7553583" y="2994670"/>
            <a:ext cx="927085" cy="927085"/>
            <a:chOff x="5273675" y="2606675"/>
            <a:chExt cx="1644650" cy="1644650"/>
          </a:xfrm>
        </p:grpSpPr>
        <p:sp>
          <p:nvSpPr>
            <p:cNvPr id="164" name="AutoShape 27">
              <a:extLst>
                <a:ext uri="{FF2B5EF4-FFF2-40B4-BE49-F238E27FC236}">
                  <a16:creationId xmlns:a16="http://schemas.microsoft.com/office/drawing/2014/main" id="{48058E80-6B51-4639-8189-31C320430A6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65" name="Group 164">
              <a:extLst>
                <a:ext uri="{FF2B5EF4-FFF2-40B4-BE49-F238E27FC236}">
                  <a16:creationId xmlns:a16="http://schemas.microsoft.com/office/drawing/2014/main" id="{4CA768E3-D5C7-400C-81D4-98C3078C810A}"/>
                </a:ext>
              </a:extLst>
            </p:cNvPr>
            <p:cNvGrpSpPr/>
            <p:nvPr/>
          </p:nvGrpSpPr>
          <p:grpSpPr>
            <a:xfrm>
              <a:off x="5445125" y="2962275"/>
              <a:ext cx="1303338" cy="930275"/>
              <a:chOff x="5445125" y="2962275"/>
              <a:chExt cx="1303338" cy="930275"/>
            </a:xfrm>
          </p:grpSpPr>
          <p:sp>
            <p:nvSpPr>
              <p:cNvPr id="166" name="Freeform 11">
                <a:extLst>
                  <a:ext uri="{FF2B5EF4-FFF2-40B4-BE49-F238E27FC236}">
                    <a16:creationId xmlns:a16="http://schemas.microsoft.com/office/drawing/2014/main" id="{2D470074-DA61-4422-AD5F-C4D29FA8CB6E}"/>
                  </a:ext>
                </a:extLst>
              </p:cNvPr>
              <p:cNvSpPr>
                <a:spLocks/>
              </p:cNvSpPr>
              <p:nvPr/>
            </p:nvSpPr>
            <p:spPr bwMode="auto">
              <a:xfrm>
                <a:off x="5445125" y="2962275"/>
                <a:ext cx="1303338" cy="930275"/>
              </a:xfrm>
              <a:custGeom>
                <a:avLst/>
                <a:gdLst>
                  <a:gd name="connsiteX0" fmla="*/ 30163 w 1303338"/>
                  <a:gd name="connsiteY0" fmla="*/ 33338 h 930275"/>
                  <a:gd name="connsiteX1" fmla="*/ 30163 w 1303338"/>
                  <a:gd name="connsiteY1" fmla="*/ 898526 h 930275"/>
                  <a:gd name="connsiteX2" fmla="*/ 1273176 w 1303338"/>
                  <a:gd name="connsiteY2" fmla="*/ 898526 h 930275"/>
                  <a:gd name="connsiteX3" fmla="*/ 1273176 w 1303338"/>
                  <a:gd name="connsiteY3" fmla="*/ 33338 h 930275"/>
                  <a:gd name="connsiteX4" fmla="*/ 30163 w 1303338"/>
                  <a:gd name="connsiteY4" fmla="*/ 33338 h 930275"/>
                  <a:gd name="connsiteX5" fmla="*/ 15703 w 1303338"/>
                  <a:gd name="connsiteY5" fmla="*/ 0 h 930275"/>
                  <a:gd name="connsiteX6" fmla="*/ 1287635 w 1303338"/>
                  <a:gd name="connsiteY6" fmla="*/ 0 h 930275"/>
                  <a:gd name="connsiteX7" fmla="*/ 1303338 w 1303338"/>
                  <a:gd name="connsiteY7" fmla="*/ 15719 h 930275"/>
                  <a:gd name="connsiteX8" fmla="*/ 1303338 w 1303338"/>
                  <a:gd name="connsiteY8" fmla="*/ 914556 h 930275"/>
                  <a:gd name="connsiteX9" fmla="*/ 1287635 w 1303338"/>
                  <a:gd name="connsiteY9" fmla="*/ 930275 h 930275"/>
                  <a:gd name="connsiteX10" fmla="*/ 15703 w 1303338"/>
                  <a:gd name="connsiteY10" fmla="*/ 930275 h 930275"/>
                  <a:gd name="connsiteX11" fmla="*/ 0 w 1303338"/>
                  <a:gd name="connsiteY11" fmla="*/ 914556 h 930275"/>
                  <a:gd name="connsiteX12" fmla="*/ 0 w 1303338"/>
                  <a:gd name="connsiteY12" fmla="*/ 15719 h 930275"/>
                  <a:gd name="connsiteX13" fmla="*/ 15703 w 1303338"/>
                  <a:gd name="connsiteY13"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3338" h="930275">
                    <a:moveTo>
                      <a:pt x="30163" y="33338"/>
                    </a:moveTo>
                    <a:cubicBezTo>
                      <a:pt x="30163" y="898526"/>
                      <a:pt x="30163" y="898526"/>
                      <a:pt x="30163" y="898526"/>
                    </a:cubicBezTo>
                    <a:cubicBezTo>
                      <a:pt x="1273176" y="898526"/>
                      <a:pt x="1273176" y="898526"/>
                      <a:pt x="1273176" y="898526"/>
                    </a:cubicBezTo>
                    <a:cubicBezTo>
                      <a:pt x="1273176" y="33338"/>
                      <a:pt x="1273176" y="33338"/>
                      <a:pt x="1273176" y="33338"/>
                    </a:cubicBezTo>
                    <a:cubicBezTo>
                      <a:pt x="30163" y="33338"/>
                      <a:pt x="30163" y="33338"/>
                      <a:pt x="30163" y="33338"/>
                    </a:cubicBezTo>
                    <a:close/>
                    <a:moveTo>
                      <a:pt x="15703" y="0"/>
                    </a:moveTo>
                    <a:cubicBezTo>
                      <a:pt x="15703" y="0"/>
                      <a:pt x="15703" y="0"/>
                      <a:pt x="1287635" y="0"/>
                    </a:cubicBezTo>
                    <a:cubicBezTo>
                      <a:pt x="1296201" y="0"/>
                      <a:pt x="1303338" y="6431"/>
                      <a:pt x="1303338" y="15719"/>
                    </a:cubicBezTo>
                    <a:cubicBezTo>
                      <a:pt x="1303338" y="15719"/>
                      <a:pt x="1303338" y="15719"/>
                      <a:pt x="1303338" y="914556"/>
                    </a:cubicBezTo>
                    <a:cubicBezTo>
                      <a:pt x="1303338" y="923845"/>
                      <a:pt x="1296201" y="930275"/>
                      <a:pt x="1287635" y="930275"/>
                    </a:cubicBezTo>
                    <a:cubicBezTo>
                      <a:pt x="1287635" y="930275"/>
                      <a:pt x="1287635" y="930275"/>
                      <a:pt x="15703" y="930275"/>
                    </a:cubicBezTo>
                    <a:cubicBezTo>
                      <a:pt x="7138" y="930275"/>
                      <a:pt x="0" y="923845"/>
                      <a:pt x="0" y="914556"/>
                    </a:cubicBezTo>
                    <a:cubicBezTo>
                      <a:pt x="0" y="914556"/>
                      <a:pt x="0" y="914556"/>
                      <a:pt x="0" y="15719"/>
                    </a:cubicBezTo>
                    <a:cubicBezTo>
                      <a:pt x="0" y="6431"/>
                      <a:pt x="7138" y="0"/>
                      <a:pt x="15703" y="0"/>
                    </a:cubicBezTo>
                    <a:close/>
                  </a:path>
                </a:pathLst>
              </a:custGeom>
              <a:solidFill>
                <a:srgbClr val="003B59"/>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167" name="Freeform 12">
                <a:extLst>
                  <a:ext uri="{FF2B5EF4-FFF2-40B4-BE49-F238E27FC236}">
                    <a16:creationId xmlns:a16="http://schemas.microsoft.com/office/drawing/2014/main" id="{649BCFFA-0A40-4B2F-BE6A-CD070F74BE20}"/>
                  </a:ext>
                </a:extLst>
              </p:cNvPr>
              <p:cNvSpPr>
                <a:spLocks/>
              </p:cNvSpPr>
              <p:nvPr/>
            </p:nvSpPr>
            <p:spPr bwMode="auto">
              <a:xfrm>
                <a:off x="5507038" y="3025775"/>
                <a:ext cx="1177925" cy="806451"/>
              </a:xfrm>
              <a:custGeom>
                <a:avLst/>
                <a:gdLst>
                  <a:gd name="connsiteX0" fmla="*/ 493316 w 1177925"/>
                  <a:gd name="connsiteY0" fmla="*/ 647700 h 806451"/>
                  <a:gd name="connsiteX1" fmla="*/ 528158 w 1177925"/>
                  <a:gd name="connsiteY1" fmla="*/ 647700 h 806451"/>
                  <a:gd name="connsiteX2" fmla="*/ 544513 w 1177925"/>
                  <a:gd name="connsiteY2" fmla="*/ 662650 h 806451"/>
                  <a:gd name="connsiteX3" fmla="*/ 544513 w 1177925"/>
                  <a:gd name="connsiteY3" fmla="*/ 792212 h 806451"/>
                  <a:gd name="connsiteX4" fmla="*/ 528158 w 1177925"/>
                  <a:gd name="connsiteY4" fmla="*/ 806450 h 806451"/>
                  <a:gd name="connsiteX5" fmla="*/ 493316 w 1177925"/>
                  <a:gd name="connsiteY5" fmla="*/ 806450 h 806451"/>
                  <a:gd name="connsiteX6" fmla="*/ 476250 w 1177925"/>
                  <a:gd name="connsiteY6" fmla="*/ 792212 h 806451"/>
                  <a:gd name="connsiteX7" fmla="*/ 476250 w 1177925"/>
                  <a:gd name="connsiteY7" fmla="*/ 662650 h 806451"/>
                  <a:gd name="connsiteX8" fmla="*/ 493316 w 1177925"/>
                  <a:gd name="connsiteY8" fmla="*/ 647700 h 806451"/>
                  <a:gd name="connsiteX9" fmla="*/ 810734 w 1177925"/>
                  <a:gd name="connsiteY9" fmla="*/ 536575 h 806451"/>
                  <a:gd name="connsiteX10" fmla="*/ 844328 w 1177925"/>
                  <a:gd name="connsiteY10" fmla="*/ 536575 h 806451"/>
                  <a:gd name="connsiteX11" fmla="*/ 860425 w 1177925"/>
                  <a:gd name="connsiteY11" fmla="*/ 550817 h 806451"/>
                  <a:gd name="connsiteX12" fmla="*/ 860425 w 1177925"/>
                  <a:gd name="connsiteY12" fmla="*/ 792209 h 806451"/>
                  <a:gd name="connsiteX13" fmla="*/ 844328 w 1177925"/>
                  <a:gd name="connsiteY13" fmla="*/ 806450 h 806451"/>
                  <a:gd name="connsiteX14" fmla="*/ 810734 w 1177925"/>
                  <a:gd name="connsiteY14" fmla="*/ 806450 h 806451"/>
                  <a:gd name="connsiteX15" fmla="*/ 795337 w 1177925"/>
                  <a:gd name="connsiteY15" fmla="*/ 792209 h 806451"/>
                  <a:gd name="connsiteX16" fmla="*/ 795337 w 1177925"/>
                  <a:gd name="connsiteY16" fmla="*/ 550817 h 806451"/>
                  <a:gd name="connsiteX17" fmla="*/ 810734 w 1177925"/>
                  <a:gd name="connsiteY17" fmla="*/ 536575 h 806451"/>
                  <a:gd name="connsiteX18" fmla="*/ 650147 w 1177925"/>
                  <a:gd name="connsiteY18" fmla="*/ 477838 h 806451"/>
                  <a:gd name="connsiteX19" fmla="*/ 685799 w 1177925"/>
                  <a:gd name="connsiteY19" fmla="*/ 477838 h 806451"/>
                  <a:gd name="connsiteX20" fmla="*/ 703262 w 1177925"/>
                  <a:gd name="connsiteY20" fmla="*/ 492095 h 806451"/>
                  <a:gd name="connsiteX21" fmla="*/ 703262 w 1177925"/>
                  <a:gd name="connsiteY21" fmla="*/ 792195 h 806451"/>
                  <a:gd name="connsiteX22" fmla="*/ 685799 w 1177925"/>
                  <a:gd name="connsiteY22" fmla="*/ 806451 h 806451"/>
                  <a:gd name="connsiteX23" fmla="*/ 650147 w 1177925"/>
                  <a:gd name="connsiteY23" fmla="*/ 806451 h 806451"/>
                  <a:gd name="connsiteX24" fmla="*/ 633412 w 1177925"/>
                  <a:gd name="connsiteY24" fmla="*/ 792195 h 806451"/>
                  <a:gd name="connsiteX25" fmla="*/ 633412 w 1177925"/>
                  <a:gd name="connsiteY25" fmla="*/ 492095 h 806451"/>
                  <a:gd name="connsiteX26" fmla="*/ 650147 w 1177925"/>
                  <a:gd name="connsiteY26" fmla="*/ 477838 h 806451"/>
                  <a:gd name="connsiteX27" fmla="*/ 16354 w 1177925"/>
                  <a:gd name="connsiteY27" fmla="*/ 419100 h 806451"/>
                  <a:gd name="connsiteX28" fmla="*/ 51908 w 1177925"/>
                  <a:gd name="connsiteY28" fmla="*/ 419100 h 806451"/>
                  <a:gd name="connsiteX29" fmla="*/ 68263 w 1177925"/>
                  <a:gd name="connsiteY29" fmla="*/ 434081 h 806451"/>
                  <a:gd name="connsiteX30" fmla="*/ 68263 w 1177925"/>
                  <a:gd name="connsiteY30" fmla="*/ 792183 h 806451"/>
                  <a:gd name="connsiteX31" fmla="*/ 51908 w 1177925"/>
                  <a:gd name="connsiteY31" fmla="*/ 806450 h 806451"/>
                  <a:gd name="connsiteX32" fmla="*/ 16354 w 1177925"/>
                  <a:gd name="connsiteY32" fmla="*/ 806450 h 806451"/>
                  <a:gd name="connsiteX33" fmla="*/ 0 w 1177925"/>
                  <a:gd name="connsiteY33" fmla="*/ 792183 h 806451"/>
                  <a:gd name="connsiteX34" fmla="*/ 0 w 1177925"/>
                  <a:gd name="connsiteY34" fmla="*/ 434081 h 806451"/>
                  <a:gd name="connsiteX35" fmla="*/ 16354 w 1177925"/>
                  <a:gd name="connsiteY35" fmla="*/ 419100 h 806451"/>
                  <a:gd name="connsiteX36" fmla="*/ 967266 w 1177925"/>
                  <a:gd name="connsiteY36" fmla="*/ 411163 h 806451"/>
                  <a:gd name="connsiteX37" fmla="*/ 1002820 w 1177925"/>
                  <a:gd name="connsiteY37" fmla="*/ 411163 h 806451"/>
                  <a:gd name="connsiteX38" fmla="*/ 1019175 w 1177925"/>
                  <a:gd name="connsiteY38" fmla="*/ 426147 h 806451"/>
                  <a:gd name="connsiteX39" fmla="*/ 1019175 w 1177925"/>
                  <a:gd name="connsiteY39" fmla="*/ 792181 h 806451"/>
                  <a:gd name="connsiteX40" fmla="*/ 1002820 w 1177925"/>
                  <a:gd name="connsiteY40" fmla="*/ 806451 h 806451"/>
                  <a:gd name="connsiteX41" fmla="*/ 967266 w 1177925"/>
                  <a:gd name="connsiteY41" fmla="*/ 806451 h 806451"/>
                  <a:gd name="connsiteX42" fmla="*/ 950912 w 1177925"/>
                  <a:gd name="connsiteY42" fmla="*/ 792181 h 806451"/>
                  <a:gd name="connsiteX43" fmla="*/ 950912 w 1177925"/>
                  <a:gd name="connsiteY43" fmla="*/ 426147 h 806451"/>
                  <a:gd name="connsiteX44" fmla="*/ 967266 w 1177925"/>
                  <a:gd name="connsiteY44" fmla="*/ 411163 h 806451"/>
                  <a:gd name="connsiteX45" fmla="*/ 333989 w 1177925"/>
                  <a:gd name="connsiteY45" fmla="*/ 387350 h 806451"/>
                  <a:gd name="connsiteX46" fmla="*/ 368402 w 1177925"/>
                  <a:gd name="connsiteY46" fmla="*/ 387350 h 806451"/>
                  <a:gd name="connsiteX47" fmla="*/ 384175 w 1177925"/>
                  <a:gd name="connsiteY47" fmla="*/ 402343 h 806451"/>
                  <a:gd name="connsiteX48" fmla="*/ 384175 w 1177925"/>
                  <a:gd name="connsiteY48" fmla="*/ 792171 h 806451"/>
                  <a:gd name="connsiteX49" fmla="*/ 368402 w 1177925"/>
                  <a:gd name="connsiteY49" fmla="*/ 806450 h 806451"/>
                  <a:gd name="connsiteX50" fmla="*/ 333989 w 1177925"/>
                  <a:gd name="connsiteY50" fmla="*/ 806450 h 806451"/>
                  <a:gd name="connsiteX51" fmla="*/ 317500 w 1177925"/>
                  <a:gd name="connsiteY51" fmla="*/ 792171 h 806451"/>
                  <a:gd name="connsiteX52" fmla="*/ 317500 w 1177925"/>
                  <a:gd name="connsiteY52" fmla="*/ 402343 h 806451"/>
                  <a:gd name="connsiteX53" fmla="*/ 333989 w 1177925"/>
                  <a:gd name="connsiteY53" fmla="*/ 387350 h 806451"/>
                  <a:gd name="connsiteX54" fmla="*/ 175104 w 1177925"/>
                  <a:gd name="connsiteY54" fmla="*/ 369888 h 806451"/>
                  <a:gd name="connsiteX55" fmla="*/ 210658 w 1177925"/>
                  <a:gd name="connsiteY55" fmla="*/ 369888 h 806451"/>
                  <a:gd name="connsiteX56" fmla="*/ 227013 w 1177925"/>
                  <a:gd name="connsiteY56" fmla="*/ 384178 h 806451"/>
                  <a:gd name="connsiteX57" fmla="*/ 227013 w 1177925"/>
                  <a:gd name="connsiteY57" fmla="*/ 792161 h 806451"/>
                  <a:gd name="connsiteX58" fmla="*/ 210658 w 1177925"/>
                  <a:gd name="connsiteY58" fmla="*/ 806451 h 806451"/>
                  <a:gd name="connsiteX59" fmla="*/ 175104 w 1177925"/>
                  <a:gd name="connsiteY59" fmla="*/ 806451 h 806451"/>
                  <a:gd name="connsiteX60" fmla="*/ 158750 w 1177925"/>
                  <a:gd name="connsiteY60" fmla="*/ 792161 h 806451"/>
                  <a:gd name="connsiteX61" fmla="*/ 158750 w 1177925"/>
                  <a:gd name="connsiteY61" fmla="*/ 384178 h 806451"/>
                  <a:gd name="connsiteX62" fmla="*/ 175104 w 1177925"/>
                  <a:gd name="connsiteY62" fmla="*/ 369888 h 806451"/>
                  <a:gd name="connsiteX63" fmla="*/ 1126017 w 1177925"/>
                  <a:gd name="connsiteY63" fmla="*/ 0 h 806451"/>
                  <a:gd name="connsiteX64" fmla="*/ 1161571 w 1177925"/>
                  <a:gd name="connsiteY64" fmla="*/ 0 h 806451"/>
                  <a:gd name="connsiteX65" fmla="*/ 1177925 w 1177925"/>
                  <a:gd name="connsiteY65" fmla="*/ 14274 h 806451"/>
                  <a:gd name="connsiteX66" fmla="*/ 1177925 w 1177925"/>
                  <a:gd name="connsiteY66" fmla="*/ 792177 h 806451"/>
                  <a:gd name="connsiteX67" fmla="*/ 1161571 w 1177925"/>
                  <a:gd name="connsiteY67" fmla="*/ 806450 h 806451"/>
                  <a:gd name="connsiteX68" fmla="*/ 1126017 w 1177925"/>
                  <a:gd name="connsiteY68" fmla="*/ 806450 h 806451"/>
                  <a:gd name="connsiteX69" fmla="*/ 1109662 w 1177925"/>
                  <a:gd name="connsiteY69" fmla="*/ 792177 h 806451"/>
                  <a:gd name="connsiteX70" fmla="*/ 1109662 w 1177925"/>
                  <a:gd name="connsiteY70" fmla="*/ 14274 h 806451"/>
                  <a:gd name="connsiteX71" fmla="*/ 1126017 w 1177925"/>
                  <a:gd name="connsiteY71" fmla="*/ 0 h 8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77925" h="806451">
                    <a:moveTo>
                      <a:pt x="493316" y="647700"/>
                    </a:moveTo>
                    <a:cubicBezTo>
                      <a:pt x="493316" y="647700"/>
                      <a:pt x="493316" y="647700"/>
                      <a:pt x="528158" y="647700"/>
                    </a:cubicBezTo>
                    <a:cubicBezTo>
                      <a:pt x="536691" y="647700"/>
                      <a:pt x="544513" y="654107"/>
                      <a:pt x="544513" y="662650"/>
                    </a:cubicBezTo>
                    <a:cubicBezTo>
                      <a:pt x="544513" y="662650"/>
                      <a:pt x="544513" y="662650"/>
                      <a:pt x="544513" y="792212"/>
                    </a:cubicBezTo>
                    <a:cubicBezTo>
                      <a:pt x="544513" y="800043"/>
                      <a:pt x="536691" y="806450"/>
                      <a:pt x="528158" y="806450"/>
                    </a:cubicBezTo>
                    <a:cubicBezTo>
                      <a:pt x="528158" y="806450"/>
                      <a:pt x="528158" y="806450"/>
                      <a:pt x="493316" y="806450"/>
                    </a:cubicBezTo>
                    <a:cubicBezTo>
                      <a:pt x="484072" y="806450"/>
                      <a:pt x="476250" y="800043"/>
                      <a:pt x="476250" y="792212"/>
                    </a:cubicBezTo>
                    <a:cubicBezTo>
                      <a:pt x="476250" y="792212"/>
                      <a:pt x="476250" y="792212"/>
                      <a:pt x="476250" y="662650"/>
                    </a:cubicBezTo>
                    <a:cubicBezTo>
                      <a:pt x="476250" y="654107"/>
                      <a:pt x="484072" y="647700"/>
                      <a:pt x="493316" y="647700"/>
                    </a:cubicBezTo>
                    <a:close/>
                    <a:moveTo>
                      <a:pt x="810734" y="536575"/>
                    </a:moveTo>
                    <a:cubicBezTo>
                      <a:pt x="810734" y="536575"/>
                      <a:pt x="810734" y="536575"/>
                      <a:pt x="844328" y="536575"/>
                    </a:cubicBezTo>
                    <a:cubicBezTo>
                      <a:pt x="852726" y="536575"/>
                      <a:pt x="860425" y="542272"/>
                      <a:pt x="860425" y="550817"/>
                    </a:cubicBezTo>
                    <a:cubicBezTo>
                      <a:pt x="860425" y="550817"/>
                      <a:pt x="860425" y="550817"/>
                      <a:pt x="860425" y="792209"/>
                    </a:cubicBezTo>
                    <a:cubicBezTo>
                      <a:pt x="860425" y="800041"/>
                      <a:pt x="852726" y="806450"/>
                      <a:pt x="844328" y="806450"/>
                    </a:cubicBezTo>
                    <a:cubicBezTo>
                      <a:pt x="844328" y="806450"/>
                      <a:pt x="844328" y="806450"/>
                      <a:pt x="810734" y="806450"/>
                    </a:cubicBezTo>
                    <a:cubicBezTo>
                      <a:pt x="802335" y="806450"/>
                      <a:pt x="795337" y="800041"/>
                      <a:pt x="795337" y="792209"/>
                    </a:cubicBezTo>
                    <a:cubicBezTo>
                      <a:pt x="795337" y="792209"/>
                      <a:pt x="795337" y="792209"/>
                      <a:pt x="795337" y="550817"/>
                    </a:cubicBezTo>
                    <a:cubicBezTo>
                      <a:pt x="795337" y="542272"/>
                      <a:pt x="802335" y="536575"/>
                      <a:pt x="810734" y="536575"/>
                    </a:cubicBezTo>
                    <a:close/>
                    <a:moveTo>
                      <a:pt x="650147" y="477838"/>
                    </a:moveTo>
                    <a:cubicBezTo>
                      <a:pt x="650147" y="477838"/>
                      <a:pt x="650147" y="477838"/>
                      <a:pt x="685799" y="477838"/>
                    </a:cubicBezTo>
                    <a:cubicBezTo>
                      <a:pt x="695258" y="477838"/>
                      <a:pt x="703262" y="484254"/>
                      <a:pt x="703262" y="492095"/>
                    </a:cubicBezTo>
                    <a:cubicBezTo>
                      <a:pt x="703262" y="492095"/>
                      <a:pt x="703262" y="492095"/>
                      <a:pt x="703262" y="792195"/>
                    </a:cubicBezTo>
                    <a:cubicBezTo>
                      <a:pt x="703262" y="800036"/>
                      <a:pt x="695258" y="806451"/>
                      <a:pt x="685799" y="806451"/>
                    </a:cubicBezTo>
                    <a:cubicBezTo>
                      <a:pt x="685799" y="806451"/>
                      <a:pt x="685799" y="806451"/>
                      <a:pt x="650147" y="806451"/>
                    </a:cubicBezTo>
                    <a:cubicBezTo>
                      <a:pt x="641415" y="806451"/>
                      <a:pt x="633412" y="800036"/>
                      <a:pt x="633412" y="792195"/>
                    </a:cubicBezTo>
                    <a:cubicBezTo>
                      <a:pt x="633412" y="792195"/>
                      <a:pt x="633412" y="792195"/>
                      <a:pt x="633412" y="492095"/>
                    </a:cubicBezTo>
                    <a:cubicBezTo>
                      <a:pt x="633412" y="484254"/>
                      <a:pt x="641415" y="477838"/>
                      <a:pt x="650147" y="477838"/>
                    </a:cubicBezTo>
                    <a:close/>
                    <a:moveTo>
                      <a:pt x="16354" y="419100"/>
                    </a:moveTo>
                    <a:cubicBezTo>
                      <a:pt x="16354" y="419100"/>
                      <a:pt x="16354" y="419100"/>
                      <a:pt x="51908" y="419100"/>
                    </a:cubicBezTo>
                    <a:cubicBezTo>
                      <a:pt x="60441" y="419100"/>
                      <a:pt x="68263" y="426234"/>
                      <a:pt x="68263" y="434081"/>
                    </a:cubicBezTo>
                    <a:cubicBezTo>
                      <a:pt x="68263" y="434081"/>
                      <a:pt x="68263" y="434081"/>
                      <a:pt x="68263" y="792183"/>
                    </a:cubicBezTo>
                    <a:cubicBezTo>
                      <a:pt x="68263" y="800030"/>
                      <a:pt x="60441" y="806450"/>
                      <a:pt x="51908" y="806450"/>
                    </a:cubicBezTo>
                    <a:cubicBezTo>
                      <a:pt x="51908" y="806450"/>
                      <a:pt x="51908" y="806450"/>
                      <a:pt x="16354" y="806450"/>
                    </a:cubicBezTo>
                    <a:cubicBezTo>
                      <a:pt x="7822" y="806450"/>
                      <a:pt x="0" y="800030"/>
                      <a:pt x="0" y="792183"/>
                    </a:cubicBezTo>
                    <a:cubicBezTo>
                      <a:pt x="0" y="792183"/>
                      <a:pt x="0" y="792183"/>
                      <a:pt x="0" y="434081"/>
                    </a:cubicBezTo>
                    <a:cubicBezTo>
                      <a:pt x="0" y="426234"/>
                      <a:pt x="7822" y="419100"/>
                      <a:pt x="16354" y="419100"/>
                    </a:cubicBezTo>
                    <a:close/>
                    <a:moveTo>
                      <a:pt x="967266" y="411163"/>
                    </a:moveTo>
                    <a:cubicBezTo>
                      <a:pt x="967266" y="411163"/>
                      <a:pt x="967266" y="411163"/>
                      <a:pt x="1002820" y="411163"/>
                    </a:cubicBezTo>
                    <a:cubicBezTo>
                      <a:pt x="1012064" y="411163"/>
                      <a:pt x="1019175" y="418298"/>
                      <a:pt x="1019175" y="426147"/>
                    </a:cubicBezTo>
                    <a:cubicBezTo>
                      <a:pt x="1019175" y="426147"/>
                      <a:pt x="1019175" y="426147"/>
                      <a:pt x="1019175" y="792181"/>
                    </a:cubicBezTo>
                    <a:cubicBezTo>
                      <a:pt x="1019175" y="800029"/>
                      <a:pt x="1012064" y="806451"/>
                      <a:pt x="1002820" y="806451"/>
                    </a:cubicBezTo>
                    <a:cubicBezTo>
                      <a:pt x="1002820" y="806451"/>
                      <a:pt x="1002820" y="806451"/>
                      <a:pt x="967266" y="806451"/>
                    </a:cubicBezTo>
                    <a:cubicBezTo>
                      <a:pt x="958022" y="806451"/>
                      <a:pt x="950912" y="800029"/>
                      <a:pt x="950912" y="792181"/>
                    </a:cubicBezTo>
                    <a:cubicBezTo>
                      <a:pt x="950912" y="792181"/>
                      <a:pt x="950912" y="792181"/>
                      <a:pt x="950912" y="426147"/>
                    </a:cubicBezTo>
                    <a:cubicBezTo>
                      <a:pt x="950912" y="418298"/>
                      <a:pt x="958022" y="411163"/>
                      <a:pt x="967266" y="411163"/>
                    </a:cubicBezTo>
                    <a:close/>
                    <a:moveTo>
                      <a:pt x="333989" y="387350"/>
                    </a:moveTo>
                    <a:cubicBezTo>
                      <a:pt x="333989" y="387350"/>
                      <a:pt x="333989" y="387350"/>
                      <a:pt x="368402" y="387350"/>
                    </a:cubicBezTo>
                    <a:cubicBezTo>
                      <a:pt x="377722" y="387350"/>
                      <a:pt x="384175" y="393776"/>
                      <a:pt x="384175" y="402343"/>
                    </a:cubicBezTo>
                    <a:cubicBezTo>
                      <a:pt x="384175" y="402343"/>
                      <a:pt x="384175" y="402343"/>
                      <a:pt x="384175" y="792171"/>
                    </a:cubicBezTo>
                    <a:cubicBezTo>
                      <a:pt x="384175" y="800024"/>
                      <a:pt x="377722" y="806450"/>
                      <a:pt x="368402" y="806450"/>
                    </a:cubicBezTo>
                    <a:cubicBezTo>
                      <a:pt x="368402" y="806450"/>
                      <a:pt x="368402" y="806450"/>
                      <a:pt x="333989" y="806450"/>
                    </a:cubicBezTo>
                    <a:cubicBezTo>
                      <a:pt x="324669" y="806450"/>
                      <a:pt x="317500" y="800024"/>
                      <a:pt x="317500" y="792171"/>
                    </a:cubicBezTo>
                    <a:cubicBezTo>
                      <a:pt x="317500" y="792171"/>
                      <a:pt x="317500" y="792171"/>
                      <a:pt x="317500" y="402343"/>
                    </a:cubicBezTo>
                    <a:cubicBezTo>
                      <a:pt x="317500" y="393776"/>
                      <a:pt x="324669" y="387350"/>
                      <a:pt x="333989" y="387350"/>
                    </a:cubicBezTo>
                    <a:close/>
                    <a:moveTo>
                      <a:pt x="175104" y="369888"/>
                    </a:moveTo>
                    <a:cubicBezTo>
                      <a:pt x="175104" y="369888"/>
                      <a:pt x="175104" y="369888"/>
                      <a:pt x="210658" y="369888"/>
                    </a:cubicBezTo>
                    <a:cubicBezTo>
                      <a:pt x="219902" y="369888"/>
                      <a:pt x="227013" y="376319"/>
                      <a:pt x="227013" y="384178"/>
                    </a:cubicBezTo>
                    <a:cubicBezTo>
                      <a:pt x="227013" y="384178"/>
                      <a:pt x="227013" y="384178"/>
                      <a:pt x="227013" y="792161"/>
                    </a:cubicBezTo>
                    <a:cubicBezTo>
                      <a:pt x="227013" y="800021"/>
                      <a:pt x="219902" y="806451"/>
                      <a:pt x="210658" y="806451"/>
                    </a:cubicBezTo>
                    <a:cubicBezTo>
                      <a:pt x="210658" y="806451"/>
                      <a:pt x="210658" y="806451"/>
                      <a:pt x="175104" y="806451"/>
                    </a:cubicBezTo>
                    <a:cubicBezTo>
                      <a:pt x="165860" y="806451"/>
                      <a:pt x="158750" y="800021"/>
                      <a:pt x="158750" y="792161"/>
                    </a:cubicBezTo>
                    <a:cubicBezTo>
                      <a:pt x="158750" y="792161"/>
                      <a:pt x="158750" y="792161"/>
                      <a:pt x="158750" y="384178"/>
                    </a:cubicBezTo>
                    <a:cubicBezTo>
                      <a:pt x="158750" y="376319"/>
                      <a:pt x="165860" y="369888"/>
                      <a:pt x="175104" y="369888"/>
                    </a:cubicBezTo>
                    <a:close/>
                    <a:moveTo>
                      <a:pt x="1126017" y="0"/>
                    </a:moveTo>
                    <a:cubicBezTo>
                      <a:pt x="1126017" y="0"/>
                      <a:pt x="1126017" y="0"/>
                      <a:pt x="1161571" y="0"/>
                    </a:cubicBezTo>
                    <a:cubicBezTo>
                      <a:pt x="1170103" y="0"/>
                      <a:pt x="1177925" y="6423"/>
                      <a:pt x="1177925" y="14274"/>
                    </a:cubicBezTo>
                    <a:cubicBezTo>
                      <a:pt x="1177925" y="14274"/>
                      <a:pt x="1177925" y="14274"/>
                      <a:pt x="1177925" y="792177"/>
                    </a:cubicBezTo>
                    <a:cubicBezTo>
                      <a:pt x="1177925" y="800027"/>
                      <a:pt x="1170103" y="806450"/>
                      <a:pt x="1161571" y="806450"/>
                    </a:cubicBezTo>
                    <a:cubicBezTo>
                      <a:pt x="1161571" y="806450"/>
                      <a:pt x="1161571" y="806450"/>
                      <a:pt x="1126017" y="806450"/>
                    </a:cubicBezTo>
                    <a:cubicBezTo>
                      <a:pt x="1117484" y="806450"/>
                      <a:pt x="1109662" y="800027"/>
                      <a:pt x="1109662" y="792177"/>
                    </a:cubicBezTo>
                    <a:cubicBezTo>
                      <a:pt x="1109662" y="792177"/>
                      <a:pt x="1109662" y="792177"/>
                      <a:pt x="1109662" y="14274"/>
                    </a:cubicBezTo>
                    <a:cubicBezTo>
                      <a:pt x="1109662" y="6423"/>
                      <a:pt x="1117484" y="0"/>
                      <a:pt x="1126017" y="0"/>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68" name="Group 167">
            <a:extLst>
              <a:ext uri="{FF2B5EF4-FFF2-40B4-BE49-F238E27FC236}">
                <a16:creationId xmlns:a16="http://schemas.microsoft.com/office/drawing/2014/main" id="{29C446C5-15B3-4FD3-A906-D18E89E3AA96}"/>
              </a:ext>
            </a:extLst>
          </p:cNvPr>
          <p:cNvGrpSpPr>
            <a:grpSpLocks noChangeAspect="1"/>
          </p:cNvGrpSpPr>
          <p:nvPr/>
        </p:nvGrpSpPr>
        <p:grpSpPr>
          <a:xfrm>
            <a:off x="6979799" y="2857230"/>
            <a:ext cx="573784" cy="573782"/>
            <a:chOff x="1983582" y="2081213"/>
            <a:chExt cx="1647825" cy="1647825"/>
          </a:xfrm>
        </p:grpSpPr>
        <p:sp>
          <p:nvSpPr>
            <p:cNvPr id="169" name="AutoShape 5">
              <a:extLst>
                <a:ext uri="{FF2B5EF4-FFF2-40B4-BE49-F238E27FC236}">
                  <a16:creationId xmlns:a16="http://schemas.microsoft.com/office/drawing/2014/main" id="{17859506-2BA6-4E48-A36C-5914F4284F1F}"/>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70" name="Group 169">
              <a:extLst>
                <a:ext uri="{FF2B5EF4-FFF2-40B4-BE49-F238E27FC236}">
                  <a16:creationId xmlns:a16="http://schemas.microsoft.com/office/drawing/2014/main" id="{204BEEF6-647E-4F3C-A2F0-0177E878279A}"/>
                </a:ext>
              </a:extLst>
            </p:cNvPr>
            <p:cNvGrpSpPr/>
            <p:nvPr/>
          </p:nvGrpSpPr>
          <p:grpSpPr>
            <a:xfrm>
              <a:off x="2145507" y="2316163"/>
              <a:ext cx="1323975" cy="1176338"/>
              <a:chOff x="2145507" y="2316163"/>
              <a:chExt cx="1323975" cy="1176338"/>
            </a:xfrm>
          </p:grpSpPr>
          <p:sp>
            <p:nvSpPr>
              <p:cNvPr id="171" name="Freeform 7">
                <a:extLst>
                  <a:ext uri="{FF2B5EF4-FFF2-40B4-BE49-F238E27FC236}">
                    <a16:creationId xmlns:a16="http://schemas.microsoft.com/office/drawing/2014/main" id="{EE259392-32BD-45B9-892A-71048499E668}"/>
                  </a:ext>
                </a:extLst>
              </p:cNvPr>
              <p:cNvSpPr>
                <a:spLocks noEditPoints="1"/>
              </p:cNvSpPr>
              <p:nvPr/>
            </p:nvSpPr>
            <p:spPr bwMode="auto">
              <a:xfrm>
                <a:off x="2145507" y="2316163"/>
                <a:ext cx="1323975" cy="1176338"/>
              </a:xfrm>
              <a:custGeom>
                <a:avLst/>
                <a:gdLst>
                  <a:gd name="T0" fmla="*/ 1626 w 1850"/>
                  <a:gd name="T1" fmla="*/ 771 h 1644"/>
                  <a:gd name="T2" fmla="*/ 1507 w 1850"/>
                  <a:gd name="T3" fmla="*/ 764 h 1644"/>
                  <a:gd name="T4" fmla="*/ 1431 w 1850"/>
                  <a:gd name="T5" fmla="*/ 571 h 1644"/>
                  <a:gd name="T6" fmla="*/ 1496 w 1850"/>
                  <a:gd name="T7" fmla="*/ 528 h 1644"/>
                  <a:gd name="T8" fmla="*/ 1592 w 1850"/>
                  <a:gd name="T9" fmla="*/ 418 h 1644"/>
                  <a:gd name="T10" fmla="*/ 1462 w 1850"/>
                  <a:gd name="T11" fmla="*/ 470 h 1644"/>
                  <a:gd name="T12" fmla="*/ 1393 w 1850"/>
                  <a:gd name="T13" fmla="*/ 506 h 1644"/>
                  <a:gd name="T14" fmla="*/ 1268 w 1850"/>
                  <a:gd name="T15" fmla="*/ 348 h 1644"/>
                  <a:gd name="T16" fmla="*/ 1322 w 1850"/>
                  <a:gd name="T17" fmla="*/ 242 h 1644"/>
                  <a:gd name="T18" fmla="*/ 1401 w 1850"/>
                  <a:gd name="T19" fmla="*/ 44 h 1644"/>
                  <a:gd name="T20" fmla="*/ 1233 w 1850"/>
                  <a:gd name="T21" fmla="*/ 190 h 1644"/>
                  <a:gd name="T22" fmla="*/ 1168 w 1850"/>
                  <a:gd name="T23" fmla="*/ 289 h 1644"/>
                  <a:gd name="T24" fmla="*/ 962 w 1850"/>
                  <a:gd name="T25" fmla="*/ 254 h 1644"/>
                  <a:gd name="T26" fmla="*/ 958 w 1850"/>
                  <a:gd name="T27" fmla="*/ 178 h 1644"/>
                  <a:gd name="T28" fmla="*/ 938 w 1850"/>
                  <a:gd name="T29" fmla="*/ 42 h 1644"/>
                  <a:gd name="T30" fmla="*/ 892 w 1850"/>
                  <a:gd name="T31" fmla="*/ 178 h 1644"/>
                  <a:gd name="T32" fmla="*/ 888 w 1850"/>
                  <a:gd name="T33" fmla="*/ 254 h 1644"/>
                  <a:gd name="T34" fmla="*/ 682 w 1850"/>
                  <a:gd name="T35" fmla="*/ 289 h 1644"/>
                  <a:gd name="T36" fmla="*/ 617 w 1850"/>
                  <a:gd name="T37" fmla="*/ 190 h 1644"/>
                  <a:gd name="T38" fmla="*/ 449 w 1850"/>
                  <a:gd name="T39" fmla="*/ 44 h 1644"/>
                  <a:gd name="T40" fmla="*/ 528 w 1850"/>
                  <a:gd name="T41" fmla="*/ 242 h 1644"/>
                  <a:gd name="T42" fmla="*/ 582 w 1850"/>
                  <a:gd name="T43" fmla="*/ 348 h 1644"/>
                  <a:gd name="T44" fmla="*/ 456 w 1850"/>
                  <a:gd name="T45" fmla="*/ 505 h 1644"/>
                  <a:gd name="T46" fmla="*/ 387 w 1850"/>
                  <a:gd name="T47" fmla="*/ 470 h 1644"/>
                  <a:gd name="T48" fmla="*/ 258 w 1850"/>
                  <a:gd name="T49" fmla="*/ 418 h 1644"/>
                  <a:gd name="T50" fmla="*/ 353 w 1850"/>
                  <a:gd name="T51" fmla="*/ 528 h 1644"/>
                  <a:gd name="T52" fmla="*/ 418 w 1850"/>
                  <a:gd name="T53" fmla="*/ 570 h 1644"/>
                  <a:gd name="T54" fmla="*/ 343 w 1850"/>
                  <a:gd name="T55" fmla="*/ 764 h 1644"/>
                  <a:gd name="T56" fmla="*/ 224 w 1850"/>
                  <a:gd name="T57" fmla="*/ 771 h 1644"/>
                  <a:gd name="T58" fmla="*/ 13 w 1850"/>
                  <a:gd name="T59" fmla="*/ 802 h 1644"/>
                  <a:gd name="T60" fmla="*/ 224 w 1850"/>
                  <a:gd name="T61" fmla="*/ 873 h 1644"/>
                  <a:gd name="T62" fmla="*/ 343 w 1850"/>
                  <a:gd name="T63" fmla="*/ 880 h 1644"/>
                  <a:gd name="T64" fmla="*/ 415 w 1850"/>
                  <a:gd name="T65" fmla="*/ 1076 h 1644"/>
                  <a:gd name="T66" fmla="*/ 352 w 1850"/>
                  <a:gd name="T67" fmla="*/ 1118 h 1644"/>
                  <a:gd name="T68" fmla="*/ 258 w 1850"/>
                  <a:gd name="T69" fmla="*/ 1226 h 1644"/>
                  <a:gd name="T70" fmla="*/ 385 w 1850"/>
                  <a:gd name="T71" fmla="*/ 1175 h 1644"/>
                  <a:gd name="T72" fmla="*/ 453 w 1850"/>
                  <a:gd name="T73" fmla="*/ 1140 h 1644"/>
                  <a:gd name="T74" fmla="*/ 582 w 1850"/>
                  <a:gd name="T75" fmla="*/ 1296 h 1644"/>
                  <a:gd name="T76" fmla="*/ 528 w 1850"/>
                  <a:gd name="T77" fmla="*/ 1402 h 1644"/>
                  <a:gd name="T78" fmla="*/ 449 w 1850"/>
                  <a:gd name="T79" fmla="*/ 1600 h 1644"/>
                  <a:gd name="T80" fmla="*/ 617 w 1850"/>
                  <a:gd name="T81" fmla="*/ 1454 h 1644"/>
                  <a:gd name="T82" fmla="*/ 682 w 1850"/>
                  <a:gd name="T83" fmla="*/ 1355 h 1644"/>
                  <a:gd name="T84" fmla="*/ 888 w 1850"/>
                  <a:gd name="T85" fmla="*/ 1390 h 1644"/>
                  <a:gd name="T86" fmla="*/ 892 w 1850"/>
                  <a:gd name="T87" fmla="*/ 1466 h 1644"/>
                  <a:gd name="T88" fmla="*/ 912 w 1850"/>
                  <a:gd name="T89" fmla="*/ 1602 h 1644"/>
                  <a:gd name="T90" fmla="*/ 958 w 1850"/>
                  <a:gd name="T91" fmla="*/ 1466 h 1644"/>
                  <a:gd name="T92" fmla="*/ 962 w 1850"/>
                  <a:gd name="T93" fmla="*/ 1390 h 1644"/>
                  <a:gd name="T94" fmla="*/ 1168 w 1850"/>
                  <a:gd name="T95" fmla="*/ 1355 h 1644"/>
                  <a:gd name="T96" fmla="*/ 1233 w 1850"/>
                  <a:gd name="T97" fmla="*/ 1454 h 1644"/>
                  <a:gd name="T98" fmla="*/ 1401 w 1850"/>
                  <a:gd name="T99" fmla="*/ 1600 h 1644"/>
                  <a:gd name="T100" fmla="*/ 1322 w 1850"/>
                  <a:gd name="T101" fmla="*/ 1402 h 1644"/>
                  <a:gd name="T102" fmla="*/ 1268 w 1850"/>
                  <a:gd name="T103" fmla="*/ 1296 h 1644"/>
                  <a:gd name="T104" fmla="*/ 1393 w 1850"/>
                  <a:gd name="T105" fmla="*/ 1139 h 1644"/>
                  <a:gd name="T106" fmla="*/ 1463 w 1850"/>
                  <a:gd name="T107" fmla="*/ 1174 h 1644"/>
                  <a:gd name="T108" fmla="*/ 1592 w 1850"/>
                  <a:gd name="T109" fmla="*/ 1226 h 1644"/>
                  <a:gd name="T110" fmla="*/ 1496 w 1850"/>
                  <a:gd name="T111" fmla="*/ 1116 h 1644"/>
                  <a:gd name="T112" fmla="*/ 1432 w 1850"/>
                  <a:gd name="T113" fmla="*/ 1073 h 1644"/>
                  <a:gd name="T114" fmla="*/ 1507 w 1850"/>
                  <a:gd name="T115" fmla="*/ 880 h 1644"/>
                  <a:gd name="T116" fmla="*/ 1626 w 1850"/>
                  <a:gd name="T117" fmla="*/ 873 h 1644"/>
                  <a:gd name="T118" fmla="*/ 1837 w 1850"/>
                  <a:gd name="T119" fmla="*/ 842 h 1644"/>
                  <a:gd name="T120" fmla="*/ 445 w 1850"/>
                  <a:gd name="T121" fmla="*/ 822 h 1644"/>
                  <a:gd name="T122" fmla="*/ 925 w 1850"/>
                  <a:gd name="T123" fmla="*/ 1302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50" h="1644">
                    <a:moveTo>
                      <a:pt x="1737" y="720"/>
                    </a:moveTo>
                    <a:cubicBezTo>
                      <a:pt x="1710" y="720"/>
                      <a:pt x="1686" y="731"/>
                      <a:pt x="1668" y="748"/>
                    </a:cubicBezTo>
                    <a:cubicBezTo>
                      <a:pt x="1656" y="759"/>
                      <a:pt x="1642" y="767"/>
                      <a:pt x="1626" y="771"/>
                    </a:cubicBezTo>
                    <a:cubicBezTo>
                      <a:pt x="1603" y="777"/>
                      <a:pt x="1603" y="777"/>
                      <a:pt x="1603" y="777"/>
                    </a:cubicBezTo>
                    <a:cubicBezTo>
                      <a:pt x="1579" y="783"/>
                      <a:pt x="1553" y="781"/>
                      <a:pt x="1530" y="773"/>
                    </a:cubicBezTo>
                    <a:cubicBezTo>
                      <a:pt x="1507" y="764"/>
                      <a:pt x="1507" y="764"/>
                      <a:pt x="1507" y="764"/>
                    </a:cubicBezTo>
                    <a:cubicBezTo>
                      <a:pt x="1507" y="764"/>
                      <a:pt x="1469" y="737"/>
                      <a:pt x="1449" y="704"/>
                    </a:cubicBezTo>
                    <a:cubicBezTo>
                      <a:pt x="1442" y="672"/>
                      <a:pt x="1432" y="641"/>
                      <a:pt x="1419" y="611"/>
                    </a:cubicBezTo>
                    <a:cubicBezTo>
                      <a:pt x="1423" y="590"/>
                      <a:pt x="1431" y="571"/>
                      <a:pt x="1431" y="571"/>
                    </a:cubicBezTo>
                    <a:cubicBezTo>
                      <a:pt x="1441" y="559"/>
                      <a:pt x="1441" y="559"/>
                      <a:pt x="1441" y="559"/>
                    </a:cubicBezTo>
                    <a:cubicBezTo>
                      <a:pt x="1451" y="547"/>
                      <a:pt x="1466" y="537"/>
                      <a:pt x="1481" y="533"/>
                    </a:cubicBezTo>
                    <a:cubicBezTo>
                      <a:pt x="1496" y="528"/>
                      <a:pt x="1496" y="528"/>
                      <a:pt x="1496" y="528"/>
                    </a:cubicBezTo>
                    <a:cubicBezTo>
                      <a:pt x="1506" y="526"/>
                      <a:pt x="1517" y="526"/>
                      <a:pt x="1527" y="528"/>
                    </a:cubicBezTo>
                    <a:cubicBezTo>
                      <a:pt x="1543" y="532"/>
                      <a:pt x="1561" y="529"/>
                      <a:pt x="1576" y="521"/>
                    </a:cubicBezTo>
                    <a:cubicBezTo>
                      <a:pt x="1612" y="500"/>
                      <a:pt x="1621" y="451"/>
                      <a:pt x="1592" y="418"/>
                    </a:cubicBezTo>
                    <a:cubicBezTo>
                      <a:pt x="1575" y="398"/>
                      <a:pt x="1546" y="390"/>
                      <a:pt x="1520" y="399"/>
                    </a:cubicBezTo>
                    <a:cubicBezTo>
                      <a:pt x="1499" y="407"/>
                      <a:pt x="1484" y="424"/>
                      <a:pt x="1478" y="444"/>
                    </a:cubicBezTo>
                    <a:cubicBezTo>
                      <a:pt x="1475" y="454"/>
                      <a:pt x="1470" y="463"/>
                      <a:pt x="1462" y="470"/>
                    </a:cubicBezTo>
                    <a:cubicBezTo>
                      <a:pt x="1451" y="481"/>
                      <a:pt x="1451" y="481"/>
                      <a:pt x="1451" y="481"/>
                    </a:cubicBezTo>
                    <a:cubicBezTo>
                      <a:pt x="1440" y="493"/>
                      <a:pt x="1424" y="501"/>
                      <a:pt x="1409" y="503"/>
                    </a:cubicBezTo>
                    <a:cubicBezTo>
                      <a:pt x="1393" y="506"/>
                      <a:pt x="1393" y="506"/>
                      <a:pt x="1393" y="506"/>
                    </a:cubicBezTo>
                    <a:cubicBezTo>
                      <a:pt x="1393" y="506"/>
                      <a:pt x="1372" y="504"/>
                      <a:pt x="1352" y="496"/>
                    </a:cubicBezTo>
                    <a:cubicBezTo>
                      <a:pt x="1334" y="472"/>
                      <a:pt x="1313" y="449"/>
                      <a:pt x="1291" y="429"/>
                    </a:cubicBezTo>
                    <a:cubicBezTo>
                      <a:pt x="1272" y="394"/>
                      <a:pt x="1268" y="348"/>
                      <a:pt x="1268" y="348"/>
                    </a:cubicBezTo>
                    <a:cubicBezTo>
                      <a:pt x="1272" y="324"/>
                      <a:pt x="1272" y="324"/>
                      <a:pt x="1272" y="324"/>
                    </a:cubicBezTo>
                    <a:cubicBezTo>
                      <a:pt x="1276" y="300"/>
                      <a:pt x="1288" y="276"/>
                      <a:pt x="1305" y="259"/>
                    </a:cubicBezTo>
                    <a:cubicBezTo>
                      <a:pt x="1322" y="242"/>
                      <a:pt x="1322" y="242"/>
                      <a:pt x="1322" y="242"/>
                    </a:cubicBezTo>
                    <a:cubicBezTo>
                      <a:pt x="1333" y="230"/>
                      <a:pt x="1347" y="222"/>
                      <a:pt x="1363" y="218"/>
                    </a:cubicBezTo>
                    <a:cubicBezTo>
                      <a:pt x="1392" y="209"/>
                      <a:pt x="1418" y="187"/>
                      <a:pt x="1430" y="154"/>
                    </a:cubicBezTo>
                    <a:cubicBezTo>
                      <a:pt x="1444" y="115"/>
                      <a:pt x="1432" y="71"/>
                      <a:pt x="1401" y="44"/>
                    </a:cubicBezTo>
                    <a:cubicBezTo>
                      <a:pt x="1351" y="0"/>
                      <a:pt x="1277" y="14"/>
                      <a:pt x="1245" y="69"/>
                    </a:cubicBezTo>
                    <a:cubicBezTo>
                      <a:pt x="1232" y="92"/>
                      <a:pt x="1229" y="119"/>
                      <a:pt x="1234" y="143"/>
                    </a:cubicBezTo>
                    <a:cubicBezTo>
                      <a:pt x="1238" y="159"/>
                      <a:pt x="1238" y="175"/>
                      <a:pt x="1233" y="190"/>
                    </a:cubicBezTo>
                    <a:cubicBezTo>
                      <a:pt x="1227" y="213"/>
                      <a:pt x="1227" y="213"/>
                      <a:pt x="1227" y="213"/>
                    </a:cubicBezTo>
                    <a:cubicBezTo>
                      <a:pt x="1220" y="237"/>
                      <a:pt x="1206" y="259"/>
                      <a:pt x="1187" y="274"/>
                    </a:cubicBezTo>
                    <a:cubicBezTo>
                      <a:pt x="1168" y="289"/>
                      <a:pt x="1168" y="289"/>
                      <a:pt x="1168" y="289"/>
                    </a:cubicBezTo>
                    <a:cubicBezTo>
                      <a:pt x="1168" y="289"/>
                      <a:pt x="1126" y="309"/>
                      <a:pt x="1087" y="309"/>
                    </a:cubicBezTo>
                    <a:cubicBezTo>
                      <a:pt x="1058" y="300"/>
                      <a:pt x="1029" y="294"/>
                      <a:pt x="998" y="290"/>
                    </a:cubicBezTo>
                    <a:cubicBezTo>
                      <a:pt x="978" y="276"/>
                      <a:pt x="962" y="254"/>
                      <a:pt x="962" y="254"/>
                    </a:cubicBezTo>
                    <a:cubicBezTo>
                      <a:pt x="957" y="239"/>
                      <a:pt x="957" y="239"/>
                      <a:pt x="957" y="239"/>
                    </a:cubicBezTo>
                    <a:cubicBezTo>
                      <a:pt x="951" y="225"/>
                      <a:pt x="950" y="208"/>
                      <a:pt x="954" y="193"/>
                    </a:cubicBezTo>
                    <a:cubicBezTo>
                      <a:pt x="958" y="178"/>
                      <a:pt x="958" y="178"/>
                      <a:pt x="958" y="178"/>
                    </a:cubicBezTo>
                    <a:cubicBezTo>
                      <a:pt x="960" y="168"/>
                      <a:pt x="966" y="159"/>
                      <a:pt x="973" y="151"/>
                    </a:cubicBezTo>
                    <a:cubicBezTo>
                      <a:pt x="986" y="137"/>
                      <a:pt x="993" y="116"/>
                      <a:pt x="989" y="94"/>
                    </a:cubicBezTo>
                    <a:cubicBezTo>
                      <a:pt x="985" y="68"/>
                      <a:pt x="964" y="47"/>
                      <a:pt x="938" y="42"/>
                    </a:cubicBezTo>
                    <a:cubicBezTo>
                      <a:pt x="896" y="34"/>
                      <a:pt x="860" y="66"/>
                      <a:pt x="860" y="106"/>
                    </a:cubicBezTo>
                    <a:cubicBezTo>
                      <a:pt x="860" y="124"/>
                      <a:pt x="866" y="139"/>
                      <a:pt x="877" y="151"/>
                    </a:cubicBezTo>
                    <a:cubicBezTo>
                      <a:pt x="884" y="159"/>
                      <a:pt x="890" y="168"/>
                      <a:pt x="892" y="178"/>
                    </a:cubicBezTo>
                    <a:cubicBezTo>
                      <a:pt x="896" y="193"/>
                      <a:pt x="896" y="193"/>
                      <a:pt x="896" y="193"/>
                    </a:cubicBezTo>
                    <a:cubicBezTo>
                      <a:pt x="900" y="208"/>
                      <a:pt x="899" y="225"/>
                      <a:pt x="893" y="239"/>
                    </a:cubicBezTo>
                    <a:cubicBezTo>
                      <a:pt x="888" y="254"/>
                      <a:pt x="888" y="254"/>
                      <a:pt x="888" y="254"/>
                    </a:cubicBezTo>
                    <a:cubicBezTo>
                      <a:pt x="888" y="254"/>
                      <a:pt x="872" y="276"/>
                      <a:pt x="852" y="290"/>
                    </a:cubicBezTo>
                    <a:cubicBezTo>
                      <a:pt x="821" y="294"/>
                      <a:pt x="792" y="300"/>
                      <a:pt x="763" y="309"/>
                    </a:cubicBezTo>
                    <a:cubicBezTo>
                      <a:pt x="724" y="309"/>
                      <a:pt x="682" y="289"/>
                      <a:pt x="682" y="289"/>
                    </a:cubicBezTo>
                    <a:cubicBezTo>
                      <a:pt x="663" y="274"/>
                      <a:pt x="663" y="274"/>
                      <a:pt x="663" y="274"/>
                    </a:cubicBezTo>
                    <a:cubicBezTo>
                      <a:pt x="644" y="259"/>
                      <a:pt x="630" y="237"/>
                      <a:pt x="623" y="213"/>
                    </a:cubicBezTo>
                    <a:cubicBezTo>
                      <a:pt x="617" y="190"/>
                      <a:pt x="617" y="190"/>
                      <a:pt x="617" y="190"/>
                    </a:cubicBezTo>
                    <a:cubicBezTo>
                      <a:pt x="612" y="175"/>
                      <a:pt x="612" y="159"/>
                      <a:pt x="616" y="143"/>
                    </a:cubicBezTo>
                    <a:cubicBezTo>
                      <a:pt x="621" y="119"/>
                      <a:pt x="618" y="92"/>
                      <a:pt x="605" y="69"/>
                    </a:cubicBezTo>
                    <a:cubicBezTo>
                      <a:pt x="573" y="14"/>
                      <a:pt x="499" y="0"/>
                      <a:pt x="449" y="44"/>
                    </a:cubicBezTo>
                    <a:cubicBezTo>
                      <a:pt x="418" y="71"/>
                      <a:pt x="406" y="115"/>
                      <a:pt x="420" y="154"/>
                    </a:cubicBezTo>
                    <a:cubicBezTo>
                      <a:pt x="432" y="187"/>
                      <a:pt x="458" y="209"/>
                      <a:pt x="487" y="218"/>
                    </a:cubicBezTo>
                    <a:cubicBezTo>
                      <a:pt x="503" y="222"/>
                      <a:pt x="517" y="230"/>
                      <a:pt x="528" y="242"/>
                    </a:cubicBezTo>
                    <a:cubicBezTo>
                      <a:pt x="545" y="259"/>
                      <a:pt x="545" y="259"/>
                      <a:pt x="545" y="259"/>
                    </a:cubicBezTo>
                    <a:cubicBezTo>
                      <a:pt x="562" y="276"/>
                      <a:pt x="574" y="300"/>
                      <a:pt x="578" y="324"/>
                    </a:cubicBezTo>
                    <a:cubicBezTo>
                      <a:pt x="582" y="348"/>
                      <a:pt x="582" y="348"/>
                      <a:pt x="582" y="348"/>
                    </a:cubicBezTo>
                    <a:cubicBezTo>
                      <a:pt x="582" y="348"/>
                      <a:pt x="578" y="394"/>
                      <a:pt x="559" y="429"/>
                    </a:cubicBezTo>
                    <a:cubicBezTo>
                      <a:pt x="537" y="449"/>
                      <a:pt x="517" y="471"/>
                      <a:pt x="499" y="495"/>
                    </a:cubicBezTo>
                    <a:cubicBezTo>
                      <a:pt x="478" y="503"/>
                      <a:pt x="456" y="505"/>
                      <a:pt x="456" y="505"/>
                    </a:cubicBezTo>
                    <a:cubicBezTo>
                      <a:pt x="440" y="503"/>
                      <a:pt x="440" y="503"/>
                      <a:pt x="440" y="503"/>
                    </a:cubicBezTo>
                    <a:cubicBezTo>
                      <a:pt x="425" y="500"/>
                      <a:pt x="409" y="492"/>
                      <a:pt x="398" y="481"/>
                    </a:cubicBezTo>
                    <a:cubicBezTo>
                      <a:pt x="387" y="470"/>
                      <a:pt x="387" y="470"/>
                      <a:pt x="387" y="470"/>
                    </a:cubicBezTo>
                    <a:cubicBezTo>
                      <a:pt x="379" y="463"/>
                      <a:pt x="374" y="454"/>
                      <a:pt x="371" y="444"/>
                    </a:cubicBezTo>
                    <a:cubicBezTo>
                      <a:pt x="365" y="424"/>
                      <a:pt x="351" y="407"/>
                      <a:pt x="329" y="400"/>
                    </a:cubicBezTo>
                    <a:cubicBezTo>
                      <a:pt x="304" y="391"/>
                      <a:pt x="275" y="398"/>
                      <a:pt x="258" y="418"/>
                    </a:cubicBezTo>
                    <a:cubicBezTo>
                      <a:pt x="229" y="451"/>
                      <a:pt x="238" y="499"/>
                      <a:pt x="274" y="520"/>
                    </a:cubicBezTo>
                    <a:cubicBezTo>
                      <a:pt x="289" y="529"/>
                      <a:pt x="306" y="531"/>
                      <a:pt x="322" y="527"/>
                    </a:cubicBezTo>
                    <a:cubicBezTo>
                      <a:pt x="332" y="525"/>
                      <a:pt x="343" y="525"/>
                      <a:pt x="353" y="528"/>
                    </a:cubicBezTo>
                    <a:cubicBezTo>
                      <a:pt x="368" y="532"/>
                      <a:pt x="368" y="532"/>
                      <a:pt x="368" y="532"/>
                    </a:cubicBezTo>
                    <a:cubicBezTo>
                      <a:pt x="383" y="536"/>
                      <a:pt x="398" y="546"/>
                      <a:pt x="408" y="558"/>
                    </a:cubicBezTo>
                    <a:cubicBezTo>
                      <a:pt x="418" y="570"/>
                      <a:pt x="418" y="570"/>
                      <a:pt x="418" y="570"/>
                    </a:cubicBezTo>
                    <a:cubicBezTo>
                      <a:pt x="418" y="570"/>
                      <a:pt x="427" y="591"/>
                      <a:pt x="430" y="613"/>
                    </a:cubicBezTo>
                    <a:cubicBezTo>
                      <a:pt x="418" y="642"/>
                      <a:pt x="408" y="672"/>
                      <a:pt x="401" y="704"/>
                    </a:cubicBezTo>
                    <a:cubicBezTo>
                      <a:pt x="381" y="737"/>
                      <a:pt x="343" y="764"/>
                      <a:pt x="343" y="764"/>
                    </a:cubicBezTo>
                    <a:cubicBezTo>
                      <a:pt x="320" y="773"/>
                      <a:pt x="320" y="773"/>
                      <a:pt x="320" y="773"/>
                    </a:cubicBezTo>
                    <a:cubicBezTo>
                      <a:pt x="297" y="781"/>
                      <a:pt x="271" y="783"/>
                      <a:pt x="247" y="777"/>
                    </a:cubicBezTo>
                    <a:cubicBezTo>
                      <a:pt x="224" y="771"/>
                      <a:pt x="224" y="771"/>
                      <a:pt x="224" y="771"/>
                    </a:cubicBezTo>
                    <a:cubicBezTo>
                      <a:pt x="208" y="767"/>
                      <a:pt x="194" y="759"/>
                      <a:pt x="183" y="748"/>
                    </a:cubicBezTo>
                    <a:cubicBezTo>
                      <a:pt x="160" y="727"/>
                      <a:pt x="128" y="716"/>
                      <a:pt x="93" y="722"/>
                    </a:cubicBezTo>
                    <a:cubicBezTo>
                      <a:pt x="53" y="729"/>
                      <a:pt x="21" y="761"/>
                      <a:pt x="13" y="802"/>
                    </a:cubicBezTo>
                    <a:cubicBezTo>
                      <a:pt x="0" y="867"/>
                      <a:pt x="50" y="924"/>
                      <a:pt x="113" y="924"/>
                    </a:cubicBezTo>
                    <a:cubicBezTo>
                      <a:pt x="140" y="924"/>
                      <a:pt x="164" y="913"/>
                      <a:pt x="182" y="896"/>
                    </a:cubicBezTo>
                    <a:cubicBezTo>
                      <a:pt x="194" y="885"/>
                      <a:pt x="208" y="877"/>
                      <a:pt x="224" y="873"/>
                    </a:cubicBezTo>
                    <a:cubicBezTo>
                      <a:pt x="247" y="867"/>
                      <a:pt x="247" y="867"/>
                      <a:pt x="247" y="867"/>
                    </a:cubicBezTo>
                    <a:cubicBezTo>
                      <a:pt x="271" y="861"/>
                      <a:pt x="297" y="863"/>
                      <a:pt x="320" y="871"/>
                    </a:cubicBezTo>
                    <a:cubicBezTo>
                      <a:pt x="343" y="880"/>
                      <a:pt x="343" y="880"/>
                      <a:pt x="343" y="880"/>
                    </a:cubicBezTo>
                    <a:cubicBezTo>
                      <a:pt x="343" y="880"/>
                      <a:pt x="381" y="907"/>
                      <a:pt x="401" y="940"/>
                    </a:cubicBezTo>
                    <a:cubicBezTo>
                      <a:pt x="407" y="970"/>
                      <a:pt x="417" y="999"/>
                      <a:pt x="428" y="1026"/>
                    </a:cubicBezTo>
                    <a:cubicBezTo>
                      <a:pt x="427" y="1051"/>
                      <a:pt x="415" y="1076"/>
                      <a:pt x="415" y="1076"/>
                    </a:cubicBezTo>
                    <a:cubicBezTo>
                      <a:pt x="405" y="1088"/>
                      <a:pt x="405" y="1088"/>
                      <a:pt x="405" y="1088"/>
                    </a:cubicBezTo>
                    <a:cubicBezTo>
                      <a:pt x="396" y="1100"/>
                      <a:pt x="381" y="1109"/>
                      <a:pt x="366" y="1114"/>
                    </a:cubicBezTo>
                    <a:cubicBezTo>
                      <a:pt x="352" y="1118"/>
                      <a:pt x="352" y="1118"/>
                      <a:pt x="352" y="1118"/>
                    </a:cubicBezTo>
                    <a:cubicBezTo>
                      <a:pt x="342" y="1121"/>
                      <a:pt x="331" y="1121"/>
                      <a:pt x="321" y="1118"/>
                    </a:cubicBezTo>
                    <a:cubicBezTo>
                      <a:pt x="305" y="1115"/>
                      <a:pt x="288" y="1117"/>
                      <a:pt x="274" y="1125"/>
                    </a:cubicBezTo>
                    <a:cubicBezTo>
                      <a:pt x="239" y="1146"/>
                      <a:pt x="229" y="1194"/>
                      <a:pt x="258" y="1226"/>
                    </a:cubicBezTo>
                    <a:cubicBezTo>
                      <a:pt x="275" y="1245"/>
                      <a:pt x="303" y="1253"/>
                      <a:pt x="328" y="1244"/>
                    </a:cubicBezTo>
                    <a:cubicBezTo>
                      <a:pt x="349" y="1236"/>
                      <a:pt x="364" y="1220"/>
                      <a:pt x="369" y="1201"/>
                    </a:cubicBezTo>
                    <a:cubicBezTo>
                      <a:pt x="372" y="1191"/>
                      <a:pt x="377" y="1182"/>
                      <a:pt x="385" y="1175"/>
                    </a:cubicBezTo>
                    <a:cubicBezTo>
                      <a:pt x="396" y="1164"/>
                      <a:pt x="396" y="1164"/>
                      <a:pt x="396" y="1164"/>
                    </a:cubicBezTo>
                    <a:cubicBezTo>
                      <a:pt x="407" y="1153"/>
                      <a:pt x="422" y="1145"/>
                      <a:pt x="437" y="1142"/>
                    </a:cubicBezTo>
                    <a:cubicBezTo>
                      <a:pt x="453" y="1140"/>
                      <a:pt x="453" y="1140"/>
                      <a:pt x="453" y="1140"/>
                    </a:cubicBezTo>
                    <a:cubicBezTo>
                      <a:pt x="453" y="1140"/>
                      <a:pt x="480" y="1142"/>
                      <a:pt x="502" y="1153"/>
                    </a:cubicBezTo>
                    <a:cubicBezTo>
                      <a:pt x="519" y="1175"/>
                      <a:pt x="538" y="1196"/>
                      <a:pt x="559" y="1215"/>
                    </a:cubicBezTo>
                    <a:cubicBezTo>
                      <a:pt x="578" y="1250"/>
                      <a:pt x="582" y="1296"/>
                      <a:pt x="582" y="1296"/>
                    </a:cubicBezTo>
                    <a:cubicBezTo>
                      <a:pt x="578" y="1320"/>
                      <a:pt x="578" y="1320"/>
                      <a:pt x="578" y="1320"/>
                    </a:cubicBezTo>
                    <a:cubicBezTo>
                      <a:pt x="574" y="1344"/>
                      <a:pt x="562" y="1368"/>
                      <a:pt x="545" y="1385"/>
                    </a:cubicBezTo>
                    <a:cubicBezTo>
                      <a:pt x="528" y="1402"/>
                      <a:pt x="528" y="1402"/>
                      <a:pt x="528" y="1402"/>
                    </a:cubicBezTo>
                    <a:cubicBezTo>
                      <a:pt x="517" y="1414"/>
                      <a:pt x="503" y="1422"/>
                      <a:pt x="487" y="1426"/>
                    </a:cubicBezTo>
                    <a:cubicBezTo>
                      <a:pt x="458" y="1435"/>
                      <a:pt x="432" y="1457"/>
                      <a:pt x="420" y="1490"/>
                    </a:cubicBezTo>
                    <a:cubicBezTo>
                      <a:pt x="406" y="1529"/>
                      <a:pt x="418" y="1573"/>
                      <a:pt x="449" y="1600"/>
                    </a:cubicBezTo>
                    <a:cubicBezTo>
                      <a:pt x="499" y="1644"/>
                      <a:pt x="573" y="1630"/>
                      <a:pt x="605" y="1575"/>
                    </a:cubicBezTo>
                    <a:cubicBezTo>
                      <a:pt x="618" y="1552"/>
                      <a:pt x="621" y="1525"/>
                      <a:pt x="616" y="1501"/>
                    </a:cubicBezTo>
                    <a:cubicBezTo>
                      <a:pt x="612" y="1485"/>
                      <a:pt x="612" y="1469"/>
                      <a:pt x="617" y="1454"/>
                    </a:cubicBezTo>
                    <a:cubicBezTo>
                      <a:pt x="623" y="1431"/>
                      <a:pt x="623" y="1431"/>
                      <a:pt x="623" y="1431"/>
                    </a:cubicBezTo>
                    <a:cubicBezTo>
                      <a:pt x="630" y="1407"/>
                      <a:pt x="644" y="1385"/>
                      <a:pt x="663" y="1370"/>
                    </a:cubicBezTo>
                    <a:cubicBezTo>
                      <a:pt x="682" y="1355"/>
                      <a:pt x="682" y="1355"/>
                      <a:pt x="682" y="1355"/>
                    </a:cubicBezTo>
                    <a:cubicBezTo>
                      <a:pt x="682" y="1355"/>
                      <a:pt x="724" y="1335"/>
                      <a:pt x="763" y="1335"/>
                    </a:cubicBezTo>
                    <a:cubicBezTo>
                      <a:pt x="792" y="1344"/>
                      <a:pt x="822" y="1350"/>
                      <a:pt x="852" y="1354"/>
                    </a:cubicBezTo>
                    <a:cubicBezTo>
                      <a:pt x="872" y="1368"/>
                      <a:pt x="888" y="1390"/>
                      <a:pt x="888" y="1390"/>
                    </a:cubicBezTo>
                    <a:cubicBezTo>
                      <a:pt x="893" y="1404"/>
                      <a:pt x="893" y="1404"/>
                      <a:pt x="893" y="1404"/>
                    </a:cubicBezTo>
                    <a:cubicBezTo>
                      <a:pt x="899" y="1419"/>
                      <a:pt x="900" y="1436"/>
                      <a:pt x="896" y="1451"/>
                    </a:cubicBezTo>
                    <a:cubicBezTo>
                      <a:pt x="892" y="1466"/>
                      <a:pt x="892" y="1466"/>
                      <a:pt x="892" y="1466"/>
                    </a:cubicBezTo>
                    <a:cubicBezTo>
                      <a:pt x="889" y="1476"/>
                      <a:pt x="884" y="1485"/>
                      <a:pt x="877" y="1493"/>
                    </a:cubicBezTo>
                    <a:cubicBezTo>
                      <a:pt x="864" y="1507"/>
                      <a:pt x="856" y="1528"/>
                      <a:pt x="861" y="1550"/>
                    </a:cubicBezTo>
                    <a:cubicBezTo>
                      <a:pt x="865" y="1576"/>
                      <a:pt x="886" y="1597"/>
                      <a:pt x="912" y="1602"/>
                    </a:cubicBezTo>
                    <a:cubicBezTo>
                      <a:pt x="954" y="1610"/>
                      <a:pt x="991" y="1578"/>
                      <a:pt x="991" y="1538"/>
                    </a:cubicBezTo>
                    <a:cubicBezTo>
                      <a:pt x="991" y="1520"/>
                      <a:pt x="984" y="1504"/>
                      <a:pt x="973" y="1493"/>
                    </a:cubicBezTo>
                    <a:cubicBezTo>
                      <a:pt x="966" y="1485"/>
                      <a:pt x="961" y="1476"/>
                      <a:pt x="958" y="1466"/>
                    </a:cubicBezTo>
                    <a:cubicBezTo>
                      <a:pt x="954" y="1451"/>
                      <a:pt x="954" y="1451"/>
                      <a:pt x="954" y="1451"/>
                    </a:cubicBezTo>
                    <a:cubicBezTo>
                      <a:pt x="950" y="1436"/>
                      <a:pt x="951" y="1419"/>
                      <a:pt x="957" y="1404"/>
                    </a:cubicBezTo>
                    <a:cubicBezTo>
                      <a:pt x="962" y="1390"/>
                      <a:pt x="962" y="1390"/>
                      <a:pt x="962" y="1390"/>
                    </a:cubicBezTo>
                    <a:cubicBezTo>
                      <a:pt x="962" y="1390"/>
                      <a:pt x="978" y="1368"/>
                      <a:pt x="998" y="1354"/>
                    </a:cubicBezTo>
                    <a:cubicBezTo>
                      <a:pt x="1028" y="1350"/>
                      <a:pt x="1058" y="1344"/>
                      <a:pt x="1087" y="1335"/>
                    </a:cubicBezTo>
                    <a:cubicBezTo>
                      <a:pt x="1126" y="1335"/>
                      <a:pt x="1168" y="1355"/>
                      <a:pt x="1168" y="1355"/>
                    </a:cubicBezTo>
                    <a:cubicBezTo>
                      <a:pt x="1187" y="1370"/>
                      <a:pt x="1187" y="1370"/>
                      <a:pt x="1187" y="1370"/>
                    </a:cubicBezTo>
                    <a:cubicBezTo>
                      <a:pt x="1206" y="1385"/>
                      <a:pt x="1220" y="1407"/>
                      <a:pt x="1227" y="1431"/>
                    </a:cubicBezTo>
                    <a:cubicBezTo>
                      <a:pt x="1233" y="1454"/>
                      <a:pt x="1233" y="1454"/>
                      <a:pt x="1233" y="1454"/>
                    </a:cubicBezTo>
                    <a:cubicBezTo>
                      <a:pt x="1238" y="1469"/>
                      <a:pt x="1238" y="1485"/>
                      <a:pt x="1234" y="1501"/>
                    </a:cubicBezTo>
                    <a:cubicBezTo>
                      <a:pt x="1229" y="1525"/>
                      <a:pt x="1232" y="1552"/>
                      <a:pt x="1245" y="1575"/>
                    </a:cubicBezTo>
                    <a:cubicBezTo>
                      <a:pt x="1277" y="1630"/>
                      <a:pt x="1351" y="1644"/>
                      <a:pt x="1401" y="1600"/>
                    </a:cubicBezTo>
                    <a:cubicBezTo>
                      <a:pt x="1432" y="1573"/>
                      <a:pt x="1444" y="1529"/>
                      <a:pt x="1430" y="1490"/>
                    </a:cubicBezTo>
                    <a:cubicBezTo>
                      <a:pt x="1418" y="1457"/>
                      <a:pt x="1392" y="1435"/>
                      <a:pt x="1363" y="1426"/>
                    </a:cubicBezTo>
                    <a:cubicBezTo>
                      <a:pt x="1347" y="1422"/>
                      <a:pt x="1333" y="1414"/>
                      <a:pt x="1322" y="1402"/>
                    </a:cubicBezTo>
                    <a:cubicBezTo>
                      <a:pt x="1305" y="1385"/>
                      <a:pt x="1305" y="1385"/>
                      <a:pt x="1305" y="1385"/>
                    </a:cubicBezTo>
                    <a:cubicBezTo>
                      <a:pt x="1288" y="1368"/>
                      <a:pt x="1276" y="1344"/>
                      <a:pt x="1272" y="1320"/>
                    </a:cubicBezTo>
                    <a:cubicBezTo>
                      <a:pt x="1268" y="1296"/>
                      <a:pt x="1268" y="1296"/>
                      <a:pt x="1268" y="1296"/>
                    </a:cubicBezTo>
                    <a:cubicBezTo>
                      <a:pt x="1268" y="1296"/>
                      <a:pt x="1272" y="1250"/>
                      <a:pt x="1291" y="1215"/>
                    </a:cubicBezTo>
                    <a:cubicBezTo>
                      <a:pt x="1313" y="1195"/>
                      <a:pt x="1334" y="1172"/>
                      <a:pt x="1352" y="1148"/>
                    </a:cubicBezTo>
                    <a:cubicBezTo>
                      <a:pt x="1372" y="1140"/>
                      <a:pt x="1393" y="1139"/>
                      <a:pt x="1393" y="1139"/>
                    </a:cubicBezTo>
                    <a:cubicBezTo>
                      <a:pt x="1409" y="1141"/>
                      <a:pt x="1409" y="1141"/>
                      <a:pt x="1409" y="1141"/>
                    </a:cubicBezTo>
                    <a:cubicBezTo>
                      <a:pt x="1425" y="1144"/>
                      <a:pt x="1440" y="1152"/>
                      <a:pt x="1452" y="1163"/>
                    </a:cubicBezTo>
                    <a:cubicBezTo>
                      <a:pt x="1463" y="1174"/>
                      <a:pt x="1463" y="1174"/>
                      <a:pt x="1463" y="1174"/>
                    </a:cubicBezTo>
                    <a:cubicBezTo>
                      <a:pt x="1470" y="1181"/>
                      <a:pt x="1476" y="1190"/>
                      <a:pt x="1479" y="1200"/>
                    </a:cubicBezTo>
                    <a:cubicBezTo>
                      <a:pt x="1484" y="1220"/>
                      <a:pt x="1499" y="1237"/>
                      <a:pt x="1520" y="1244"/>
                    </a:cubicBezTo>
                    <a:cubicBezTo>
                      <a:pt x="1546" y="1253"/>
                      <a:pt x="1575" y="1246"/>
                      <a:pt x="1592" y="1226"/>
                    </a:cubicBezTo>
                    <a:cubicBezTo>
                      <a:pt x="1621" y="1193"/>
                      <a:pt x="1612" y="1144"/>
                      <a:pt x="1576" y="1124"/>
                    </a:cubicBezTo>
                    <a:cubicBezTo>
                      <a:pt x="1561" y="1115"/>
                      <a:pt x="1543" y="1113"/>
                      <a:pt x="1528" y="1116"/>
                    </a:cubicBezTo>
                    <a:cubicBezTo>
                      <a:pt x="1517" y="1119"/>
                      <a:pt x="1507" y="1119"/>
                      <a:pt x="1496" y="1116"/>
                    </a:cubicBezTo>
                    <a:cubicBezTo>
                      <a:pt x="1482" y="1112"/>
                      <a:pt x="1482" y="1112"/>
                      <a:pt x="1482" y="1112"/>
                    </a:cubicBezTo>
                    <a:cubicBezTo>
                      <a:pt x="1466" y="1107"/>
                      <a:pt x="1451" y="1098"/>
                      <a:pt x="1442" y="1085"/>
                    </a:cubicBezTo>
                    <a:cubicBezTo>
                      <a:pt x="1432" y="1073"/>
                      <a:pt x="1432" y="1073"/>
                      <a:pt x="1432" y="1073"/>
                    </a:cubicBezTo>
                    <a:cubicBezTo>
                      <a:pt x="1432" y="1073"/>
                      <a:pt x="1423" y="1054"/>
                      <a:pt x="1420" y="1032"/>
                    </a:cubicBezTo>
                    <a:cubicBezTo>
                      <a:pt x="1432" y="1003"/>
                      <a:pt x="1442" y="972"/>
                      <a:pt x="1449" y="940"/>
                    </a:cubicBezTo>
                    <a:cubicBezTo>
                      <a:pt x="1469" y="907"/>
                      <a:pt x="1507" y="880"/>
                      <a:pt x="1507" y="880"/>
                    </a:cubicBezTo>
                    <a:cubicBezTo>
                      <a:pt x="1530" y="871"/>
                      <a:pt x="1530" y="871"/>
                      <a:pt x="1530" y="871"/>
                    </a:cubicBezTo>
                    <a:cubicBezTo>
                      <a:pt x="1553" y="863"/>
                      <a:pt x="1579" y="861"/>
                      <a:pt x="1603" y="867"/>
                    </a:cubicBezTo>
                    <a:cubicBezTo>
                      <a:pt x="1626" y="873"/>
                      <a:pt x="1626" y="873"/>
                      <a:pt x="1626" y="873"/>
                    </a:cubicBezTo>
                    <a:cubicBezTo>
                      <a:pt x="1642" y="877"/>
                      <a:pt x="1656" y="885"/>
                      <a:pt x="1667" y="896"/>
                    </a:cubicBezTo>
                    <a:cubicBezTo>
                      <a:pt x="1690" y="917"/>
                      <a:pt x="1722" y="928"/>
                      <a:pt x="1757" y="922"/>
                    </a:cubicBezTo>
                    <a:cubicBezTo>
                      <a:pt x="1797" y="915"/>
                      <a:pt x="1829" y="883"/>
                      <a:pt x="1837" y="842"/>
                    </a:cubicBezTo>
                    <a:cubicBezTo>
                      <a:pt x="1850" y="777"/>
                      <a:pt x="1800" y="720"/>
                      <a:pt x="1737" y="720"/>
                    </a:cubicBezTo>
                    <a:close/>
                    <a:moveTo>
                      <a:pt x="925" y="1302"/>
                    </a:moveTo>
                    <a:cubicBezTo>
                      <a:pt x="660" y="1302"/>
                      <a:pt x="445" y="1087"/>
                      <a:pt x="445" y="822"/>
                    </a:cubicBezTo>
                    <a:cubicBezTo>
                      <a:pt x="445" y="557"/>
                      <a:pt x="660" y="342"/>
                      <a:pt x="925" y="342"/>
                    </a:cubicBezTo>
                    <a:cubicBezTo>
                      <a:pt x="1190" y="342"/>
                      <a:pt x="1405" y="557"/>
                      <a:pt x="1405" y="822"/>
                    </a:cubicBezTo>
                    <a:cubicBezTo>
                      <a:pt x="1405" y="1087"/>
                      <a:pt x="1190" y="1302"/>
                      <a:pt x="925" y="1302"/>
                    </a:cubicBezTo>
                    <a:close/>
                  </a:path>
                </a:pathLst>
              </a:custGeom>
              <a:solidFill>
                <a:srgbClr val="003B59"/>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172" name="Freeform 8">
                <a:extLst>
                  <a:ext uri="{FF2B5EF4-FFF2-40B4-BE49-F238E27FC236}">
                    <a16:creationId xmlns:a16="http://schemas.microsoft.com/office/drawing/2014/main" id="{B8355E0E-8972-43B0-9C5E-2386B62059E6}"/>
                  </a:ext>
                </a:extLst>
              </p:cNvPr>
              <p:cNvSpPr>
                <a:spLocks noEditPoints="1"/>
              </p:cNvSpPr>
              <p:nvPr/>
            </p:nvSpPr>
            <p:spPr bwMode="auto">
              <a:xfrm>
                <a:off x="2496345" y="2592388"/>
                <a:ext cx="622300" cy="623888"/>
              </a:xfrm>
              <a:custGeom>
                <a:avLst/>
                <a:gdLst>
                  <a:gd name="T0" fmla="*/ 744 w 872"/>
                  <a:gd name="T1" fmla="*/ 128 h 872"/>
                  <a:gd name="T2" fmla="*/ 436 w 872"/>
                  <a:gd name="T3" fmla="*/ 0 h 872"/>
                  <a:gd name="T4" fmla="*/ 128 w 872"/>
                  <a:gd name="T5" fmla="*/ 128 h 872"/>
                  <a:gd name="T6" fmla="*/ 0 w 872"/>
                  <a:gd name="T7" fmla="*/ 436 h 872"/>
                  <a:gd name="T8" fmla="*/ 128 w 872"/>
                  <a:gd name="T9" fmla="*/ 744 h 872"/>
                  <a:gd name="T10" fmla="*/ 436 w 872"/>
                  <a:gd name="T11" fmla="*/ 872 h 872"/>
                  <a:gd name="T12" fmla="*/ 744 w 872"/>
                  <a:gd name="T13" fmla="*/ 744 h 872"/>
                  <a:gd name="T14" fmla="*/ 872 w 872"/>
                  <a:gd name="T15" fmla="*/ 436 h 872"/>
                  <a:gd name="T16" fmla="*/ 744 w 872"/>
                  <a:gd name="T17" fmla="*/ 128 h 872"/>
                  <a:gd name="T18" fmla="*/ 472 w 872"/>
                  <a:gd name="T19" fmla="*/ 112 h 872"/>
                  <a:gd name="T20" fmla="*/ 576 w 872"/>
                  <a:gd name="T21" fmla="*/ 216 h 872"/>
                  <a:gd name="T22" fmla="*/ 472 w 872"/>
                  <a:gd name="T23" fmla="*/ 320 h 872"/>
                  <a:gd name="T24" fmla="*/ 368 w 872"/>
                  <a:gd name="T25" fmla="*/ 216 h 872"/>
                  <a:gd name="T26" fmla="*/ 472 w 872"/>
                  <a:gd name="T27" fmla="*/ 112 h 872"/>
                  <a:gd name="T28" fmla="*/ 195 w 872"/>
                  <a:gd name="T29" fmla="*/ 216 h 872"/>
                  <a:gd name="T30" fmla="*/ 276 w 872"/>
                  <a:gd name="T31" fmla="*/ 297 h 872"/>
                  <a:gd name="T32" fmla="*/ 195 w 872"/>
                  <a:gd name="T33" fmla="*/ 377 h 872"/>
                  <a:gd name="T34" fmla="*/ 114 w 872"/>
                  <a:gd name="T35" fmla="*/ 297 h 872"/>
                  <a:gd name="T36" fmla="*/ 195 w 872"/>
                  <a:gd name="T37" fmla="*/ 216 h 872"/>
                  <a:gd name="T38" fmla="*/ 215 w 872"/>
                  <a:gd name="T39" fmla="*/ 679 h 872"/>
                  <a:gd name="T40" fmla="*/ 119 w 872"/>
                  <a:gd name="T41" fmla="*/ 583 h 872"/>
                  <a:gd name="T42" fmla="*/ 215 w 872"/>
                  <a:gd name="T43" fmla="*/ 487 h 872"/>
                  <a:gd name="T44" fmla="*/ 311 w 872"/>
                  <a:gd name="T45" fmla="*/ 583 h 872"/>
                  <a:gd name="T46" fmla="*/ 215 w 872"/>
                  <a:gd name="T47" fmla="*/ 679 h 872"/>
                  <a:gd name="T48" fmla="*/ 403 w 872"/>
                  <a:gd name="T49" fmla="*/ 539 h 872"/>
                  <a:gd name="T50" fmla="*/ 322 w 872"/>
                  <a:gd name="T51" fmla="*/ 458 h 872"/>
                  <a:gd name="T52" fmla="*/ 403 w 872"/>
                  <a:gd name="T53" fmla="*/ 377 h 872"/>
                  <a:gd name="T54" fmla="*/ 484 w 872"/>
                  <a:gd name="T55" fmla="*/ 458 h 872"/>
                  <a:gd name="T56" fmla="*/ 403 w 872"/>
                  <a:gd name="T57" fmla="*/ 539 h 872"/>
                  <a:gd name="T58" fmla="*/ 545 w 872"/>
                  <a:gd name="T59" fmla="*/ 760 h 872"/>
                  <a:gd name="T60" fmla="*/ 464 w 872"/>
                  <a:gd name="T61" fmla="*/ 679 h 872"/>
                  <a:gd name="T62" fmla="*/ 545 w 872"/>
                  <a:gd name="T63" fmla="*/ 599 h 872"/>
                  <a:gd name="T64" fmla="*/ 625 w 872"/>
                  <a:gd name="T65" fmla="*/ 679 h 872"/>
                  <a:gd name="T66" fmla="*/ 545 w 872"/>
                  <a:gd name="T67" fmla="*/ 760 h 872"/>
                  <a:gd name="T68" fmla="*/ 662 w 872"/>
                  <a:gd name="T69" fmla="*/ 540 h 872"/>
                  <a:gd name="T70" fmla="*/ 566 w 872"/>
                  <a:gd name="T71" fmla="*/ 444 h 872"/>
                  <a:gd name="T72" fmla="*/ 662 w 872"/>
                  <a:gd name="T73" fmla="*/ 348 h 872"/>
                  <a:gd name="T74" fmla="*/ 758 w 872"/>
                  <a:gd name="T75" fmla="*/ 444 h 872"/>
                  <a:gd name="T76" fmla="*/ 662 w 872"/>
                  <a:gd name="T77" fmla="*/ 54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2" h="872">
                    <a:moveTo>
                      <a:pt x="744" y="128"/>
                    </a:moveTo>
                    <a:cubicBezTo>
                      <a:pt x="662" y="45"/>
                      <a:pt x="553" y="0"/>
                      <a:pt x="436" y="0"/>
                    </a:cubicBezTo>
                    <a:cubicBezTo>
                      <a:pt x="319" y="0"/>
                      <a:pt x="210" y="45"/>
                      <a:pt x="128" y="128"/>
                    </a:cubicBezTo>
                    <a:cubicBezTo>
                      <a:pt x="45" y="210"/>
                      <a:pt x="0" y="319"/>
                      <a:pt x="0" y="436"/>
                    </a:cubicBezTo>
                    <a:cubicBezTo>
                      <a:pt x="0" y="553"/>
                      <a:pt x="45" y="662"/>
                      <a:pt x="128" y="744"/>
                    </a:cubicBezTo>
                    <a:cubicBezTo>
                      <a:pt x="210" y="827"/>
                      <a:pt x="319" y="872"/>
                      <a:pt x="436" y="872"/>
                    </a:cubicBezTo>
                    <a:cubicBezTo>
                      <a:pt x="553" y="872"/>
                      <a:pt x="662" y="827"/>
                      <a:pt x="744" y="744"/>
                    </a:cubicBezTo>
                    <a:cubicBezTo>
                      <a:pt x="827" y="662"/>
                      <a:pt x="872" y="553"/>
                      <a:pt x="872" y="436"/>
                    </a:cubicBezTo>
                    <a:cubicBezTo>
                      <a:pt x="872" y="319"/>
                      <a:pt x="827" y="210"/>
                      <a:pt x="744" y="128"/>
                    </a:cubicBezTo>
                    <a:close/>
                    <a:moveTo>
                      <a:pt x="472" y="112"/>
                    </a:moveTo>
                    <a:cubicBezTo>
                      <a:pt x="529" y="112"/>
                      <a:pt x="576" y="158"/>
                      <a:pt x="576" y="216"/>
                    </a:cubicBezTo>
                    <a:cubicBezTo>
                      <a:pt x="576" y="273"/>
                      <a:pt x="529" y="320"/>
                      <a:pt x="472" y="320"/>
                    </a:cubicBezTo>
                    <a:cubicBezTo>
                      <a:pt x="414" y="320"/>
                      <a:pt x="368" y="273"/>
                      <a:pt x="368" y="216"/>
                    </a:cubicBezTo>
                    <a:cubicBezTo>
                      <a:pt x="368" y="158"/>
                      <a:pt x="414" y="112"/>
                      <a:pt x="472" y="112"/>
                    </a:cubicBezTo>
                    <a:close/>
                    <a:moveTo>
                      <a:pt x="195" y="216"/>
                    </a:moveTo>
                    <a:cubicBezTo>
                      <a:pt x="240" y="216"/>
                      <a:pt x="276" y="252"/>
                      <a:pt x="276" y="297"/>
                    </a:cubicBezTo>
                    <a:cubicBezTo>
                      <a:pt x="276" y="341"/>
                      <a:pt x="240" y="377"/>
                      <a:pt x="195" y="377"/>
                    </a:cubicBezTo>
                    <a:cubicBezTo>
                      <a:pt x="151" y="377"/>
                      <a:pt x="114" y="341"/>
                      <a:pt x="114" y="297"/>
                    </a:cubicBezTo>
                    <a:cubicBezTo>
                      <a:pt x="114" y="252"/>
                      <a:pt x="151" y="216"/>
                      <a:pt x="195" y="216"/>
                    </a:cubicBezTo>
                    <a:close/>
                    <a:moveTo>
                      <a:pt x="215" y="679"/>
                    </a:moveTo>
                    <a:cubicBezTo>
                      <a:pt x="162" y="679"/>
                      <a:pt x="119" y="636"/>
                      <a:pt x="119" y="583"/>
                    </a:cubicBezTo>
                    <a:cubicBezTo>
                      <a:pt x="119" y="530"/>
                      <a:pt x="162" y="487"/>
                      <a:pt x="215" y="487"/>
                    </a:cubicBezTo>
                    <a:cubicBezTo>
                      <a:pt x="268" y="487"/>
                      <a:pt x="311" y="530"/>
                      <a:pt x="311" y="583"/>
                    </a:cubicBezTo>
                    <a:cubicBezTo>
                      <a:pt x="311" y="636"/>
                      <a:pt x="268" y="679"/>
                      <a:pt x="215" y="679"/>
                    </a:cubicBezTo>
                    <a:close/>
                    <a:moveTo>
                      <a:pt x="403" y="539"/>
                    </a:moveTo>
                    <a:cubicBezTo>
                      <a:pt x="359" y="539"/>
                      <a:pt x="322" y="503"/>
                      <a:pt x="322" y="458"/>
                    </a:cubicBezTo>
                    <a:cubicBezTo>
                      <a:pt x="322" y="414"/>
                      <a:pt x="359" y="377"/>
                      <a:pt x="403" y="377"/>
                    </a:cubicBezTo>
                    <a:cubicBezTo>
                      <a:pt x="448" y="377"/>
                      <a:pt x="484" y="414"/>
                      <a:pt x="484" y="458"/>
                    </a:cubicBezTo>
                    <a:cubicBezTo>
                      <a:pt x="484" y="503"/>
                      <a:pt x="448" y="539"/>
                      <a:pt x="403" y="539"/>
                    </a:cubicBezTo>
                    <a:close/>
                    <a:moveTo>
                      <a:pt x="545" y="760"/>
                    </a:moveTo>
                    <a:cubicBezTo>
                      <a:pt x="500" y="760"/>
                      <a:pt x="464" y="724"/>
                      <a:pt x="464" y="679"/>
                    </a:cubicBezTo>
                    <a:cubicBezTo>
                      <a:pt x="464" y="635"/>
                      <a:pt x="500" y="599"/>
                      <a:pt x="545" y="599"/>
                    </a:cubicBezTo>
                    <a:cubicBezTo>
                      <a:pt x="589" y="599"/>
                      <a:pt x="625" y="635"/>
                      <a:pt x="625" y="679"/>
                    </a:cubicBezTo>
                    <a:cubicBezTo>
                      <a:pt x="625" y="724"/>
                      <a:pt x="589" y="760"/>
                      <a:pt x="545" y="760"/>
                    </a:cubicBezTo>
                    <a:close/>
                    <a:moveTo>
                      <a:pt x="662" y="540"/>
                    </a:moveTo>
                    <a:cubicBezTo>
                      <a:pt x="609" y="540"/>
                      <a:pt x="566" y="497"/>
                      <a:pt x="566" y="444"/>
                    </a:cubicBezTo>
                    <a:cubicBezTo>
                      <a:pt x="566" y="391"/>
                      <a:pt x="609" y="348"/>
                      <a:pt x="662" y="348"/>
                    </a:cubicBezTo>
                    <a:cubicBezTo>
                      <a:pt x="715" y="348"/>
                      <a:pt x="758" y="391"/>
                      <a:pt x="758" y="444"/>
                    </a:cubicBezTo>
                    <a:cubicBezTo>
                      <a:pt x="758" y="497"/>
                      <a:pt x="715" y="540"/>
                      <a:pt x="662" y="540"/>
                    </a:cubicBezTo>
                    <a:close/>
                  </a:path>
                </a:pathLst>
              </a:custGeom>
              <a:solidFill>
                <a:srgbClr val="4C7895"/>
              </a:solidFill>
              <a:ln>
                <a:noFill/>
              </a:ln>
            </p:spPr>
            <p:txBody>
              <a:bodyPr vert="horz" wrap="square" lIns="91440" tIns="45720" rIns="91440" bIns="45720" numCol="1" anchor="t" anchorCtr="0" compatLnSpc="1">
                <a:prstTxWarp prst="textNoShape">
                  <a:avLst/>
                </a:prstTxWarp>
              </a:bodyPr>
              <a:lstStyle/>
              <a:p>
                <a:endParaRPr lang="de-DE" dirty="0"/>
              </a:p>
            </p:txBody>
          </p:sp>
        </p:grpSp>
      </p:grpSp>
      <p:sp>
        <p:nvSpPr>
          <p:cNvPr id="173" name="Oval 172">
            <a:extLst>
              <a:ext uri="{FF2B5EF4-FFF2-40B4-BE49-F238E27FC236}">
                <a16:creationId xmlns:a16="http://schemas.microsoft.com/office/drawing/2014/main" id="{D8DE246F-29F2-4387-A1B8-6ECA14494245}"/>
              </a:ext>
            </a:extLst>
          </p:cNvPr>
          <p:cNvSpPr/>
          <p:nvPr/>
        </p:nvSpPr>
        <p:spPr bwMode="auto">
          <a:xfrm>
            <a:off x="6979799" y="2857228"/>
            <a:ext cx="573784" cy="573784"/>
          </a:xfrm>
          <a:prstGeom prst="ellipse">
            <a:avLst/>
          </a:prstGeom>
          <a:noFill/>
          <a:ln w="19050" cap="flat" cmpd="sng" algn="ctr">
            <a:solidFill>
              <a:srgbClr val="B43E62"/>
            </a:solidFill>
            <a:prstDash val="solid"/>
            <a:round/>
            <a:headEnd type="none" w="med" len="med"/>
            <a:tailEnd type="none" w="med" len="med"/>
          </a:ln>
          <a:effectLst/>
          <a:extLst>
            <a:ext uri="{909E8E84-426E-40DD-AFC4-6F175D3DCCD1}">
              <a14:hiddenFill xmlns:a14="http://schemas.microsoft.com/office/drawing/2010/main">
                <a:solidFill>
                  <a:srgbClr val="0A4E78"/>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cxnSp>
        <p:nvCxnSpPr>
          <p:cNvPr id="175" name="Straight Connector 174">
            <a:extLst>
              <a:ext uri="{FF2B5EF4-FFF2-40B4-BE49-F238E27FC236}">
                <a16:creationId xmlns:a16="http://schemas.microsoft.com/office/drawing/2014/main" id="{C45FF1F9-B63A-4E2E-8545-D373C7BBE7FA}"/>
              </a:ext>
            </a:extLst>
          </p:cNvPr>
          <p:cNvCxnSpPr>
            <a:stCxn id="173" idx="3"/>
            <a:endCxn id="173" idx="7"/>
          </p:cNvCxnSpPr>
          <p:nvPr/>
        </p:nvCxnSpPr>
        <p:spPr bwMode="auto">
          <a:xfrm flipV="1">
            <a:off x="7063828" y="2941257"/>
            <a:ext cx="405726" cy="405726"/>
          </a:xfrm>
          <a:prstGeom prst="line">
            <a:avLst/>
          </a:prstGeom>
          <a:noFill/>
          <a:ln w="19050" cap="flat" cmpd="sng" algn="ctr">
            <a:solidFill>
              <a:srgbClr val="B43E6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7" name="Connector: Elbow 176">
            <a:extLst>
              <a:ext uri="{FF2B5EF4-FFF2-40B4-BE49-F238E27FC236}">
                <a16:creationId xmlns:a16="http://schemas.microsoft.com/office/drawing/2014/main" id="{B6AA7D57-8F9C-428B-AFF3-470545DF8613}"/>
              </a:ext>
            </a:extLst>
          </p:cNvPr>
          <p:cNvCxnSpPr>
            <a:stCxn id="150" idx="0"/>
            <a:endCxn id="27" idx="0"/>
          </p:cNvCxnSpPr>
          <p:nvPr/>
        </p:nvCxnSpPr>
        <p:spPr bwMode="auto">
          <a:xfrm rot="16200000" flipV="1">
            <a:off x="4514797" y="-1346857"/>
            <a:ext cx="12700" cy="6265737"/>
          </a:xfrm>
          <a:prstGeom prst="bentConnector3">
            <a:avLst>
              <a:gd name="adj1" fmla="val 3124307"/>
            </a:avLst>
          </a:prstGeom>
          <a:noFill/>
          <a:ln w="9525" cap="flat" cmpd="sng" algn="ctr">
            <a:solidFill>
              <a:srgbClr val="898989"/>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9" name="Connector: Elbow 178">
            <a:extLst>
              <a:ext uri="{FF2B5EF4-FFF2-40B4-BE49-F238E27FC236}">
                <a16:creationId xmlns:a16="http://schemas.microsoft.com/office/drawing/2014/main" id="{67449366-60B4-41D5-80A7-4E9595E94FDC}"/>
              </a:ext>
            </a:extLst>
          </p:cNvPr>
          <p:cNvCxnSpPr>
            <a:stCxn id="150" idx="0"/>
            <a:endCxn id="54" idx="0"/>
          </p:cNvCxnSpPr>
          <p:nvPr/>
        </p:nvCxnSpPr>
        <p:spPr bwMode="auto">
          <a:xfrm rot="16200000" flipV="1">
            <a:off x="5646625" y="-215028"/>
            <a:ext cx="12700" cy="4002080"/>
          </a:xfrm>
          <a:prstGeom prst="bentConnector3">
            <a:avLst>
              <a:gd name="adj1" fmla="val 3162165"/>
            </a:avLst>
          </a:prstGeom>
          <a:noFill/>
          <a:ln w="9525" cap="flat" cmpd="sng" algn="ctr">
            <a:solidFill>
              <a:srgbClr val="898989"/>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3" name="Oval 182">
            <a:extLst>
              <a:ext uri="{FF2B5EF4-FFF2-40B4-BE49-F238E27FC236}">
                <a16:creationId xmlns:a16="http://schemas.microsoft.com/office/drawing/2014/main" id="{DD0DB0F0-8E2C-488C-ADD5-4AC82A9038D9}"/>
              </a:ext>
            </a:extLst>
          </p:cNvPr>
          <p:cNvSpPr/>
          <p:nvPr/>
        </p:nvSpPr>
        <p:spPr bwMode="auto">
          <a:xfrm>
            <a:off x="5639866" y="1026831"/>
            <a:ext cx="765531" cy="765531"/>
          </a:xfrm>
          <a:prstGeom prst="ellipse">
            <a:avLst/>
          </a:prstGeom>
          <a:solidFill>
            <a:srgbClr val="FFFFFF"/>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184" name="Group 183">
            <a:extLst>
              <a:ext uri="{FF2B5EF4-FFF2-40B4-BE49-F238E27FC236}">
                <a16:creationId xmlns:a16="http://schemas.microsoft.com/office/drawing/2014/main" id="{BD9E877B-F141-4427-B2DE-5D8B12C457CF}"/>
              </a:ext>
            </a:extLst>
          </p:cNvPr>
          <p:cNvGrpSpPr>
            <a:grpSpLocks noChangeAspect="1"/>
          </p:cNvGrpSpPr>
          <p:nvPr/>
        </p:nvGrpSpPr>
        <p:grpSpPr>
          <a:xfrm>
            <a:off x="5757647" y="1146044"/>
            <a:ext cx="529968" cy="529966"/>
            <a:chOff x="5273675" y="2605088"/>
            <a:chExt cx="1646238" cy="1646237"/>
          </a:xfrm>
        </p:grpSpPr>
        <p:sp>
          <p:nvSpPr>
            <p:cNvPr id="185" name="AutoShape 14">
              <a:extLst>
                <a:ext uri="{FF2B5EF4-FFF2-40B4-BE49-F238E27FC236}">
                  <a16:creationId xmlns:a16="http://schemas.microsoft.com/office/drawing/2014/main" id="{747133B0-0021-4B59-983F-70C31021C498}"/>
                </a:ext>
              </a:extLst>
            </p:cNvPr>
            <p:cNvSpPr>
              <a:spLocks noChangeAspect="1" noChangeArrowheads="1" noTextEdit="1"/>
            </p:cNvSpPr>
            <p:nvPr/>
          </p:nvSpPr>
          <p:spPr bwMode="auto">
            <a:xfrm>
              <a:off x="5273675" y="260508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86" name="Group 185">
              <a:extLst>
                <a:ext uri="{FF2B5EF4-FFF2-40B4-BE49-F238E27FC236}">
                  <a16:creationId xmlns:a16="http://schemas.microsoft.com/office/drawing/2014/main" id="{0DFF29D4-B4C8-41BF-86E8-4598D7DDF563}"/>
                </a:ext>
              </a:extLst>
            </p:cNvPr>
            <p:cNvGrpSpPr/>
            <p:nvPr/>
          </p:nvGrpSpPr>
          <p:grpSpPr>
            <a:xfrm>
              <a:off x="5483225" y="2776538"/>
              <a:ext cx="1228725" cy="1303337"/>
              <a:chOff x="5483225" y="2776538"/>
              <a:chExt cx="1228725" cy="1303337"/>
            </a:xfrm>
          </p:grpSpPr>
          <p:sp>
            <p:nvSpPr>
              <p:cNvPr id="187" name="Freeform 5">
                <a:extLst>
                  <a:ext uri="{FF2B5EF4-FFF2-40B4-BE49-F238E27FC236}">
                    <a16:creationId xmlns:a16="http://schemas.microsoft.com/office/drawing/2014/main" id="{1C4A0193-A883-4218-82A7-9543DF248DD8}"/>
                  </a:ext>
                </a:extLst>
              </p:cNvPr>
              <p:cNvSpPr>
                <a:spLocks/>
              </p:cNvSpPr>
              <p:nvPr/>
            </p:nvSpPr>
            <p:spPr bwMode="auto">
              <a:xfrm>
                <a:off x="5483225" y="2776538"/>
                <a:ext cx="1228725" cy="1303337"/>
              </a:xfrm>
              <a:custGeom>
                <a:avLst/>
                <a:gdLst>
                  <a:gd name="connsiteX0" fmla="*/ 355419 w 1228725"/>
                  <a:gd name="connsiteY0" fmla="*/ 544512 h 1303337"/>
                  <a:gd name="connsiteX1" fmla="*/ 873307 w 1228725"/>
                  <a:gd name="connsiteY1" fmla="*/ 544512 h 1303337"/>
                  <a:gd name="connsiteX2" fmla="*/ 889000 w 1228725"/>
                  <a:gd name="connsiteY2" fmla="*/ 558800 h 1303337"/>
                  <a:gd name="connsiteX3" fmla="*/ 873307 w 1228725"/>
                  <a:gd name="connsiteY3" fmla="*/ 573087 h 1303337"/>
                  <a:gd name="connsiteX4" fmla="*/ 355419 w 1228725"/>
                  <a:gd name="connsiteY4" fmla="*/ 573087 h 1303337"/>
                  <a:gd name="connsiteX5" fmla="*/ 339725 w 1228725"/>
                  <a:gd name="connsiteY5" fmla="*/ 558800 h 1303337"/>
                  <a:gd name="connsiteX6" fmla="*/ 355419 w 1228725"/>
                  <a:gd name="connsiteY6" fmla="*/ 544512 h 1303337"/>
                  <a:gd name="connsiteX7" fmla="*/ 355419 w 1228725"/>
                  <a:gd name="connsiteY7" fmla="*/ 433387 h 1303337"/>
                  <a:gd name="connsiteX8" fmla="*/ 873307 w 1228725"/>
                  <a:gd name="connsiteY8" fmla="*/ 433387 h 1303337"/>
                  <a:gd name="connsiteX9" fmla="*/ 889000 w 1228725"/>
                  <a:gd name="connsiteY9" fmla="*/ 449631 h 1303337"/>
                  <a:gd name="connsiteX10" fmla="*/ 873307 w 1228725"/>
                  <a:gd name="connsiteY10" fmla="*/ 465137 h 1303337"/>
                  <a:gd name="connsiteX11" fmla="*/ 355419 w 1228725"/>
                  <a:gd name="connsiteY11" fmla="*/ 465137 h 1303337"/>
                  <a:gd name="connsiteX12" fmla="*/ 339725 w 1228725"/>
                  <a:gd name="connsiteY12" fmla="*/ 449631 h 1303337"/>
                  <a:gd name="connsiteX13" fmla="*/ 355419 w 1228725"/>
                  <a:gd name="connsiteY13" fmla="*/ 433387 h 1303337"/>
                  <a:gd name="connsiteX14" fmla="*/ 355419 w 1228725"/>
                  <a:gd name="connsiteY14" fmla="*/ 322262 h 1303337"/>
                  <a:gd name="connsiteX15" fmla="*/ 873307 w 1228725"/>
                  <a:gd name="connsiteY15" fmla="*/ 322262 h 1303337"/>
                  <a:gd name="connsiteX16" fmla="*/ 889000 w 1228725"/>
                  <a:gd name="connsiteY16" fmla="*/ 338137 h 1303337"/>
                  <a:gd name="connsiteX17" fmla="*/ 873307 w 1228725"/>
                  <a:gd name="connsiteY17" fmla="*/ 354012 h 1303337"/>
                  <a:gd name="connsiteX18" fmla="*/ 355419 w 1228725"/>
                  <a:gd name="connsiteY18" fmla="*/ 354012 h 1303337"/>
                  <a:gd name="connsiteX19" fmla="*/ 339725 w 1228725"/>
                  <a:gd name="connsiteY19" fmla="*/ 338137 h 1303337"/>
                  <a:gd name="connsiteX20" fmla="*/ 355419 w 1228725"/>
                  <a:gd name="connsiteY20" fmla="*/ 322262 h 1303337"/>
                  <a:gd name="connsiteX21" fmla="*/ 496037 w 1228725"/>
                  <a:gd name="connsiteY21" fmla="*/ 173037 h 1303337"/>
                  <a:gd name="connsiteX22" fmla="*/ 733562 w 1228725"/>
                  <a:gd name="connsiteY22" fmla="*/ 173037 h 1303337"/>
                  <a:gd name="connsiteX23" fmla="*/ 749301 w 1228725"/>
                  <a:gd name="connsiteY23" fmla="*/ 188118 h 1303337"/>
                  <a:gd name="connsiteX24" fmla="*/ 733562 w 1228725"/>
                  <a:gd name="connsiteY24" fmla="*/ 203199 h 1303337"/>
                  <a:gd name="connsiteX25" fmla="*/ 496037 w 1228725"/>
                  <a:gd name="connsiteY25" fmla="*/ 203199 h 1303337"/>
                  <a:gd name="connsiteX26" fmla="*/ 481013 w 1228725"/>
                  <a:gd name="connsiteY26" fmla="*/ 188118 h 1303337"/>
                  <a:gd name="connsiteX27" fmla="*/ 496037 w 1228725"/>
                  <a:gd name="connsiteY27" fmla="*/ 173037 h 1303337"/>
                  <a:gd name="connsiteX28" fmla="*/ 205249 w 1228725"/>
                  <a:gd name="connsiteY28" fmla="*/ 31750 h 1303337"/>
                  <a:gd name="connsiteX29" fmla="*/ 205249 w 1228725"/>
                  <a:gd name="connsiteY29" fmla="*/ 583106 h 1303337"/>
                  <a:gd name="connsiteX30" fmla="*/ 203107 w 1228725"/>
                  <a:gd name="connsiteY30" fmla="*/ 580964 h 1303337"/>
                  <a:gd name="connsiteX31" fmla="*/ 173833 w 1228725"/>
                  <a:gd name="connsiteY31" fmla="*/ 558110 h 1303337"/>
                  <a:gd name="connsiteX32" fmla="*/ 173833 w 1228725"/>
                  <a:gd name="connsiteY32" fmla="*/ 375991 h 1303337"/>
                  <a:gd name="connsiteX33" fmla="*/ 61738 w 1228725"/>
                  <a:gd name="connsiteY33" fmla="*/ 436697 h 1303337"/>
                  <a:gd name="connsiteX34" fmla="*/ 48172 w 1228725"/>
                  <a:gd name="connsiteY34" fmla="*/ 444553 h 1303337"/>
                  <a:gd name="connsiteX35" fmla="*/ 31750 w 1228725"/>
                  <a:gd name="connsiteY35" fmla="*/ 453123 h 1303337"/>
                  <a:gd name="connsiteX36" fmla="*/ 31750 w 1228725"/>
                  <a:gd name="connsiteY36" fmla="*/ 1271587 h 1303337"/>
                  <a:gd name="connsiteX37" fmla="*/ 63166 w 1228725"/>
                  <a:gd name="connsiteY37" fmla="*/ 1271587 h 1303337"/>
                  <a:gd name="connsiteX38" fmla="*/ 1165560 w 1228725"/>
                  <a:gd name="connsiteY38" fmla="*/ 1271587 h 1303337"/>
                  <a:gd name="connsiteX39" fmla="*/ 1196975 w 1228725"/>
                  <a:gd name="connsiteY39" fmla="*/ 1271587 h 1303337"/>
                  <a:gd name="connsiteX40" fmla="*/ 1196975 w 1228725"/>
                  <a:gd name="connsiteY40" fmla="*/ 453123 h 1303337"/>
                  <a:gd name="connsiteX41" fmla="*/ 1192691 w 1228725"/>
                  <a:gd name="connsiteY41" fmla="*/ 450981 h 1303337"/>
                  <a:gd name="connsiteX42" fmla="*/ 1054892 w 1228725"/>
                  <a:gd name="connsiteY42" fmla="*/ 373848 h 1303337"/>
                  <a:gd name="connsiteX43" fmla="*/ 1054892 w 1228725"/>
                  <a:gd name="connsiteY43" fmla="*/ 383133 h 1303337"/>
                  <a:gd name="connsiteX44" fmla="*/ 1054178 w 1228725"/>
                  <a:gd name="connsiteY44" fmla="*/ 428127 h 1303337"/>
                  <a:gd name="connsiteX45" fmla="*/ 1052750 w 1228725"/>
                  <a:gd name="connsiteY45" fmla="*/ 557395 h 1303337"/>
                  <a:gd name="connsiteX46" fmla="*/ 1023477 w 1228725"/>
                  <a:gd name="connsiteY46" fmla="*/ 580249 h 1303337"/>
                  <a:gd name="connsiteX47" fmla="*/ 1023477 w 1228725"/>
                  <a:gd name="connsiteY47" fmla="*/ 347423 h 1303337"/>
                  <a:gd name="connsiteX48" fmla="*/ 1023477 w 1228725"/>
                  <a:gd name="connsiteY48" fmla="*/ 31750 h 1303337"/>
                  <a:gd name="connsiteX49" fmla="*/ 205249 w 1228725"/>
                  <a:gd name="connsiteY49" fmla="*/ 31750 h 1303337"/>
                  <a:gd name="connsiteX50" fmla="*/ 189310 w 1228725"/>
                  <a:gd name="connsiteY50" fmla="*/ 0 h 1303337"/>
                  <a:gd name="connsiteX51" fmla="*/ 1039416 w 1228725"/>
                  <a:gd name="connsiteY51" fmla="*/ 0 h 1303337"/>
                  <a:gd name="connsiteX52" fmla="*/ 1055132 w 1228725"/>
                  <a:gd name="connsiteY52" fmla="*/ 15720 h 1303337"/>
                  <a:gd name="connsiteX53" fmla="*/ 1055132 w 1228725"/>
                  <a:gd name="connsiteY53" fmla="*/ 337982 h 1303337"/>
                  <a:gd name="connsiteX54" fmla="*/ 1220867 w 1228725"/>
                  <a:gd name="connsiteY54" fmla="*/ 430159 h 1303337"/>
                  <a:gd name="connsiteX55" fmla="*/ 1228725 w 1228725"/>
                  <a:gd name="connsiteY55" fmla="*/ 443735 h 1303337"/>
                  <a:gd name="connsiteX56" fmla="*/ 1228725 w 1228725"/>
                  <a:gd name="connsiteY56" fmla="*/ 1287617 h 1303337"/>
                  <a:gd name="connsiteX57" fmla="*/ 1213009 w 1228725"/>
                  <a:gd name="connsiteY57" fmla="*/ 1303337 h 1303337"/>
                  <a:gd name="connsiteX58" fmla="*/ 15716 w 1228725"/>
                  <a:gd name="connsiteY58" fmla="*/ 1303337 h 1303337"/>
                  <a:gd name="connsiteX59" fmla="*/ 0 w 1228725"/>
                  <a:gd name="connsiteY59" fmla="*/ 1287617 h 1303337"/>
                  <a:gd name="connsiteX60" fmla="*/ 0 w 1228725"/>
                  <a:gd name="connsiteY60" fmla="*/ 443735 h 1303337"/>
                  <a:gd name="connsiteX61" fmla="*/ 7858 w 1228725"/>
                  <a:gd name="connsiteY61" fmla="*/ 430159 h 1303337"/>
                  <a:gd name="connsiteX62" fmla="*/ 173593 w 1228725"/>
                  <a:gd name="connsiteY62" fmla="*/ 340125 h 1303337"/>
                  <a:gd name="connsiteX63" fmla="*/ 173593 w 1228725"/>
                  <a:gd name="connsiteY63" fmla="*/ 15720 h 1303337"/>
                  <a:gd name="connsiteX64" fmla="*/ 189310 w 1228725"/>
                  <a:gd name="connsiteY64" fmla="*/ 0 h 130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228725" h="1303337">
                    <a:moveTo>
                      <a:pt x="355419" y="544512"/>
                    </a:moveTo>
                    <a:cubicBezTo>
                      <a:pt x="355419" y="544512"/>
                      <a:pt x="355419" y="544512"/>
                      <a:pt x="873307" y="544512"/>
                    </a:cubicBezTo>
                    <a:cubicBezTo>
                      <a:pt x="882580" y="544512"/>
                      <a:pt x="889000" y="550635"/>
                      <a:pt x="889000" y="558800"/>
                    </a:cubicBezTo>
                    <a:cubicBezTo>
                      <a:pt x="889000" y="566964"/>
                      <a:pt x="882580" y="573087"/>
                      <a:pt x="873307" y="573087"/>
                    </a:cubicBezTo>
                    <a:cubicBezTo>
                      <a:pt x="873307" y="573087"/>
                      <a:pt x="873307" y="573087"/>
                      <a:pt x="355419" y="573087"/>
                    </a:cubicBezTo>
                    <a:cubicBezTo>
                      <a:pt x="346145" y="573087"/>
                      <a:pt x="339725" y="566964"/>
                      <a:pt x="339725" y="558800"/>
                    </a:cubicBezTo>
                    <a:cubicBezTo>
                      <a:pt x="339725" y="550635"/>
                      <a:pt x="346145" y="544512"/>
                      <a:pt x="355419" y="544512"/>
                    </a:cubicBezTo>
                    <a:close/>
                    <a:moveTo>
                      <a:pt x="355419" y="433387"/>
                    </a:moveTo>
                    <a:cubicBezTo>
                      <a:pt x="355419" y="433387"/>
                      <a:pt x="355419" y="433387"/>
                      <a:pt x="873307" y="433387"/>
                    </a:cubicBezTo>
                    <a:cubicBezTo>
                      <a:pt x="882580" y="433387"/>
                      <a:pt x="889000" y="440771"/>
                      <a:pt x="889000" y="449631"/>
                    </a:cubicBezTo>
                    <a:cubicBezTo>
                      <a:pt x="889000" y="457753"/>
                      <a:pt x="882580" y="465137"/>
                      <a:pt x="873307" y="465137"/>
                    </a:cubicBezTo>
                    <a:cubicBezTo>
                      <a:pt x="873307" y="465137"/>
                      <a:pt x="873307" y="465137"/>
                      <a:pt x="355419" y="465137"/>
                    </a:cubicBezTo>
                    <a:cubicBezTo>
                      <a:pt x="346145" y="465137"/>
                      <a:pt x="339725" y="457753"/>
                      <a:pt x="339725" y="449631"/>
                    </a:cubicBezTo>
                    <a:cubicBezTo>
                      <a:pt x="339725" y="440771"/>
                      <a:pt x="346145" y="433387"/>
                      <a:pt x="355419" y="433387"/>
                    </a:cubicBezTo>
                    <a:close/>
                    <a:moveTo>
                      <a:pt x="355419" y="322262"/>
                    </a:moveTo>
                    <a:cubicBezTo>
                      <a:pt x="355419" y="322262"/>
                      <a:pt x="355419" y="322262"/>
                      <a:pt x="873307" y="322262"/>
                    </a:cubicBezTo>
                    <a:cubicBezTo>
                      <a:pt x="882580" y="322262"/>
                      <a:pt x="889000" y="329478"/>
                      <a:pt x="889000" y="338137"/>
                    </a:cubicBezTo>
                    <a:cubicBezTo>
                      <a:pt x="889000" y="346796"/>
                      <a:pt x="882580" y="354012"/>
                      <a:pt x="873307" y="354012"/>
                    </a:cubicBezTo>
                    <a:cubicBezTo>
                      <a:pt x="873307" y="354012"/>
                      <a:pt x="873307" y="354012"/>
                      <a:pt x="355419" y="354012"/>
                    </a:cubicBezTo>
                    <a:cubicBezTo>
                      <a:pt x="346145" y="354012"/>
                      <a:pt x="339725" y="346796"/>
                      <a:pt x="339725" y="338137"/>
                    </a:cubicBezTo>
                    <a:cubicBezTo>
                      <a:pt x="339725" y="329478"/>
                      <a:pt x="346145" y="322262"/>
                      <a:pt x="355419" y="322262"/>
                    </a:cubicBezTo>
                    <a:close/>
                    <a:moveTo>
                      <a:pt x="496037" y="173037"/>
                    </a:moveTo>
                    <a:cubicBezTo>
                      <a:pt x="496037" y="173037"/>
                      <a:pt x="496037" y="173037"/>
                      <a:pt x="733562" y="173037"/>
                    </a:cubicBezTo>
                    <a:cubicBezTo>
                      <a:pt x="742147" y="173037"/>
                      <a:pt x="749301" y="179892"/>
                      <a:pt x="749301" y="188118"/>
                    </a:cubicBezTo>
                    <a:cubicBezTo>
                      <a:pt x="749301" y="196344"/>
                      <a:pt x="742147" y="203199"/>
                      <a:pt x="733562" y="203199"/>
                    </a:cubicBezTo>
                    <a:cubicBezTo>
                      <a:pt x="733562" y="203199"/>
                      <a:pt x="733562" y="203199"/>
                      <a:pt x="496037" y="203199"/>
                    </a:cubicBezTo>
                    <a:cubicBezTo>
                      <a:pt x="487452" y="203199"/>
                      <a:pt x="481013" y="196344"/>
                      <a:pt x="481013" y="188118"/>
                    </a:cubicBezTo>
                    <a:cubicBezTo>
                      <a:pt x="481013" y="179892"/>
                      <a:pt x="487452" y="173037"/>
                      <a:pt x="496037" y="173037"/>
                    </a:cubicBezTo>
                    <a:close/>
                    <a:moveTo>
                      <a:pt x="205249" y="31750"/>
                    </a:moveTo>
                    <a:cubicBezTo>
                      <a:pt x="205249" y="31750"/>
                      <a:pt x="205249" y="31750"/>
                      <a:pt x="205249" y="583106"/>
                    </a:cubicBezTo>
                    <a:cubicBezTo>
                      <a:pt x="205249" y="583106"/>
                      <a:pt x="205249" y="583106"/>
                      <a:pt x="203107" y="580964"/>
                    </a:cubicBezTo>
                    <a:cubicBezTo>
                      <a:pt x="203107" y="580964"/>
                      <a:pt x="203107" y="580964"/>
                      <a:pt x="173833" y="558110"/>
                    </a:cubicBezTo>
                    <a:cubicBezTo>
                      <a:pt x="173833" y="558110"/>
                      <a:pt x="173833" y="558110"/>
                      <a:pt x="173833" y="375991"/>
                    </a:cubicBezTo>
                    <a:cubicBezTo>
                      <a:pt x="173833" y="375991"/>
                      <a:pt x="173833" y="375991"/>
                      <a:pt x="61738" y="436697"/>
                    </a:cubicBezTo>
                    <a:cubicBezTo>
                      <a:pt x="61738" y="436697"/>
                      <a:pt x="61738" y="436697"/>
                      <a:pt x="48172" y="444553"/>
                    </a:cubicBezTo>
                    <a:cubicBezTo>
                      <a:pt x="48172" y="444553"/>
                      <a:pt x="48172" y="444553"/>
                      <a:pt x="31750" y="453123"/>
                    </a:cubicBezTo>
                    <a:cubicBezTo>
                      <a:pt x="31750" y="453123"/>
                      <a:pt x="31750" y="453123"/>
                      <a:pt x="31750" y="1271587"/>
                    </a:cubicBezTo>
                    <a:cubicBezTo>
                      <a:pt x="31750" y="1271587"/>
                      <a:pt x="31750" y="1271587"/>
                      <a:pt x="63166" y="1271587"/>
                    </a:cubicBezTo>
                    <a:cubicBezTo>
                      <a:pt x="63166" y="1271587"/>
                      <a:pt x="63166" y="1271587"/>
                      <a:pt x="1165560" y="1271587"/>
                    </a:cubicBezTo>
                    <a:cubicBezTo>
                      <a:pt x="1165560" y="1271587"/>
                      <a:pt x="1165560" y="1271587"/>
                      <a:pt x="1196975" y="1271587"/>
                    </a:cubicBezTo>
                    <a:cubicBezTo>
                      <a:pt x="1196975" y="1271587"/>
                      <a:pt x="1196975" y="1271587"/>
                      <a:pt x="1196975" y="453123"/>
                    </a:cubicBezTo>
                    <a:cubicBezTo>
                      <a:pt x="1196975" y="453123"/>
                      <a:pt x="1196975" y="453123"/>
                      <a:pt x="1192691" y="450981"/>
                    </a:cubicBezTo>
                    <a:cubicBezTo>
                      <a:pt x="1192691" y="450981"/>
                      <a:pt x="1192691" y="450981"/>
                      <a:pt x="1054892" y="373848"/>
                    </a:cubicBezTo>
                    <a:cubicBezTo>
                      <a:pt x="1054892" y="373848"/>
                      <a:pt x="1054892" y="373848"/>
                      <a:pt x="1054892" y="383133"/>
                    </a:cubicBezTo>
                    <a:cubicBezTo>
                      <a:pt x="1054892" y="383133"/>
                      <a:pt x="1054892" y="383133"/>
                      <a:pt x="1054178" y="428127"/>
                    </a:cubicBezTo>
                    <a:cubicBezTo>
                      <a:pt x="1054178" y="428127"/>
                      <a:pt x="1054178" y="428127"/>
                      <a:pt x="1052750" y="557395"/>
                    </a:cubicBezTo>
                    <a:cubicBezTo>
                      <a:pt x="1052750" y="557395"/>
                      <a:pt x="1052750" y="557395"/>
                      <a:pt x="1023477" y="580249"/>
                    </a:cubicBezTo>
                    <a:cubicBezTo>
                      <a:pt x="1023477" y="580249"/>
                      <a:pt x="1023477" y="580249"/>
                      <a:pt x="1023477" y="347423"/>
                    </a:cubicBezTo>
                    <a:cubicBezTo>
                      <a:pt x="1023477" y="347423"/>
                      <a:pt x="1023477" y="347423"/>
                      <a:pt x="1023477" y="31750"/>
                    </a:cubicBezTo>
                    <a:cubicBezTo>
                      <a:pt x="1023477" y="31750"/>
                      <a:pt x="1023477" y="31750"/>
                      <a:pt x="205249" y="31750"/>
                    </a:cubicBezTo>
                    <a:close/>
                    <a:moveTo>
                      <a:pt x="189310" y="0"/>
                    </a:moveTo>
                    <a:cubicBezTo>
                      <a:pt x="189310" y="0"/>
                      <a:pt x="189310" y="0"/>
                      <a:pt x="1039416" y="0"/>
                    </a:cubicBezTo>
                    <a:cubicBezTo>
                      <a:pt x="1047988" y="0"/>
                      <a:pt x="1055132" y="7146"/>
                      <a:pt x="1055132" y="15720"/>
                    </a:cubicBezTo>
                    <a:cubicBezTo>
                      <a:pt x="1055132" y="15720"/>
                      <a:pt x="1055132" y="15720"/>
                      <a:pt x="1055132" y="337982"/>
                    </a:cubicBezTo>
                    <a:cubicBezTo>
                      <a:pt x="1055132" y="337982"/>
                      <a:pt x="1055132" y="337982"/>
                      <a:pt x="1220867" y="430159"/>
                    </a:cubicBezTo>
                    <a:cubicBezTo>
                      <a:pt x="1225868" y="433017"/>
                      <a:pt x="1228725" y="438019"/>
                      <a:pt x="1228725" y="443735"/>
                    </a:cubicBezTo>
                    <a:cubicBezTo>
                      <a:pt x="1228725" y="443735"/>
                      <a:pt x="1228725" y="443735"/>
                      <a:pt x="1228725" y="1287617"/>
                    </a:cubicBezTo>
                    <a:cubicBezTo>
                      <a:pt x="1228725" y="1296192"/>
                      <a:pt x="1222296" y="1303337"/>
                      <a:pt x="1213009" y="1303337"/>
                    </a:cubicBezTo>
                    <a:cubicBezTo>
                      <a:pt x="1213009" y="1303337"/>
                      <a:pt x="1213009" y="1303337"/>
                      <a:pt x="15716" y="1303337"/>
                    </a:cubicBezTo>
                    <a:cubicBezTo>
                      <a:pt x="6430" y="1303337"/>
                      <a:pt x="0" y="1296192"/>
                      <a:pt x="0" y="1287617"/>
                    </a:cubicBezTo>
                    <a:cubicBezTo>
                      <a:pt x="0" y="1287617"/>
                      <a:pt x="0" y="1287617"/>
                      <a:pt x="0" y="443735"/>
                    </a:cubicBezTo>
                    <a:cubicBezTo>
                      <a:pt x="0" y="438019"/>
                      <a:pt x="2858" y="433017"/>
                      <a:pt x="7858" y="430159"/>
                    </a:cubicBezTo>
                    <a:cubicBezTo>
                      <a:pt x="7858" y="430159"/>
                      <a:pt x="7858" y="430159"/>
                      <a:pt x="173593" y="340125"/>
                    </a:cubicBezTo>
                    <a:cubicBezTo>
                      <a:pt x="173593" y="340125"/>
                      <a:pt x="173593" y="340125"/>
                      <a:pt x="173593" y="15720"/>
                    </a:cubicBezTo>
                    <a:cubicBezTo>
                      <a:pt x="173593" y="7146"/>
                      <a:pt x="180737" y="0"/>
                      <a:pt x="189310"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188" name="Freeform 6">
                <a:extLst>
                  <a:ext uri="{FF2B5EF4-FFF2-40B4-BE49-F238E27FC236}">
                    <a16:creationId xmlns:a16="http://schemas.microsoft.com/office/drawing/2014/main" id="{68DD3E5B-18DC-4968-B5E1-D987C894758B}"/>
                  </a:ext>
                </a:extLst>
              </p:cNvPr>
              <p:cNvSpPr>
                <a:spLocks/>
              </p:cNvSpPr>
              <p:nvPr/>
            </p:nvSpPr>
            <p:spPr bwMode="auto">
              <a:xfrm>
                <a:off x="5545137" y="3205163"/>
                <a:ext cx="1106488" cy="814387"/>
              </a:xfrm>
              <a:custGeom>
                <a:avLst/>
                <a:gdLst>
                  <a:gd name="connsiteX0" fmla="*/ 681076 w 1106488"/>
                  <a:gd name="connsiteY0" fmla="*/ 411162 h 814387"/>
                  <a:gd name="connsiteX1" fmla="*/ 1082675 w 1106488"/>
                  <a:gd name="connsiteY1" fmla="*/ 814387 h 814387"/>
                  <a:gd name="connsiteX2" fmla="*/ 22225 w 1106488"/>
                  <a:gd name="connsiteY2" fmla="*/ 814387 h 814387"/>
                  <a:gd name="connsiteX3" fmla="*/ 423110 w 1106488"/>
                  <a:gd name="connsiteY3" fmla="*/ 411878 h 814387"/>
                  <a:gd name="connsiteX4" fmla="*/ 534586 w 1106488"/>
                  <a:gd name="connsiteY4" fmla="*/ 500688 h 814387"/>
                  <a:gd name="connsiteX5" fmla="*/ 551021 w 1106488"/>
                  <a:gd name="connsiteY5" fmla="*/ 506418 h 814387"/>
                  <a:gd name="connsiteX6" fmla="*/ 566742 w 1106488"/>
                  <a:gd name="connsiteY6" fmla="*/ 500688 h 814387"/>
                  <a:gd name="connsiteX7" fmla="*/ 681076 w 1106488"/>
                  <a:gd name="connsiteY7" fmla="*/ 411162 h 814387"/>
                  <a:gd name="connsiteX8" fmla="*/ 79375 w 1106488"/>
                  <a:gd name="connsiteY8" fmla="*/ 1587 h 814387"/>
                  <a:gd name="connsiteX9" fmla="*/ 77788 w 1106488"/>
                  <a:gd name="connsiteY9" fmla="*/ 142875 h 814387"/>
                  <a:gd name="connsiteX10" fmla="*/ 77788 w 1106488"/>
                  <a:gd name="connsiteY10" fmla="*/ 144462 h 814387"/>
                  <a:gd name="connsiteX11" fmla="*/ 80963 w 1106488"/>
                  <a:gd name="connsiteY11" fmla="*/ 144462 h 814387"/>
                  <a:gd name="connsiteX12" fmla="*/ 111125 w 1106488"/>
                  <a:gd name="connsiteY12" fmla="*/ 168275 h 814387"/>
                  <a:gd name="connsiteX13" fmla="*/ 122238 w 1106488"/>
                  <a:gd name="connsiteY13" fmla="*/ 176212 h 814387"/>
                  <a:gd name="connsiteX14" fmla="*/ 142875 w 1106488"/>
                  <a:gd name="connsiteY14" fmla="*/ 195262 h 814387"/>
                  <a:gd name="connsiteX15" fmla="*/ 398463 w 1106488"/>
                  <a:gd name="connsiteY15" fmla="*/ 393699 h 814387"/>
                  <a:gd name="connsiteX16" fmla="*/ 0 w 1106488"/>
                  <a:gd name="connsiteY16" fmla="*/ 790574 h 814387"/>
                  <a:gd name="connsiteX17" fmla="*/ 0 w 1106488"/>
                  <a:gd name="connsiteY17" fmla="*/ 44450 h 814387"/>
                  <a:gd name="connsiteX18" fmla="*/ 1025526 w 1106488"/>
                  <a:gd name="connsiteY18" fmla="*/ 0 h 814387"/>
                  <a:gd name="connsiteX19" fmla="*/ 1106488 w 1106488"/>
                  <a:gd name="connsiteY19" fmla="*/ 44450 h 814387"/>
                  <a:gd name="connsiteX20" fmla="*/ 1106488 w 1106488"/>
                  <a:gd name="connsiteY20" fmla="*/ 790575 h 814387"/>
                  <a:gd name="connsiteX21" fmla="*/ 704850 w 1106488"/>
                  <a:gd name="connsiteY21" fmla="*/ 390525 h 814387"/>
                  <a:gd name="connsiteX22" fmla="*/ 963613 w 1106488"/>
                  <a:gd name="connsiteY22" fmla="*/ 192088 h 814387"/>
                  <a:gd name="connsiteX23" fmla="*/ 979488 w 1106488"/>
                  <a:gd name="connsiteY23" fmla="*/ 179388 h 814387"/>
                  <a:gd name="connsiteX24" fmla="*/ 995363 w 1106488"/>
                  <a:gd name="connsiteY24" fmla="*/ 166688 h 814387"/>
                  <a:gd name="connsiteX25" fmla="*/ 1023938 w 1106488"/>
                  <a:gd name="connsiteY25" fmla="*/ 144463 h 81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06488" h="814387">
                    <a:moveTo>
                      <a:pt x="681076" y="411162"/>
                    </a:moveTo>
                    <a:cubicBezTo>
                      <a:pt x="681076" y="411162"/>
                      <a:pt x="681076" y="411162"/>
                      <a:pt x="1082675" y="814387"/>
                    </a:cubicBezTo>
                    <a:cubicBezTo>
                      <a:pt x="1082675" y="814387"/>
                      <a:pt x="1082675" y="814387"/>
                      <a:pt x="22225" y="814387"/>
                    </a:cubicBezTo>
                    <a:cubicBezTo>
                      <a:pt x="22225" y="814387"/>
                      <a:pt x="22225" y="814387"/>
                      <a:pt x="423110" y="411878"/>
                    </a:cubicBezTo>
                    <a:cubicBezTo>
                      <a:pt x="423110" y="411878"/>
                      <a:pt x="423110" y="411878"/>
                      <a:pt x="534586" y="500688"/>
                    </a:cubicBezTo>
                    <a:cubicBezTo>
                      <a:pt x="539588" y="504269"/>
                      <a:pt x="544590" y="506418"/>
                      <a:pt x="551021" y="506418"/>
                    </a:cubicBezTo>
                    <a:cubicBezTo>
                      <a:pt x="556738" y="506418"/>
                      <a:pt x="562454" y="504269"/>
                      <a:pt x="566742" y="500688"/>
                    </a:cubicBezTo>
                    <a:cubicBezTo>
                      <a:pt x="566742" y="500688"/>
                      <a:pt x="566742" y="500688"/>
                      <a:pt x="681076" y="411162"/>
                    </a:cubicBezTo>
                    <a:close/>
                    <a:moveTo>
                      <a:pt x="79375" y="1587"/>
                    </a:moveTo>
                    <a:lnTo>
                      <a:pt x="77788" y="142875"/>
                    </a:lnTo>
                    <a:lnTo>
                      <a:pt x="77788" y="144462"/>
                    </a:lnTo>
                    <a:lnTo>
                      <a:pt x="80963" y="144462"/>
                    </a:lnTo>
                    <a:lnTo>
                      <a:pt x="111125" y="168275"/>
                    </a:lnTo>
                    <a:lnTo>
                      <a:pt x="122238" y="176212"/>
                    </a:lnTo>
                    <a:lnTo>
                      <a:pt x="142875" y="195262"/>
                    </a:lnTo>
                    <a:lnTo>
                      <a:pt x="398463" y="393699"/>
                    </a:lnTo>
                    <a:lnTo>
                      <a:pt x="0" y="790574"/>
                    </a:lnTo>
                    <a:lnTo>
                      <a:pt x="0" y="44450"/>
                    </a:lnTo>
                    <a:close/>
                    <a:moveTo>
                      <a:pt x="1025526" y="0"/>
                    </a:moveTo>
                    <a:lnTo>
                      <a:pt x="1106488" y="44450"/>
                    </a:lnTo>
                    <a:lnTo>
                      <a:pt x="1106488" y="790575"/>
                    </a:lnTo>
                    <a:lnTo>
                      <a:pt x="704850" y="390525"/>
                    </a:lnTo>
                    <a:lnTo>
                      <a:pt x="963613" y="192088"/>
                    </a:lnTo>
                    <a:lnTo>
                      <a:pt x="979488" y="179388"/>
                    </a:lnTo>
                    <a:lnTo>
                      <a:pt x="995363" y="166688"/>
                    </a:lnTo>
                    <a:lnTo>
                      <a:pt x="1023938" y="144463"/>
                    </a:ln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sp>
        <p:nvSpPr>
          <p:cNvPr id="190" name="Rectangle 189">
            <a:extLst>
              <a:ext uri="{FF2B5EF4-FFF2-40B4-BE49-F238E27FC236}">
                <a16:creationId xmlns:a16="http://schemas.microsoft.com/office/drawing/2014/main" id="{C76722FB-2177-4049-B7DD-B824810CD29C}"/>
              </a:ext>
            </a:extLst>
          </p:cNvPr>
          <p:cNvSpPr/>
          <p:nvPr/>
        </p:nvSpPr>
        <p:spPr bwMode="auto">
          <a:xfrm>
            <a:off x="617434" y="3940288"/>
            <a:ext cx="1657109" cy="557420"/>
          </a:xfrm>
          <a:prstGeom prst="rect">
            <a:avLst/>
          </a:prstGeom>
          <a:noFill/>
          <a:ln>
            <a:noFill/>
          </a:ln>
          <a:effectLst/>
          <a:extLst>
            <a:ext uri="{909E8E84-426E-40DD-AFC4-6F175D3DCCD1}">
              <a14:hiddenFill xmlns:a14="http://schemas.microsoft.com/office/drawing/2010/main">
                <a:solidFill>
                  <a:srgbClr val="0A4E78"/>
                </a:solidFill>
              </a14:hiddenFill>
            </a:ext>
          </a:extLst>
        </p:spPr>
        <p:txBody>
          <a:bodyPr vert="horz" wrap="square" lIns="0" tIns="0" rIns="0" bIns="0" numCol="1" rtlCol="0" anchor="t" anchorCtr="0" compatLnSpc="1">
            <a:prstTxWarp prst="textNoShape">
              <a:avLst/>
            </a:prstTxWarp>
            <a:noAutofit/>
          </a:bodyPr>
          <a:lstStyle/>
          <a:p>
            <a:pPr>
              <a:buFont typeface="Arial" panose="020B0604020202020204" pitchFamily="34" charset="0"/>
            </a:pPr>
            <a:r>
              <a:rPr lang="de-DE" sz="1000" dirty="0">
                <a:solidFill>
                  <a:srgbClr val="0A4E78"/>
                </a:solidFill>
                <a:latin typeface="+mn-lt"/>
                <a:cs typeface="+mn-cs"/>
              </a:rPr>
              <a:t>Die Kinder machen zuhause einen "Lolli-Test" für den PCR-Pool-Test und </a:t>
            </a:r>
            <a:r>
              <a:rPr lang="de-DE" sz="1000" dirty="0" smtClean="0">
                <a:solidFill>
                  <a:srgbClr val="0A4E78"/>
                </a:solidFill>
                <a:latin typeface="+mn-lt"/>
                <a:cs typeface="+mn-cs"/>
              </a:rPr>
              <a:t>den PCR-Individualtest</a:t>
            </a:r>
            <a:r>
              <a:rPr lang="de-DE" sz="1000" dirty="0">
                <a:solidFill>
                  <a:srgbClr val="0A4E78"/>
                </a:solidFill>
                <a:latin typeface="+mn-lt"/>
                <a:cs typeface="+mn-cs"/>
              </a:rPr>
              <a:t>.</a:t>
            </a:r>
          </a:p>
        </p:txBody>
      </p:sp>
      <p:sp>
        <p:nvSpPr>
          <p:cNvPr id="191" name="Rectangle 190">
            <a:extLst>
              <a:ext uri="{FF2B5EF4-FFF2-40B4-BE49-F238E27FC236}">
                <a16:creationId xmlns:a16="http://schemas.microsoft.com/office/drawing/2014/main" id="{DE09A983-449B-4280-82FB-E131CD67EC62}"/>
              </a:ext>
            </a:extLst>
          </p:cNvPr>
          <p:cNvSpPr/>
          <p:nvPr/>
        </p:nvSpPr>
        <p:spPr bwMode="auto">
          <a:xfrm>
            <a:off x="2693298" y="3940288"/>
            <a:ext cx="1878702" cy="557420"/>
          </a:xfrm>
          <a:prstGeom prst="rect">
            <a:avLst/>
          </a:prstGeom>
          <a:noFill/>
          <a:ln>
            <a:noFill/>
          </a:ln>
          <a:effectLst/>
          <a:extLst>
            <a:ext uri="{909E8E84-426E-40DD-AFC4-6F175D3DCCD1}">
              <a14:hiddenFill xmlns:a14="http://schemas.microsoft.com/office/drawing/2010/main">
                <a:solidFill>
                  <a:srgbClr val="0A4E78"/>
                </a:solidFill>
              </a14:hiddenFill>
            </a:ext>
          </a:extLst>
        </p:spPr>
        <p:txBody>
          <a:bodyPr vert="horz" wrap="square" lIns="0" tIns="0" rIns="0" bIns="0" numCol="1" rtlCol="0" anchor="t" anchorCtr="0" compatLnSpc="1">
            <a:prstTxWarp prst="textNoShape">
              <a:avLst/>
            </a:prstTxWarp>
            <a:noAutofit/>
          </a:bodyPr>
          <a:lstStyle/>
          <a:p>
            <a:pPr>
              <a:buFont typeface="Arial" panose="020B0604020202020204" pitchFamily="34" charset="0"/>
            </a:pPr>
            <a:r>
              <a:rPr lang="de-DE" sz="1000" dirty="0">
                <a:solidFill>
                  <a:srgbClr val="0A4E78"/>
                </a:solidFill>
                <a:latin typeface="+mn-lt"/>
                <a:cs typeface="+mn-cs"/>
              </a:rPr>
              <a:t>Die Beschäftigten in der Kindertagesbetreuung sammeln die PCR-Tests ein und verpacken sie für den Transport in das Labor.</a:t>
            </a:r>
          </a:p>
        </p:txBody>
      </p:sp>
      <p:sp>
        <p:nvSpPr>
          <p:cNvPr id="192" name="Rectangle 191">
            <a:extLst>
              <a:ext uri="{FF2B5EF4-FFF2-40B4-BE49-F238E27FC236}">
                <a16:creationId xmlns:a16="http://schemas.microsoft.com/office/drawing/2014/main" id="{67E24AF2-7BAE-46F6-93D2-9DC7E0B55692}"/>
              </a:ext>
            </a:extLst>
          </p:cNvPr>
          <p:cNvSpPr/>
          <p:nvPr/>
        </p:nvSpPr>
        <p:spPr bwMode="auto">
          <a:xfrm>
            <a:off x="5034213" y="3940288"/>
            <a:ext cx="1374528" cy="557420"/>
          </a:xfrm>
          <a:prstGeom prst="rect">
            <a:avLst/>
          </a:prstGeom>
          <a:noFill/>
          <a:ln>
            <a:noFill/>
          </a:ln>
          <a:effectLst/>
          <a:extLst>
            <a:ext uri="{909E8E84-426E-40DD-AFC4-6F175D3DCCD1}">
              <a14:hiddenFill xmlns:a14="http://schemas.microsoft.com/office/drawing/2010/main">
                <a:solidFill>
                  <a:srgbClr val="0A4E78"/>
                </a:solidFill>
              </a14:hiddenFill>
            </a:ext>
          </a:extLst>
        </p:spPr>
        <p:txBody>
          <a:bodyPr vert="horz" wrap="square" lIns="0" tIns="0" rIns="0" bIns="0" numCol="1" rtlCol="0" anchor="t" anchorCtr="0" compatLnSpc="1">
            <a:prstTxWarp prst="textNoShape">
              <a:avLst/>
            </a:prstTxWarp>
            <a:noAutofit/>
          </a:bodyPr>
          <a:lstStyle/>
          <a:p>
            <a:pPr>
              <a:buFont typeface="Arial" panose="020B0604020202020204" pitchFamily="34" charset="0"/>
            </a:pPr>
            <a:r>
              <a:rPr lang="de-DE" sz="1000" dirty="0">
                <a:solidFill>
                  <a:srgbClr val="0A4E78"/>
                </a:solidFill>
                <a:latin typeface="+mn-lt"/>
                <a:cs typeface="+mn-cs"/>
              </a:rPr>
              <a:t>Ein Fahrer holt die eingesammelten Tests ab und bringt sie in das Labor.</a:t>
            </a:r>
          </a:p>
        </p:txBody>
      </p:sp>
      <p:sp>
        <p:nvSpPr>
          <p:cNvPr id="193" name="Rectangle 192">
            <a:extLst>
              <a:ext uri="{FF2B5EF4-FFF2-40B4-BE49-F238E27FC236}">
                <a16:creationId xmlns:a16="http://schemas.microsoft.com/office/drawing/2014/main" id="{E5FB8CE7-BB3E-42A2-B37B-864EFE4FBFDC}"/>
              </a:ext>
            </a:extLst>
          </p:cNvPr>
          <p:cNvSpPr/>
          <p:nvPr/>
        </p:nvSpPr>
        <p:spPr bwMode="auto">
          <a:xfrm>
            <a:off x="6866318" y="3940288"/>
            <a:ext cx="1670329" cy="557420"/>
          </a:xfrm>
          <a:prstGeom prst="rect">
            <a:avLst/>
          </a:prstGeom>
          <a:noFill/>
          <a:ln>
            <a:noFill/>
          </a:ln>
          <a:effectLst/>
          <a:extLst>
            <a:ext uri="{909E8E84-426E-40DD-AFC4-6F175D3DCCD1}">
              <a14:hiddenFill xmlns:a14="http://schemas.microsoft.com/office/drawing/2010/main">
                <a:solidFill>
                  <a:srgbClr val="0A4E78"/>
                </a:solidFill>
              </a14:hiddenFill>
            </a:ext>
          </a:extLst>
        </p:spPr>
        <p:txBody>
          <a:bodyPr vert="horz" wrap="square" lIns="0" tIns="0" rIns="0" bIns="0" numCol="1" rtlCol="0" anchor="t" anchorCtr="0" compatLnSpc="1">
            <a:prstTxWarp prst="textNoShape">
              <a:avLst/>
            </a:prstTxWarp>
            <a:noAutofit/>
          </a:bodyPr>
          <a:lstStyle/>
          <a:p>
            <a:pPr>
              <a:buFont typeface="Arial" panose="020B0604020202020204" pitchFamily="34" charset="0"/>
            </a:pPr>
            <a:r>
              <a:rPr lang="de-DE" sz="1000" dirty="0">
                <a:solidFill>
                  <a:srgbClr val="0A4E78"/>
                </a:solidFill>
                <a:latin typeface="+mn-lt"/>
                <a:cs typeface="+mn-cs"/>
              </a:rPr>
              <a:t>Das Labor analysiert die PCR-Tests und informiert die Erziehungsberechtigten und die Einrichtung per E-Mail.</a:t>
            </a:r>
          </a:p>
        </p:txBody>
      </p:sp>
    </p:spTree>
    <p:extLst>
      <p:ext uri="{BB962C8B-B14F-4D97-AF65-F5344CB8AC3E}">
        <p14:creationId xmlns:p14="http://schemas.microsoft.com/office/powerpoint/2010/main" val="293205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E10F2B4-9639-4A81-95C0-5314BA791586}"/>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6806" name="think-cell Slide" r:id="rId5" imgW="473" imgH="476" progId="TCLayout.ActiveDocument.1">
                  <p:embed/>
                </p:oleObj>
              </mc:Choice>
              <mc:Fallback>
                <p:oleObj name="think-cell Slide" r:id="rId5" imgW="473" imgH="476" progId="TCLayout.ActiveDocument.1">
                  <p:embed/>
                  <p:pic>
                    <p:nvPicPr>
                      <p:cNvPr id="9" name="Object 8" hidden="1">
                        <a:extLst>
                          <a:ext uri="{FF2B5EF4-FFF2-40B4-BE49-F238E27FC236}">
                            <a16:creationId xmlns:a16="http://schemas.microsoft.com/office/drawing/2014/main" id="{3E10F2B4-9639-4A81-95C0-5314BA79158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Title 2"/>
          <p:cNvSpPr>
            <a:spLocks noGrp="1"/>
          </p:cNvSpPr>
          <p:nvPr>
            <p:ph type="title"/>
          </p:nvPr>
        </p:nvSpPr>
        <p:spPr>
          <a:xfrm>
            <a:off x="472500" y="300174"/>
            <a:ext cx="6331747" cy="784830"/>
          </a:xfrm>
        </p:spPr>
        <p:txBody>
          <a:bodyPr vert="horz"/>
          <a:lstStyle/>
          <a:p>
            <a:r>
              <a:rPr lang="de-DE" dirty="0"/>
              <a:t>Die Entnahme der </a:t>
            </a:r>
            <a:r>
              <a:rPr lang="de-DE" b="1" dirty="0"/>
              <a:t>Poolprobe</a:t>
            </a:r>
            <a:r>
              <a:rPr lang="de-DE" dirty="0"/>
              <a:t> besteht aus drei einfachen Schritten</a:t>
            </a:r>
          </a:p>
        </p:txBody>
      </p:sp>
      <p:grpSp>
        <p:nvGrpSpPr>
          <p:cNvPr id="32" name="Group 31">
            <a:extLst>
              <a:ext uri="{FF2B5EF4-FFF2-40B4-BE49-F238E27FC236}">
                <a16:creationId xmlns:a16="http://schemas.microsoft.com/office/drawing/2014/main" id="{3BAD0B18-4E84-4EB4-A6B2-C7587EA4E1B9}"/>
              </a:ext>
            </a:extLst>
          </p:cNvPr>
          <p:cNvGrpSpPr/>
          <p:nvPr/>
        </p:nvGrpSpPr>
        <p:grpSpPr>
          <a:xfrm>
            <a:off x="472499" y="1594843"/>
            <a:ext cx="8200013" cy="262417"/>
            <a:chOff x="629999" y="1319511"/>
            <a:chExt cx="2588445" cy="349889"/>
          </a:xfrm>
        </p:grpSpPr>
        <p:sp>
          <p:nvSpPr>
            <p:cNvPr id="33" name="ee4pContent1">
              <a:extLst>
                <a:ext uri="{FF2B5EF4-FFF2-40B4-BE49-F238E27FC236}">
                  <a16:creationId xmlns:a16="http://schemas.microsoft.com/office/drawing/2014/main" id="{F53AA6F6-5156-4ACA-8B56-E8B13225ECA2}"/>
                </a:ext>
              </a:extLst>
            </p:cNvPr>
            <p:cNvSpPr txBox="1"/>
            <p:nvPr/>
          </p:nvSpPr>
          <p:spPr>
            <a:xfrm>
              <a:off x="629999" y="1319511"/>
              <a:ext cx="2588444" cy="3077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defPPr>
                <a:defRPr lang="en-US"/>
              </a:defPPr>
              <a:lvl1pPr>
                <a:buSzPct val="100000"/>
                <a:buFont typeface="Trebuchet MS" panose="020B0603020202020204" pitchFamily="34" charset="0"/>
                <a:buChar char="​"/>
                <a:defRPr sz="1200">
                  <a:solidFill>
                    <a:srgbClr val="008DC9"/>
                  </a:solidFill>
                </a:defRPr>
              </a:lvl1pPr>
              <a:lvl2pPr marL="288000" lvl="1" indent="-180000">
                <a:buClr>
                  <a:srgbClr val="008DC9"/>
                </a:buClr>
                <a:buSzPct val="100000"/>
                <a:buFont typeface="Trebuchet MS" panose="020B0603020202020204" pitchFamily="34" charset="0"/>
                <a:buChar char="•"/>
                <a:defRPr sz="1200">
                  <a:solidFill>
                    <a:srgbClr val="008DC9"/>
                  </a:solidFill>
                </a:defRPr>
              </a:lvl2pPr>
              <a:lvl3pPr marL="576000" lvl="2" indent="-180000">
                <a:buClr>
                  <a:srgbClr val="008DC9"/>
                </a:buClr>
                <a:buSzPct val="100000"/>
                <a:buFont typeface="Arial" panose="020B0604020202020204" pitchFamily="34" charset="0"/>
                <a:buChar char="–"/>
                <a:defRPr sz="1200">
                  <a:solidFill>
                    <a:srgbClr val="008DC9"/>
                  </a:solidFill>
                </a:defRPr>
              </a:lvl3pPr>
              <a:lvl4pPr marL="0" lvl="3">
                <a:buSzPct val="100000"/>
                <a:buFont typeface="Trebuchet MS" panose="020B0603020202020204" pitchFamily="34" charset="0"/>
                <a:buChar char="​"/>
                <a:defRPr sz="1600">
                  <a:solidFill>
                    <a:srgbClr val="006A97"/>
                  </a:solidFill>
                </a:defRPr>
              </a:lvl4pPr>
              <a:lvl5pPr marL="0" lvl="4">
                <a:buSzPct val="100000"/>
                <a:buFont typeface="Trebuchet MS" panose="020B0603020202020204" pitchFamily="34" charset="0"/>
                <a:buChar char="​"/>
                <a:defRPr sz="1600" b="1">
                  <a:solidFill>
                    <a:srgbClr val="008DC9"/>
                  </a:solidFill>
                </a:defRPr>
              </a:lvl5pPr>
              <a:lvl6pPr marL="288000" lvl="5" indent="-180000">
                <a:buClr>
                  <a:srgbClr val="008DC9"/>
                </a:buClr>
                <a:buSzPct val="100000"/>
                <a:buFont typeface="Trebuchet MS" panose="020B0603020202020204" pitchFamily="34" charset="0"/>
                <a:buChar char="•"/>
                <a:defRPr sz="1600">
                  <a:solidFill>
                    <a:srgbClr val="008DC9"/>
                  </a:solidFill>
                </a:defRPr>
              </a:lvl6pPr>
              <a:lvl7pPr marL="0" lvl="6">
                <a:buSzPct val="100000"/>
                <a:buFont typeface="Trebuchet MS" panose="020B0603020202020204" pitchFamily="34" charset="0"/>
                <a:buChar char="​"/>
                <a:defRPr sz="4400">
                  <a:solidFill>
                    <a:srgbClr val="008DC9"/>
                  </a:solidFill>
                </a:defRPr>
              </a:lvl7pPr>
              <a:lvl8pPr marL="0" lvl="7">
                <a:buSzPct val="100000"/>
                <a:buFont typeface="Trebuchet MS" panose="020B0603020202020204" pitchFamily="34" charset="0"/>
                <a:buChar char="​"/>
                <a:defRPr sz="4000">
                  <a:solidFill>
                    <a:srgbClr val="006A97"/>
                  </a:solidFill>
                </a:defRPr>
              </a:lvl8pPr>
              <a:lvl9pPr marL="0" lvl="8">
                <a:buSzPct val="100000"/>
                <a:buFont typeface="Trebuchet MS" panose="020B0603020202020204" pitchFamily="34" charset="0"/>
                <a:buChar char="​"/>
                <a:defRPr sz="2400">
                  <a:solidFill>
                    <a:srgbClr val="006A97"/>
                  </a:solidFill>
                </a:defRPr>
              </a:lvl9pPr>
            </a:lstStyle>
            <a:p>
              <a:r>
                <a:rPr lang="de-DE" b="1" dirty="0">
                  <a:solidFill>
                    <a:srgbClr val="0A4E78"/>
                  </a:solidFill>
                </a:rPr>
                <a:t>Entnahme Poolprobe in der Einrichtung oder zuhause</a:t>
              </a:r>
            </a:p>
          </p:txBody>
        </p:sp>
        <p:cxnSp>
          <p:nvCxnSpPr>
            <p:cNvPr id="34" name="Straight Connector 33">
              <a:extLst>
                <a:ext uri="{FF2B5EF4-FFF2-40B4-BE49-F238E27FC236}">
                  <a16:creationId xmlns:a16="http://schemas.microsoft.com/office/drawing/2014/main" id="{B2D10AAE-1BE5-4D97-BA15-1C5F43F00B8A}"/>
                </a:ext>
              </a:extLst>
            </p:cNvPr>
            <p:cNvCxnSpPr>
              <a:cxnSpLocks/>
            </p:cNvCxnSpPr>
            <p:nvPr/>
          </p:nvCxnSpPr>
          <p:spPr>
            <a:xfrm>
              <a:off x="630000" y="1669400"/>
              <a:ext cx="2588444" cy="0"/>
            </a:xfrm>
            <a:prstGeom prst="line">
              <a:avLst/>
            </a:prstGeom>
            <a:ln w="19050" cap="rnd" cmpd="sng" algn="ctr">
              <a:solidFill>
                <a:srgbClr val="006A9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6" name="TextBox 55">
            <a:extLst>
              <a:ext uri="{FF2B5EF4-FFF2-40B4-BE49-F238E27FC236}">
                <a16:creationId xmlns:a16="http://schemas.microsoft.com/office/drawing/2014/main" id="{51C86425-ADE4-4854-B169-6ECECB63025F}"/>
              </a:ext>
            </a:extLst>
          </p:cNvPr>
          <p:cNvSpPr txBox="1"/>
          <p:nvPr/>
        </p:nvSpPr>
        <p:spPr>
          <a:xfrm>
            <a:off x="991646" y="3528190"/>
            <a:ext cx="1620000" cy="69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de-DE" sz="900" dirty="0">
                <a:solidFill>
                  <a:srgbClr val="000000"/>
                </a:solidFill>
              </a:rPr>
              <a:t>Das Kind erhält Abstrichtupfer für die Poolprobe, holt diesen aus der Verpackung und lutscht für 30 Sekunden an dem Tupfer wie an einem "Lolli".</a:t>
            </a:r>
            <a:endParaRPr lang="de-DE" sz="788" strike="sngStrike" dirty="0">
              <a:solidFill>
                <a:srgbClr val="FF0000"/>
              </a:solidFill>
            </a:endParaRPr>
          </a:p>
        </p:txBody>
      </p:sp>
      <p:grpSp>
        <p:nvGrpSpPr>
          <p:cNvPr id="103" name="Group 102">
            <a:extLst>
              <a:ext uri="{FF2B5EF4-FFF2-40B4-BE49-F238E27FC236}">
                <a16:creationId xmlns:a16="http://schemas.microsoft.com/office/drawing/2014/main" id="{2DC13BC2-C0E3-44B6-B50C-AD108066A70B}"/>
              </a:ext>
            </a:extLst>
          </p:cNvPr>
          <p:cNvGrpSpPr>
            <a:grpSpLocks noChangeAspect="1"/>
          </p:cNvGrpSpPr>
          <p:nvPr/>
        </p:nvGrpSpPr>
        <p:grpSpPr>
          <a:xfrm>
            <a:off x="839761" y="2311120"/>
            <a:ext cx="990663" cy="991581"/>
            <a:chOff x="5273800" y="2606041"/>
            <a:chExt cx="1644396" cy="1645920"/>
          </a:xfrm>
        </p:grpSpPr>
        <p:sp>
          <p:nvSpPr>
            <p:cNvPr id="106" name="AutoShape 8">
              <a:extLst>
                <a:ext uri="{FF2B5EF4-FFF2-40B4-BE49-F238E27FC236}">
                  <a16:creationId xmlns:a16="http://schemas.microsoft.com/office/drawing/2014/main" id="{568DA7B4-AE5D-4D42-A7C9-B5A64F1C2486}"/>
                </a:ext>
              </a:extLst>
            </p:cNvPr>
            <p:cNvSpPr>
              <a:spLocks noChangeAspect="1" noChangeArrowheads="1" noTextEdit="1"/>
            </p:cNvSpPr>
            <p:nvPr/>
          </p:nvSpPr>
          <p:spPr bwMode="auto">
            <a:xfrm>
              <a:off x="5273800" y="2606041"/>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grpSp>
          <p:nvGrpSpPr>
            <p:cNvPr id="112" name="Group 111">
              <a:extLst>
                <a:ext uri="{FF2B5EF4-FFF2-40B4-BE49-F238E27FC236}">
                  <a16:creationId xmlns:a16="http://schemas.microsoft.com/office/drawing/2014/main" id="{DD4841A9-1E1B-4DB6-9607-AB97CCA8C544}"/>
                </a:ext>
              </a:extLst>
            </p:cNvPr>
            <p:cNvGrpSpPr/>
            <p:nvPr/>
          </p:nvGrpSpPr>
          <p:grpSpPr>
            <a:xfrm>
              <a:off x="5521451" y="2919602"/>
              <a:ext cx="1147571" cy="1058037"/>
              <a:chOff x="5521451" y="2919603"/>
              <a:chExt cx="1147572" cy="1058037"/>
            </a:xfrm>
          </p:grpSpPr>
          <p:sp>
            <p:nvSpPr>
              <p:cNvPr id="113" name="Freeform 10">
                <a:extLst>
                  <a:ext uri="{FF2B5EF4-FFF2-40B4-BE49-F238E27FC236}">
                    <a16:creationId xmlns:a16="http://schemas.microsoft.com/office/drawing/2014/main" id="{806DFBF9-4A1D-47D8-BEA5-7F48AAE2E9DF}"/>
                  </a:ext>
                </a:extLst>
              </p:cNvPr>
              <p:cNvSpPr>
                <a:spLocks/>
              </p:cNvSpPr>
              <p:nvPr/>
            </p:nvSpPr>
            <p:spPr bwMode="auto">
              <a:xfrm>
                <a:off x="5799200" y="3358896"/>
                <a:ext cx="592455" cy="417957"/>
              </a:xfrm>
              <a:custGeom>
                <a:avLst/>
                <a:gdLst>
                  <a:gd name="T0" fmla="*/ 0 w 830"/>
                  <a:gd name="T1" fmla="*/ 3 h 585"/>
                  <a:gd name="T2" fmla="*/ 0 w 830"/>
                  <a:gd name="T3" fmla="*/ 9 h 585"/>
                  <a:gd name="T4" fmla="*/ 61 w 830"/>
                  <a:gd name="T5" fmla="*/ 112 h 585"/>
                  <a:gd name="T6" fmla="*/ 180 w 830"/>
                  <a:gd name="T7" fmla="*/ 381 h 585"/>
                  <a:gd name="T8" fmla="*/ 180 w 830"/>
                  <a:gd name="T9" fmla="*/ 550 h 585"/>
                  <a:gd name="T10" fmla="*/ 224 w 830"/>
                  <a:gd name="T11" fmla="*/ 585 h 585"/>
                  <a:gd name="T12" fmla="*/ 224 w 830"/>
                  <a:gd name="T13" fmla="*/ 421 h 585"/>
                  <a:gd name="T14" fmla="*/ 415 w 830"/>
                  <a:gd name="T15" fmla="*/ 511 h 585"/>
                  <a:gd name="T16" fmla="*/ 606 w 830"/>
                  <a:gd name="T17" fmla="*/ 420 h 585"/>
                  <a:gd name="T18" fmla="*/ 606 w 830"/>
                  <a:gd name="T19" fmla="*/ 585 h 585"/>
                  <a:gd name="T20" fmla="*/ 650 w 830"/>
                  <a:gd name="T21" fmla="*/ 546 h 585"/>
                  <a:gd name="T22" fmla="*/ 650 w 830"/>
                  <a:gd name="T23" fmla="*/ 380 h 585"/>
                  <a:gd name="T24" fmla="*/ 769 w 830"/>
                  <a:gd name="T25" fmla="*/ 112 h 585"/>
                  <a:gd name="T26" fmla="*/ 830 w 830"/>
                  <a:gd name="T27" fmla="*/ 6 h 585"/>
                  <a:gd name="T28" fmla="*/ 830 w 830"/>
                  <a:gd name="T29" fmla="*/ 0 h 585"/>
                  <a:gd name="T30" fmla="*/ 781 w 830"/>
                  <a:gd name="T31" fmla="*/ 23 h 585"/>
                  <a:gd name="T32" fmla="*/ 740 w 830"/>
                  <a:gd name="T33" fmla="*/ 78 h 585"/>
                  <a:gd name="T34" fmla="*/ 730 w 830"/>
                  <a:gd name="T35" fmla="*/ 90 h 585"/>
                  <a:gd name="T36" fmla="*/ 611 w 830"/>
                  <a:gd name="T37" fmla="*/ 358 h 585"/>
                  <a:gd name="T38" fmla="*/ 415 w 830"/>
                  <a:gd name="T39" fmla="*/ 467 h 585"/>
                  <a:gd name="T40" fmla="*/ 219 w 830"/>
                  <a:gd name="T41" fmla="*/ 358 h 585"/>
                  <a:gd name="T42" fmla="*/ 100 w 830"/>
                  <a:gd name="T43" fmla="*/ 90 h 585"/>
                  <a:gd name="T44" fmla="*/ 90 w 830"/>
                  <a:gd name="T45" fmla="*/ 78 h 585"/>
                  <a:gd name="T46" fmla="*/ 50 w 830"/>
                  <a:gd name="T47" fmla="*/ 27 h 585"/>
                  <a:gd name="T48" fmla="*/ 0 w 830"/>
                  <a:gd name="T49" fmla="*/ 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0" y="3"/>
                    </a:move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cubicBezTo>
                      <a:pt x="781" y="23"/>
                      <a:pt x="781" y="23"/>
                      <a:pt x="781" y="23"/>
                    </a:cubicBez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lnTo>
                      <a:pt x="0" y="3"/>
                    </a:ln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sp>
            <p:nvSpPr>
              <p:cNvPr id="114" name="Freeform 11">
                <a:extLst>
                  <a:ext uri="{FF2B5EF4-FFF2-40B4-BE49-F238E27FC236}">
                    <a16:creationId xmlns:a16="http://schemas.microsoft.com/office/drawing/2014/main" id="{DE7E400B-9B36-4D8B-8506-478EE13B6367}"/>
                  </a:ext>
                </a:extLst>
              </p:cNvPr>
              <p:cNvSpPr>
                <a:spLocks noEditPoints="1"/>
              </p:cNvSpPr>
              <p:nvPr/>
            </p:nvSpPr>
            <p:spPr bwMode="auto">
              <a:xfrm>
                <a:off x="5521451" y="2919603"/>
                <a:ext cx="1147572" cy="1058037"/>
              </a:xfrm>
              <a:custGeom>
                <a:avLst/>
                <a:gdLst>
                  <a:gd name="T0" fmla="*/ 329 w 1608"/>
                  <a:gd name="T1" fmla="*/ 640 h 1481"/>
                  <a:gd name="T2" fmla="*/ 74 w 1608"/>
                  <a:gd name="T3" fmla="*/ 827 h 1481"/>
                  <a:gd name="T4" fmla="*/ 65 w 1608"/>
                  <a:gd name="T5" fmla="*/ 819 h 1481"/>
                  <a:gd name="T6" fmla="*/ 0 w 1608"/>
                  <a:gd name="T7" fmla="*/ 447 h 1481"/>
                  <a:gd name="T8" fmla="*/ 351 w 1608"/>
                  <a:gd name="T9" fmla="*/ 258 h 1481"/>
                  <a:gd name="T10" fmla="*/ 352 w 1608"/>
                  <a:gd name="T11" fmla="*/ 258 h 1481"/>
                  <a:gd name="T12" fmla="*/ 326 w 1608"/>
                  <a:gd name="T13" fmla="*/ 398 h 1481"/>
                  <a:gd name="T14" fmla="*/ 329 w 1608"/>
                  <a:gd name="T15" fmla="*/ 640 h 1481"/>
                  <a:gd name="T16" fmla="*/ 1493 w 1608"/>
                  <a:gd name="T17" fmla="*/ 1481 h 1481"/>
                  <a:gd name="T18" fmla="*/ 1514 w 1608"/>
                  <a:gd name="T19" fmla="*/ 1458 h 1481"/>
                  <a:gd name="T20" fmla="*/ 1513 w 1608"/>
                  <a:gd name="T21" fmla="*/ 1452 h 1481"/>
                  <a:gd name="T22" fmla="*/ 1100 w 1608"/>
                  <a:gd name="T23" fmla="*/ 1153 h 1481"/>
                  <a:gd name="T24" fmla="*/ 802 w 1608"/>
                  <a:gd name="T25" fmla="*/ 1294 h 1481"/>
                  <a:gd name="T26" fmla="*/ 500 w 1608"/>
                  <a:gd name="T27" fmla="*/ 1153 h 1481"/>
                  <a:gd name="T28" fmla="*/ 97 w 1608"/>
                  <a:gd name="T29" fmla="*/ 1433 h 1481"/>
                  <a:gd name="T30" fmla="*/ 94 w 1608"/>
                  <a:gd name="T31" fmla="*/ 1457 h 1481"/>
                  <a:gd name="T32" fmla="*/ 115 w 1608"/>
                  <a:gd name="T33" fmla="*/ 1481 h 1481"/>
                  <a:gd name="T34" fmla="*/ 1493 w 1608"/>
                  <a:gd name="T35" fmla="*/ 1481 h 1481"/>
                  <a:gd name="T36" fmla="*/ 1238 w 1608"/>
                  <a:gd name="T37" fmla="*/ 405 h 1481"/>
                  <a:gd name="T38" fmla="*/ 805 w 1608"/>
                  <a:gd name="T39" fmla="*/ 0 h 1481"/>
                  <a:gd name="T40" fmla="*/ 370 w 1608"/>
                  <a:gd name="T41" fmla="*/ 405 h 1481"/>
                  <a:gd name="T42" fmla="*/ 389 w 1608"/>
                  <a:gd name="T43" fmla="*/ 548 h 1481"/>
                  <a:gd name="T44" fmla="*/ 389 w 1608"/>
                  <a:gd name="T45" fmla="*/ 548 h 1481"/>
                  <a:gd name="T46" fmla="*/ 430 w 1608"/>
                  <a:gd name="T47" fmla="*/ 594 h 1481"/>
                  <a:gd name="T48" fmla="*/ 436 w 1608"/>
                  <a:gd name="T49" fmla="*/ 598 h 1481"/>
                  <a:gd name="T50" fmla="*/ 451 w 1608"/>
                  <a:gd name="T51" fmla="*/ 600 h 1481"/>
                  <a:gd name="T52" fmla="*/ 459 w 1608"/>
                  <a:gd name="T53" fmla="*/ 590 h 1481"/>
                  <a:gd name="T54" fmla="*/ 554 w 1608"/>
                  <a:gd name="T55" fmla="*/ 331 h 1481"/>
                  <a:gd name="T56" fmla="*/ 564 w 1608"/>
                  <a:gd name="T57" fmla="*/ 339 h 1481"/>
                  <a:gd name="T58" fmla="*/ 556 w 1608"/>
                  <a:gd name="T59" fmla="*/ 399 h 1481"/>
                  <a:gd name="T60" fmla="*/ 564 w 1608"/>
                  <a:gd name="T61" fmla="*/ 409 h 1481"/>
                  <a:gd name="T62" fmla="*/ 1124 w 1608"/>
                  <a:gd name="T63" fmla="*/ 317 h 1481"/>
                  <a:gd name="T64" fmla="*/ 1137 w 1608"/>
                  <a:gd name="T65" fmla="*/ 323 h 1481"/>
                  <a:gd name="T66" fmla="*/ 1141 w 1608"/>
                  <a:gd name="T67" fmla="*/ 598 h 1481"/>
                  <a:gd name="T68" fmla="*/ 1149 w 1608"/>
                  <a:gd name="T69" fmla="*/ 606 h 1481"/>
                  <a:gd name="T70" fmla="*/ 1170 w 1608"/>
                  <a:gd name="T71" fmla="*/ 606 h 1481"/>
                  <a:gd name="T72" fmla="*/ 1176 w 1608"/>
                  <a:gd name="T73" fmla="*/ 602 h 1481"/>
                  <a:gd name="T74" fmla="*/ 1221 w 1608"/>
                  <a:gd name="T75" fmla="*/ 542 h 1481"/>
                  <a:gd name="T76" fmla="*/ 1221 w 1608"/>
                  <a:gd name="T77" fmla="*/ 544 h 1481"/>
                  <a:gd name="T78" fmla="*/ 1238 w 1608"/>
                  <a:gd name="T79" fmla="*/ 405 h 1481"/>
                  <a:gd name="T80" fmla="*/ 1257 w 1608"/>
                  <a:gd name="T81" fmla="*/ 258 h 1481"/>
                  <a:gd name="T82" fmla="*/ 1256 w 1608"/>
                  <a:gd name="T83" fmla="*/ 258 h 1481"/>
                  <a:gd name="T84" fmla="*/ 1282 w 1608"/>
                  <a:gd name="T85" fmla="*/ 398 h 1481"/>
                  <a:gd name="T86" fmla="*/ 1279 w 1608"/>
                  <a:gd name="T87" fmla="*/ 640 h 1481"/>
                  <a:gd name="T88" fmla="*/ 1534 w 1608"/>
                  <a:gd name="T89" fmla="*/ 827 h 1481"/>
                  <a:gd name="T90" fmla="*/ 1543 w 1608"/>
                  <a:gd name="T91" fmla="*/ 819 h 1481"/>
                  <a:gd name="T92" fmla="*/ 1608 w 1608"/>
                  <a:gd name="T93" fmla="*/ 447 h 1481"/>
                  <a:gd name="T94" fmla="*/ 1257 w 1608"/>
                  <a:gd name="T95" fmla="*/ 258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8" h="1481">
                    <a:moveTo>
                      <a:pt x="329" y="640"/>
                    </a:moveTo>
                    <a:cubicBezTo>
                      <a:pt x="329" y="751"/>
                      <a:pt x="166" y="821"/>
                      <a:pt x="74" y="827"/>
                    </a:cubicBezTo>
                    <a:cubicBezTo>
                      <a:pt x="70" y="827"/>
                      <a:pt x="65" y="823"/>
                      <a:pt x="65" y="819"/>
                    </a:cubicBezTo>
                    <a:cubicBezTo>
                      <a:pt x="63" y="566"/>
                      <a:pt x="0" y="576"/>
                      <a:pt x="0" y="447"/>
                    </a:cubicBezTo>
                    <a:cubicBezTo>
                      <a:pt x="0" y="318"/>
                      <a:pt x="166" y="260"/>
                      <a:pt x="351" y="258"/>
                    </a:cubicBezTo>
                    <a:cubicBezTo>
                      <a:pt x="351" y="258"/>
                      <a:pt x="352" y="258"/>
                      <a:pt x="352" y="258"/>
                    </a:cubicBezTo>
                    <a:cubicBezTo>
                      <a:pt x="336" y="303"/>
                      <a:pt x="327" y="350"/>
                      <a:pt x="326" y="398"/>
                    </a:cubicBezTo>
                    <a:cubicBezTo>
                      <a:pt x="245" y="406"/>
                      <a:pt x="329" y="529"/>
                      <a:pt x="329" y="640"/>
                    </a:cubicBezTo>
                    <a:close/>
                    <a:moveTo>
                      <a:pt x="1493" y="1481"/>
                    </a:moveTo>
                    <a:cubicBezTo>
                      <a:pt x="1505" y="1481"/>
                      <a:pt x="1515" y="1470"/>
                      <a:pt x="1514" y="1458"/>
                    </a:cubicBezTo>
                    <a:cubicBezTo>
                      <a:pt x="1514" y="1456"/>
                      <a:pt x="1513" y="1454"/>
                      <a:pt x="1513" y="1452"/>
                    </a:cubicBezTo>
                    <a:cubicBezTo>
                      <a:pt x="1481" y="1202"/>
                      <a:pt x="1124" y="1155"/>
                      <a:pt x="1100" y="1153"/>
                    </a:cubicBezTo>
                    <a:cubicBezTo>
                      <a:pt x="1057" y="1212"/>
                      <a:pt x="983" y="1294"/>
                      <a:pt x="802" y="1294"/>
                    </a:cubicBezTo>
                    <a:cubicBezTo>
                      <a:pt x="621" y="1294"/>
                      <a:pt x="537" y="1196"/>
                      <a:pt x="500" y="1153"/>
                    </a:cubicBezTo>
                    <a:cubicBezTo>
                      <a:pt x="478" y="1153"/>
                      <a:pt x="128" y="1168"/>
                      <a:pt x="97" y="1433"/>
                    </a:cubicBezTo>
                    <a:cubicBezTo>
                      <a:pt x="96" y="1441"/>
                      <a:pt x="95" y="1449"/>
                      <a:pt x="94" y="1457"/>
                    </a:cubicBezTo>
                    <a:cubicBezTo>
                      <a:pt x="93" y="1470"/>
                      <a:pt x="103" y="1481"/>
                      <a:pt x="115" y="1481"/>
                    </a:cubicBezTo>
                    <a:lnTo>
                      <a:pt x="1493" y="1481"/>
                    </a:lnTo>
                    <a:close/>
                    <a:moveTo>
                      <a:pt x="1238" y="405"/>
                    </a:moveTo>
                    <a:cubicBezTo>
                      <a:pt x="1238" y="182"/>
                      <a:pt x="1050" y="0"/>
                      <a:pt x="805" y="0"/>
                    </a:cubicBezTo>
                    <a:cubicBezTo>
                      <a:pt x="560" y="0"/>
                      <a:pt x="370" y="182"/>
                      <a:pt x="370" y="405"/>
                    </a:cubicBezTo>
                    <a:cubicBezTo>
                      <a:pt x="370" y="455"/>
                      <a:pt x="370" y="504"/>
                      <a:pt x="389" y="548"/>
                    </a:cubicBezTo>
                    <a:cubicBezTo>
                      <a:pt x="389" y="548"/>
                      <a:pt x="389" y="548"/>
                      <a:pt x="389" y="548"/>
                    </a:cubicBezTo>
                    <a:cubicBezTo>
                      <a:pt x="418" y="572"/>
                      <a:pt x="428" y="586"/>
                      <a:pt x="430" y="594"/>
                    </a:cubicBezTo>
                    <a:cubicBezTo>
                      <a:pt x="432" y="596"/>
                      <a:pt x="434" y="598"/>
                      <a:pt x="436" y="598"/>
                    </a:cubicBezTo>
                    <a:cubicBezTo>
                      <a:pt x="451" y="600"/>
                      <a:pt x="451" y="600"/>
                      <a:pt x="451" y="600"/>
                    </a:cubicBezTo>
                    <a:cubicBezTo>
                      <a:pt x="455" y="600"/>
                      <a:pt x="461" y="596"/>
                      <a:pt x="459" y="590"/>
                    </a:cubicBezTo>
                    <a:cubicBezTo>
                      <a:pt x="457" y="548"/>
                      <a:pt x="453" y="373"/>
                      <a:pt x="554" y="331"/>
                    </a:cubicBezTo>
                    <a:cubicBezTo>
                      <a:pt x="560" y="327"/>
                      <a:pt x="566" y="333"/>
                      <a:pt x="564" y="339"/>
                    </a:cubicBezTo>
                    <a:cubicBezTo>
                      <a:pt x="556" y="399"/>
                      <a:pt x="556" y="399"/>
                      <a:pt x="556" y="399"/>
                    </a:cubicBezTo>
                    <a:cubicBezTo>
                      <a:pt x="554" y="405"/>
                      <a:pt x="558" y="409"/>
                      <a:pt x="564" y="409"/>
                    </a:cubicBezTo>
                    <a:cubicBezTo>
                      <a:pt x="634" y="403"/>
                      <a:pt x="1038" y="367"/>
                      <a:pt x="1124" y="317"/>
                    </a:cubicBezTo>
                    <a:cubicBezTo>
                      <a:pt x="1131" y="313"/>
                      <a:pt x="1137" y="317"/>
                      <a:pt x="1137" y="323"/>
                    </a:cubicBezTo>
                    <a:cubicBezTo>
                      <a:pt x="1141" y="518"/>
                      <a:pt x="1141" y="580"/>
                      <a:pt x="1141" y="598"/>
                    </a:cubicBezTo>
                    <a:cubicBezTo>
                      <a:pt x="1141" y="602"/>
                      <a:pt x="1145" y="606"/>
                      <a:pt x="1149" y="606"/>
                    </a:cubicBezTo>
                    <a:cubicBezTo>
                      <a:pt x="1170" y="606"/>
                      <a:pt x="1170" y="606"/>
                      <a:pt x="1170" y="606"/>
                    </a:cubicBezTo>
                    <a:cubicBezTo>
                      <a:pt x="1172" y="606"/>
                      <a:pt x="1174" y="604"/>
                      <a:pt x="1176" y="602"/>
                    </a:cubicBezTo>
                    <a:cubicBezTo>
                      <a:pt x="1213" y="562"/>
                      <a:pt x="1221" y="544"/>
                      <a:pt x="1221" y="542"/>
                    </a:cubicBezTo>
                    <a:cubicBezTo>
                      <a:pt x="1221" y="542"/>
                      <a:pt x="1221" y="542"/>
                      <a:pt x="1221" y="544"/>
                    </a:cubicBezTo>
                    <a:cubicBezTo>
                      <a:pt x="1240" y="500"/>
                      <a:pt x="1238" y="453"/>
                      <a:pt x="1238" y="405"/>
                    </a:cubicBezTo>
                    <a:close/>
                    <a:moveTo>
                      <a:pt x="1257" y="258"/>
                    </a:moveTo>
                    <a:cubicBezTo>
                      <a:pt x="1257" y="258"/>
                      <a:pt x="1256" y="258"/>
                      <a:pt x="1256" y="258"/>
                    </a:cubicBezTo>
                    <a:cubicBezTo>
                      <a:pt x="1272" y="303"/>
                      <a:pt x="1281" y="350"/>
                      <a:pt x="1282" y="398"/>
                    </a:cubicBezTo>
                    <a:cubicBezTo>
                      <a:pt x="1363" y="406"/>
                      <a:pt x="1279" y="529"/>
                      <a:pt x="1279" y="640"/>
                    </a:cubicBezTo>
                    <a:cubicBezTo>
                      <a:pt x="1279" y="751"/>
                      <a:pt x="1442" y="821"/>
                      <a:pt x="1534" y="827"/>
                    </a:cubicBezTo>
                    <a:cubicBezTo>
                      <a:pt x="1538" y="827"/>
                      <a:pt x="1543" y="823"/>
                      <a:pt x="1543" y="819"/>
                    </a:cubicBezTo>
                    <a:cubicBezTo>
                      <a:pt x="1545" y="566"/>
                      <a:pt x="1608" y="576"/>
                      <a:pt x="1608" y="447"/>
                    </a:cubicBezTo>
                    <a:cubicBezTo>
                      <a:pt x="1608" y="318"/>
                      <a:pt x="1442" y="260"/>
                      <a:pt x="1257" y="258"/>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88" tIns="123444" rIns="246888" bIns="123444" numCol="1" anchor="t" anchorCtr="0" compatLnSpc="1">
                <a:prstTxWarp prst="textNoShape">
                  <a:avLst/>
                </a:prstTxWarp>
              </a:bodyPr>
              <a:lstStyle/>
              <a:p>
                <a:endParaRPr lang="de-DE" sz="1500" dirty="0"/>
              </a:p>
            </p:txBody>
          </p:sp>
        </p:grpSp>
      </p:grpSp>
      <p:grpSp>
        <p:nvGrpSpPr>
          <p:cNvPr id="115" name="Group 114">
            <a:extLst>
              <a:ext uri="{FF2B5EF4-FFF2-40B4-BE49-F238E27FC236}">
                <a16:creationId xmlns:a16="http://schemas.microsoft.com/office/drawing/2014/main" id="{B5EBD4A0-6386-419C-820B-E1C632F2259B}"/>
              </a:ext>
            </a:extLst>
          </p:cNvPr>
          <p:cNvGrpSpPr>
            <a:grpSpLocks noChangeAspect="1"/>
          </p:cNvGrpSpPr>
          <p:nvPr/>
        </p:nvGrpSpPr>
        <p:grpSpPr>
          <a:xfrm>
            <a:off x="1770849" y="2310110"/>
            <a:ext cx="992681" cy="993600"/>
            <a:chOff x="5273803" y="2606040"/>
            <a:chExt cx="1644397" cy="1645920"/>
          </a:xfrm>
        </p:grpSpPr>
        <p:sp>
          <p:nvSpPr>
            <p:cNvPr id="116" name="AutoShape 3">
              <a:extLst>
                <a:ext uri="{FF2B5EF4-FFF2-40B4-BE49-F238E27FC236}">
                  <a16:creationId xmlns:a16="http://schemas.microsoft.com/office/drawing/2014/main" id="{4EEF738C-07A9-4382-B1BF-CBAF14B223F0}"/>
                </a:ext>
              </a:extLst>
            </p:cNvPr>
            <p:cNvSpPr>
              <a:spLocks noChangeAspect="1" noChangeArrowheads="1" noTextEdit="1"/>
            </p:cNvSpPr>
            <p:nvPr/>
          </p:nvSpPr>
          <p:spPr bwMode="auto">
            <a:xfrm>
              <a:off x="5273803"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prstTxWarp prst="textNoShape">
                <a:avLst/>
              </a:prstTxWarp>
            </a:bodyPr>
            <a:lstStyle/>
            <a:p>
              <a:endParaRPr lang="de-DE" dirty="0"/>
            </a:p>
          </p:txBody>
        </p:sp>
        <p:grpSp>
          <p:nvGrpSpPr>
            <p:cNvPr id="117" name="Group 116">
              <a:extLst>
                <a:ext uri="{FF2B5EF4-FFF2-40B4-BE49-F238E27FC236}">
                  <a16:creationId xmlns:a16="http://schemas.microsoft.com/office/drawing/2014/main" id="{668004E1-36E1-4915-B14F-4E9C74269C0C}"/>
                </a:ext>
              </a:extLst>
            </p:cNvPr>
            <p:cNvGrpSpPr/>
            <p:nvPr/>
          </p:nvGrpSpPr>
          <p:grpSpPr>
            <a:xfrm>
              <a:off x="5588507" y="2918841"/>
              <a:ext cx="1014985" cy="1058037"/>
              <a:chOff x="5588507" y="2918841"/>
              <a:chExt cx="1014984" cy="1058037"/>
            </a:xfrm>
          </p:grpSpPr>
          <p:sp>
            <p:nvSpPr>
              <p:cNvPr id="118" name="Freeform 5">
                <a:extLst>
                  <a:ext uri="{FF2B5EF4-FFF2-40B4-BE49-F238E27FC236}">
                    <a16:creationId xmlns:a16="http://schemas.microsoft.com/office/drawing/2014/main" id="{35E74311-D254-4D2B-9009-C35830A58185}"/>
                  </a:ext>
                </a:extLst>
              </p:cNvPr>
              <p:cNvSpPr>
                <a:spLocks/>
              </p:cNvSpPr>
              <p:nvPr/>
            </p:nvSpPr>
            <p:spPr bwMode="auto">
              <a:xfrm>
                <a:off x="5799962" y="3358134"/>
                <a:ext cx="592074" cy="417957"/>
              </a:xfrm>
              <a:custGeom>
                <a:avLst/>
                <a:gdLst>
                  <a:gd name="T0" fmla="*/ 781 w 830"/>
                  <a:gd name="T1" fmla="*/ 23 h 585"/>
                  <a:gd name="T2" fmla="*/ 740 w 830"/>
                  <a:gd name="T3" fmla="*/ 78 h 585"/>
                  <a:gd name="T4" fmla="*/ 730 w 830"/>
                  <a:gd name="T5" fmla="*/ 90 h 585"/>
                  <a:gd name="T6" fmla="*/ 611 w 830"/>
                  <a:gd name="T7" fmla="*/ 358 h 585"/>
                  <a:gd name="T8" fmla="*/ 415 w 830"/>
                  <a:gd name="T9" fmla="*/ 467 h 585"/>
                  <a:gd name="T10" fmla="*/ 219 w 830"/>
                  <a:gd name="T11" fmla="*/ 358 h 585"/>
                  <a:gd name="T12" fmla="*/ 100 w 830"/>
                  <a:gd name="T13" fmla="*/ 90 h 585"/>
                  <a:gd name="T14" fmla="*/ 90 w 830"/>
                  <a:gd name="T15" fmla="*/ 78 h 585"/>
                  <a:gd name="T16" fmla="*/ 50 w 830"/>
                  <a:gd name="T17" fmla="*/ 27 h 585"/>
                  <a:gd name="T18" fmla="*/ 0 w 830"/>
                  <a:gd name="T19" fmla="*/ 3 h 585"/>
                  <a:gd name="T20" fmla="*/ 0 w 830"/>
                  <a:gd name="T21" fmla="*/ 9 h 585"/>
                  <a:gd name="T22" fmla="*/ 61 w 830"/>
                  <a:gd name="T23" fmla="*/ 112 h 585"/>
                  <a:gd name="T24" fmla="*/ 180 w 830"/>
                  <a:gd name="T25" fmla="*/ 381 h 585"/>
                  <a:gd name="T26" fmla="*/ 180 w 830"/>
                  <a:gd name="T27" fmla="*/ 550 h 585"/>
                  <a:gd name="T28" fmla="*/ 224 w 830"/>
                  <a:gd name="T29" fmla="*/ 585 h 585"/>
                  <a:gd name="T30" fmla="*/ 224 w 830"/>
                  <a:gd name="T31" fmla="*/ 421 h 585"/>
                  <a:gd name="T32" fmla="*/ 415 w 830"/>
                  <a:gd name="T33" fmla="*/ 511 h 585"/>
                  <a:gd name="T34" fmla="*/ 606 w 830"/>
                  <a:gd name="T35" fmla="*/ 420 h 585"/>
                  <a:gd name="T36" fmla="*/ 606 w 830"/>
                  <a:gd name="T37" fmla="*/ 585 h 585"/>
                  <a:gd name="T38" fmla="*/ 650 w 830"/>
                  <a:gd name="T39" fmla="*/ 546 h 585"/>
                  <a:gd name="T40" fmla="*/ 650 w 830"/>
                  <a:gd name="T41" fmla="*/ 380 h 585"/>
                  <a:gd name="T42" fmla="*/ 769 w 830"/>
                  <a:gd name="T43" fmla="*/ 112 h 585"/>
                  <a:gd name="T44" fmla="*/ 830 w 830"/>
                  <a:gd name="T45" fmla="*/ 6 h 585"/>
                  <a:gd name="T46" fmla="*/ 830 w 830"/>
                  <a:gd name="T47" fmla="*/ 0 h 585"/>
                  <a:gd name="T48" fmla="*/ 781 w 830"/>
                  <a:gd name="T49" fmla="*/ 23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0" h="585">
                    <a:moveTo>
                      <a:pt x="781" y="23"/>
                    </a:moveTo>
                    <a:cubicBezTo>
                      <a:pt x="775" y="42"/>
                      <a:pt x="763" y="65"/>
                      <a:pt x="740" y="78"/>
                    </a:cubicBezTo>
                    <a:cubicBezTo>
                      <a:pt x="735" y="81"/>
                      <a:pt x="732" y="85"/>
                      <a:pt x="730" y="90"/>
                    </a:cubicBezTo>
                    <a:cubicBezTo>
                      <a:pt x="697" y="181"/>
                      <a:pt x="636" y="334"/>
                      <a:pt x="611" y="358"/>
                    </a:cubicBezTo>
                    <a:cubicBezTo>
                      <a:pt x="573" y="395"/>
                      <a:pt x="470" y="467"/>
                      <a:pt x="415" y="467"/>
                    </a:cubicBezTo>
                    <a:cubicBezTo>
                      <a:pt x="360" y="467"/>
                      <a:pt x="256" y="395"/>
                      <a:pt x="219" y="358"/>
                    </a:cubicBezTo>
                    <a:cubicBezTo>
                      <a:pt x="193" y="334"/>
                      <a:pt x="132" y="181"/>
                      <a:pt x="100" y="90"/>
                    </a:cubicBezTo>
                    <a:cubicBezTo>
                      <a:pt x="98" y="85"/>
                      <a:pt x="95" y="81"/>
                      <a:pt x="90" y="78"/>
                    </a:cubicBezTo>
                    <a:cubicBezTo>
                      <a:pt x="68" y="66"/>
                      <a:pt x="56" y="45"/>
                      <a:pt x="50" y="27"/>
                    </a:cubicBezTo>
                    <a:cubicBezTo>
                      <a:pt x="0" y="3"/>
                      <a:pt x="0" y="3"/>
                      <a:pt x="0" y="3"/>
                    </a:cubicBezTo>
                    <a:cubicBezTo>
                      <a:pt x="0" y="5"/>
                      <a:pt x="0" y="7"/>
                      <a:pt x="0" y="9"/>
                    </a:cubicBezTo>
                    <a:cubicBezTo>
                      <a:pt x="4" y="36"/>
                      <a:pt x="18" y="84"/>
                      <a:pt x="61" y="112"/>
                    </a:cubicBezTo>
                    <a:cubicBezTo>
                      <a:pt x="79" y="162"/>
                      <a:pt x="141" y="329"/>
                      <a:pt x="180" y="381"/>
                    </a:cubicBezTo>
                    <a:cubicBezTo>
                      <a:pt x="180" y="550"/>
                      <a:pt x="180" y="550"/>
                      <a:pt x="180" y="550"/>
                    </a:cubicBezTo>
                    <a:cubicBezTo>
                      <a:pt x="192" y="561"/>
                      <a:pt x="207" y="573"/>
                      <a:pt x="224" y="585"/>
                    </a:cubicBezTo>
                    <a:cubicBezTo>
                      <a:pt x="224" y="421"/>
                      <a:pt x="224" y="421"/>
                      <a:pt x="224" y="421"/>
                    </a:cubicBezTo>
                    <a:cubicBezTo>
                      <a:pt x="277" y="462"/>
                      <a:pt x="359" y="511"/>
                      <a:pt x="415" y="511"/>
                    </a:cubicBezTo>
                    <a:cubicBezTo>
                      <a:pt x="471" y="511"/>
                      <a:pt x="553" y="461"/>
                      <a:pt x="606" y="420"/>
                    </a:cubicBezTo>
                    <a:cubicBezTo>
                      <a:pt x="606" y="585"/>
                      <a:pt x="606" y="585"/>
                      <a:pt x="606" y="585"/>
                    </a:cubicBezTo>
                    <a:cubicBezTo>
                      <a:pt x="623" y="573"/>
                      <a:pt x="637" y="560"/>
                      <a:pt x="650" y="546"/>
                    </a:cubicBezTo>
                    <a:cubicBezTo>
                      <a:pt x="650" y="380"/>
                      <a:pt x="650" y="380"/>
                      <a:pt x="650" y="380"/>
                    </a:cubicBezTo>
                    <a:cubicBezTo>
                      <a:pt x="689" y="328"/>
                      <a:pt x="750" y="162"/>
                      <a:pt x="769" y="112"/>
                    </a:cubicBezTo>
                    <a:cubicBezTo>
                      <a:pt x="815" y="82"/>
                      <a:pt x="827" y="29"/>
                      <a:pt x="830" y="6"/>
                    </a:cubicBezTo>
                    <a:cubicBezTo>
                      <a:pt x="830" y="4"/>
                      <a:pt x="830" y="2"/>
                      <a:pt x="830" y="0"/>
                    </a:cubicBezTo>
                    <a:lnTo>
                      <a:pt x="781" y="23"/>
                    </a:ln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de-DE" dirty="0"/>
              </a:p>
            </p:txBody>
          </p:sp>
          <p:sp>
            <p:nvSpPr>
              <p:cNvPr id="119" name="Freeform 6">
                <a:extLst>
                  <a:ext uri="{FF2B5EF4-FFF2-40B4-BE49-F238E27FC236}">
                    <a16:creationId xmlns:a16="http://schemas.microsoft.com/office/drawing/2014/main" id="{99134528-0E00-4450-95FF-C43B9D6A3E78}"/>
                  </a:ext>
                </a:extLst>
              </p:cNvPr>
              <p:cNvSpPr>
                <a:spLocks noEditPoints="1"/>
              </p:cNvSpPr>
              <p:nvPr/>
            </p:nvSpPr>
            <p:spPr bwMode="auto">
              <a:xfrm>
                <a:off x="5588507" y="2918841"/>
                <a:ext cx="1014984" cy="1058037"/>
              </a:xfrm>
              <a:custGeom>
                <a:avLst/>
                <a:gdLst>
                  <a:gd name="T0" fmla="*/ 22 w 1422"/>
                  <a:gd name="T1" fmla="*/ 1481 h 1481"/>
                  <a:gd name="T2" fmla="*/ 1 w 1422"/>
                  <a:gd name="T3" fmla="*/ 1457 h 1481"/>
                  <a:gd name="T4" fmla="*/ 4 w 1422"/>
                  <a:gd name="T5" fmla="*/ 1433 h 1481"/>
                  <a:gd name="T6" fmla="*/ 407 w 1422"/>
                  <a:gd name="T7" fmla="*/ 1153 h 1481"/>
                  <a:gd name="T8" fmla="*/ 709 w 1422"/>
                  <a:gd name="T9" fmla="*/ 1294 h 1481"/>
                  <a:gd name="T10" fmla="*/ 1007 w 1422"/>
                  <a:gd name="T11" fmla="*/ 1153 h 1481"/>
                  <a:gd name="T12" fmla="*/ 1420 w 1422"/>
                  <a:gd name="T13" fmla="*/ 1452 h 1481"/>
                  <a:gd name="T14" fmla="*/ 1421 w 1422"/>
                  <a:gd name="T15" fmla="*/ 1458 h 1481"/>
                  <a:gd name="T16" fmla="*/ 1400 w 1422"/>
                  <a:gd name="T17" fmla="*/ 1481 h 1481"/>
                  <a:gd name="T18" fmla="*/ 22 w 1422"/>
                  <a:gd name="T19" fmla="*/ 1481 h 1481"/>
                  <a:gd name="T20" fmla="*/ 1143 w 1422"/>
                  <a:gd name="T21" fmla="*/ 404 h 1481"/>
                  <a:gd name="T22" fmla="*/ 710 w 1422"/>
                  <a:gd name="T23" fmla="*/ 0 h 1481"/>
                  <a:gd name="T24" fmla="*/ 279 w 1422"/>
                  <a:gd name="T25" fmla="*/ 404 h 1481"/>
                  <a:gd name="T26" fmla="*/ 295 w 1422"/>
                  <a:gd name="T27" fmla="*/ 545 h 1481"/>
                  <a:gd name="T28" fmla="*/ 295 w 1422"/>
                  <a:gd name="T29" fmla="*/ 545 h 1481"/>
                  <a:gd name="T30" fmla="*/ 338 w 1422"/>
                  <a:gd name="T31" fmla="*/ 591 h 1481"/>
                  <a:gd name="T32" fmla="*/ 344 w 1422"/>
                  <a:gd name="T33" fmla="*/ 595 h 1481"/>
                  <a:gd name="T34" fmla="*/ 359 w 1422"/>
                  <a:gd name="T35" fmla="*/ 597 h 1481"/>
                  <a:gd name="T36" fmla="*/ 367 w 1422"/>
                  <a:gd name="T37" fmla="*/ 589 h 1481"/>
                  <a:gd name="T38" fmla="*/ 459 w 1422"/>
                  <a:gd name="T39" fmla="*/ 328 h 1481"/>
                  <a:gd name="T40" fmla="*/ 472 w 1422"/>
                  <a:gd name="T41" fmla="*/ 336 h 1481"/>
                  <a:gd name="T42" fmla="*/ 464 w 1422"/>
                  <a:gd name="T43" fmla="*/ 392 h 1481"/>
                  <a:gd name="T44" fmla="*/ 474 w 1422"/>
                  <a:gd name="T45" fmla="*/ 400 h 1481"/>
                  <a:gd name="T46" fmla="*/ 640 w 1422"/>
                  <a:gd name="T47" fmla="*/ 306 h 1481"/>
                  <a:gd name="T48" fmla="*/ 652 w 1422"/>
                  <a:gd name="T49" fmla="*/ 316 h 1481"/>
                  <a:gd name="T50" fmla="*/ 630 w 1422"/>
                  <a:gd name="T51" fmla="*/ 356 h 1481"/>
                  <a:gd name="T52" fmla="*/ 638 w 1422"/>
                  <a:gd name="T53" fmla="*/ 368 h 1481"/>
                  <a:gd name="T54" fmla="*/ 817 w 1422"/>
                  <a:gd name="T55" fmla="*/ 346 h 1481"/>
                  <a:gd name="T56" fmla="*/ 817 w 1422"/>
                  <a:gd name="T57" fmla="*/ 346 h 1481"/>
                  <a:gd name="T58" fmla="*/ 1028 w 1422"/>
                  <a:gd name="T59" fmla="*/ 316 h 1481"/>
                  <a:gd name="T60" fmla="*/ 1043 w 1422"/>
                  <a:gd name="T61" fmla="*/ 322 h 1481"/>
                  <a:gd name="T62" fmla="*/ 1047 w 1422"/>
                  <a:gd name="T63" fmla="*/ 595 h 1481"/>
                  <a:gd name="T64" fmla="*/ 1055 w 1422"/>
                  <a:gd name="T65" fmla="*/ 603 h 1481"/>
                  <a:gd name="T66" fmla="*/ 1073 w 1422"/>
                  <a:gd name="T67" fmla="*/ 603 h 1481"/>
                  <a:gd name="T68" fmla="*/ 1080 w 1422"/>
                  <a:gd name="T69" fmla="*/ 601 h 1481"/>
                  <a:gd name="T70" fmla="*/ 1127 w 1422"/>
                  <a:gd name="T71" fmla="*/ 541 h 1481"/>
                  <a:gd name="T72" fmla="*/ 1127 w 1422"/>
                  <a:gd name="T73" fmla="*/ 541 h 1481"/>
                  <a:gd name="T74" fmla="*/ 1143 w 1422"/>
                  <a:gd name="T75" fmla="*/ 404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2" h="1481">
                    <a:moveTo>
                      <a:pt x="22" y="1481"/>
                    </a:moveTo>
                    <a:cubicBezTo>
                      <a:pt x="10" y="1481"/>
                      <a:pt x="0" y="1470"/>
                      <a:pt x="1" y="1457"/>
                    </a:cubicBezTo>
                    <a:cubicBezTo>
                      <a:pt x="2" y="1449"/>
                      <a:pt x="3" y="1441"/>
                      <a:pt x="4" y="1433"/>
                    </a:cubicBezTo>
                    <a:cubicBezTo>
                      <a:pt x="35" y="1168"/>
                      <a:pt x="385" y="1153"/>
                      <a:pt x="407" y="1153"/>
                    </a:cubicBezTo>
                    <a:cubicBezTo>
                      <a:pt x="444" y="1196"/>
                      <a:pt x="528" y="1294"/>
                      <a:pt x="709" y="1294"/>
                    </a:cubicBezTo>
                    <a:cubicBezTo>
                      <a:pt x="890" y="1294"/>
                      <a:pt x="964" y="1212"/>
                      <a:pt x="1007" y="1153"/>
                    </a:cubicBezTo>
                    <a:cubicBezTo>
                      <a:pt x="1031" y="1155"/>
                      <a:pt x="1388" y="1202"/>
                      <a:pt x="1420" y="1452"/>
                    </a:cubicBezTo>
                    <a:cubicBezTo>
                      <a:pt x="1420" y="1454"/>
                      <a:pt x="1421" y="1456"/>
                      <a:pt x="1421" y="1458"/>
                    </a:cubicBezTo>
                    <a:cubicBezTo>
                      <a:pt x="1422" y="1470"/>
                      <a:pt x="1412" y="1481"/>
                      <a:pt x="1400" y="1481"/>
                    </a:cubicBezTo>
                    <a:lnTo>
                      <a:pt x="22" y="1481"/>
                    </a:lnTo>
                    <a:close/>
                    <a:moveTo>
                      <a:pt x="1143" y="404"/>
                    </a:moveTo>
                    <a:cubicBezTo>
                      <a:pt x="1143" y="180"/>
                      <a:pt x="954" y="0"/>
                      <a:pt x="710" y="0"/>
                    </a:cubicBezTo>
                    <a:cubicBezTo>
                      <a:pt x="466" y="0"/>
                      <a:pt x="279" y="180"/>
                      <a:pt x="279" y="404"/>
                    </a:cubicBezTo>
                    <a:cubicBezTo>
                      <a:pt x="279" y="452"/>
                      <a:pt x="279" y="500"/>
                      <a:pt x="295" y="545"/>
                    </a:cubicBezTo>
                    <a:cubicBezTo>
                      <a:pt x="295" y="545"/>
                      <a:pt x="295" y="545"/>
                      <a:pt x="295" y="545"/>
                    </a:cubicBezTo>
                    <a:cubicBezTo>
                      <a:pt x="326" y="569"/>
                      <a:pt x="334" y="585"/>
                      <a:pt x="338" y="591"/>
                    </a:cubicBezTo>
                    <a:cubicBezTo>
                      <a:pt x="338" y="593"/>
                      <a:pt x="342" y="595"/>
                      <a:pt x="344" y="595"/>
                    </a:cubicBezTo>
                    <a:cubicBezTo>
                      <a:pt x="359" y="597"/>
                      <a:pt x="359" y="597"/>
                      <a:pt x="359" y="597"/>
                    </a:cubicBezTo>
                    <a:cubicBezTo>
                      <a:pt x="363" y="597"/>
                      <a:pt x="367" y="593"/>
                      <a:pt x="367" y="589"/>
                    </a:cubicBezTo>
                    <a:cubicBezTo>
                      <a:pt x="365" y="547"/>
                      <a:pt x="361" y="370"/>
                      <a:pt x="459" y="328"/>
                    </a:cubicBezTo>
                    <a:cubicBezTo>
                      <a:pt x="466" y="326"/>
                      <a:pt x="472" y="330"/>
                      <a:pt x="472" y="336"/>
                    </a:cubicBezTo>
                    <a:cubicBezTo>
                      <a:pt x="464" y="392"/>
                      <a:pt x="464" y="392"/>
                      <a:pt x="464" y="392"/>
                    </a:cubicBezTo>
                    <a:cubicBezTo>
                      <a:pt x="461" y="398"/>
                      <a:pt x="468" y="404"/>
                      <a:pt x="474" y="400"/>
                    </a:cubicBezTo>
                    <a:cubicBezTo>
                      <a:pt x="507" y="384"/>
                      <a:pt x="589" y="344"/>
                      <a:pt x="640" y="306"/>
                    </a:cubicBezTo>
                    <a:cubicBezTo>
                      <a:pt x="646" y="302"/>
                      <a:pt x="655" y="308"/>
                      <a:pt x="652" y="316"/>
                    </a:cubicBezTo>
                    <a:cubicBezTo>
                      <a:pt x="646" y="328"/>
                      <a:pt x="638" y="344"/>
                      <a:pt x="630" y="356"/>
                    </a:cubicBezTo>
                    <a:cubicBezTo>
                      <a:pt x="626" y="360"/>
                      <a:pt x="630" y="368"/>
                      <a:pt x="638" y="368"/>
                    </a:cubicBezTo>
                    <a:cubicBezTo>
                      <a:pt x="817" y="346"/>
                      <a:pt x="817" y="346"/>
                      <a:pt x="817" y="346"/>
                    </a:cubicBezTo>
                    <a:cubicBezTo>
                      <a:pt x="817" y="346"/>
                      <a:pt x="817" y="346"/>
                      <a:pt x="817" y="346"/>
                    </a:cubicBezTo>
                    <a:cubicBezTo>
                      <a:pt x="829" y="348"/>
                      <a:pt x="969" y="360"/>
                      <a:pt x="1028" y="316"/>
                    </a:cubicBezTo>
                    <a:cubicBezTo>
                      <a:pt x="1034" y="312"/>
                      <a:pt x="1043" y="316"/>
                      <a:pt x="1043" y="322"/>
                    </a:cubicBezTo>
                    <a:cubicBezTo>
                      <a:pt x="1045" y="517"/>
                      <a:pt x="1047" y="577"/>
                      <a:pt x="1047" y="595"/>
                    </a:cubicBezTo>
                    <a:cubicBezTo>
                      <a:pt x="1047" y="599"/>
                      <a:pt x="1051" y="603"/>
                      <a:pt x="1055" y="603"/>
                    </a:cubicBezTo>
                    <a:cubicBezTo>
                      <a:pt x="1073" y="603"/>
                      <a:pt x="1073" y="603"/>
                      <a:pt x="1073" y="603"/>
                    </a:cubicBezTo>
                    <a:cubicBezTo>
                      <a:pt x="1078" y="603"/>
                      <a:pt x="1080" y="603"/>
                      <a:pt x="1080" y="601"/>
                    </a:cubicBezTo>
                    <a:cubicBezTo>
                      <a:pt x="1119" y="561"/>
                      <a:pt x="1125" y="541"/>
                      <a:pt x="1127" y="541"/>
                    </a:cubicBezTo>
                    <a:cubicBezTo>
                      <a:pt x="1127" y="541"/>
                      <a:pt x="1127" y="541"/>
                      <a:pt x="1127" y="541"/>
                    </a:cubicBezTo>
                    <a:cubicBezTo>
                      <a:pt x="1143" y="498"/>
                      <a:pt x="1143" y="452"/>
                      <a:pt x="1143" y="404"/>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endParaRPr lang="de-DE" dirty="0"/>
              </a:p>
            </p:txBody>
          </p:sp>
        </p:grpSp>
      </p:grpSp>
      <p:cxnSp>
        <p:nvCxnSpPr>
          <p:cNvPr id="227" name="Straight Arrow Connector 226">
            <a:extLst>
              <a:ext uri="{FF2B5EF4-FFF2-40B4-BE49-F238E27FC236}">
                <a16:creationId xmlns:a16="http://schemas.microsoft.com/office/drawing/2014/main" id="{62B38D1D-BCFE-4455-99FC-C71DE80C2A9D}"/>
              </a:ext>
            </a:extLst>
          </p:cNvPr>
          <p:cNvCxnSpPr>
            <a:cxnSpLocks/>
          </p:cNvCxnSpPr>
          <p:nvPr/>
        </p:nvCxnSpPr>
        <p:spPr>
          <a:xfrm>
            <a:off x="3015609" y="2806909"/>
            <a:ext cx="1216049" cy="0"/>
          </a:xfrm>
          <a:prstGeom prst="straightConnector1">
            <a:avLst/>
          </a:prstGeom>
          <a:ln w="9525" cap="rnd" cmpd="sng" algn="ctr">
            <a:solidFill>
              <a:srgbClr val="003B59"/>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FB4A5FAF-3916-400D-A950-A592161CAA80}"/>
              </a:ext>
            </a:extLst>
          </p:cNvPr>
          <p:cNvSpPr txBox="1"/>
          <p:nvPr/>
        </p:nvSpPr>
        <p:spPr>
          <a:xfrm>
            <a:off x="6444208" y="3458941"/>
            <a:ext cx="1620000" cy="6924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de-DE" sz="900" dirty="0">
                <a:solidFill>
                  <a:srgbClr val="000000"/>
                </a:solidFill>
              </a:rPr>
              <a:t>Die Proben aller teilnehmenden Kinder des Pools werden in der Einrichtung in ein Sammelrörchen gegeben. Diese stellen den PCR-Pool-Test dar.</a:t>
            </a:r>
            <a:endParaRPr lang="de-DE" sz="788" dirty="0">
              <a:solidFill>
                <a:srgbClr val="FF0000"/>
              </a:solidFill>
            </a:endParaRPr>
          </a:p>
        </p:txBody>
      </p:sp>
      <p:grpSp>
        <p:nvGrpSpPr>
          <p:cNvPr id="37" name="Group 36">
            <a:extLst>
              <a:ext uri="{FF2B5EF4-FFF2-40B4-BE49-F238E27FC236}">
                <a16:creationId xmlns:a16="http://schemas.microsoft.com/office/drawing/2014/main" id="{2C818A06-40E5-45E0-976C-D7F845D8D21A}"/>
              </a:ext>
            </a:extLst>
          </p:cNvPr>
          <p:cNvGrpSpPr/>
          <p:nvPr/>
        </p:nvGrpSpPr>
        <p:grpSpPr>
          <a:xfrm>
            <a:off x="4110305" y="2426742"/>
            <a:ext cx="924403" cy="927085"/>
            <a:chOff x="824368" y="3729905"/>
            <a:chExt cx="924403" cy="927085"/>
          </a:xfrm>
        </p:grpSpPr>
        <p:sp>
          <p:nvSpPr>
            <p:cNvPr id="38" name="AutoShape 43">
              <a:extLst>
                <a:ext uri="{FF2B5EF4-FFF2-40B4-BE49-F238E27FC236}">
                  <a16:creationId xmlns:a16="http://schemas.microsoft.com/office/drawing/2014/main" id="{D3AB9624-FAD6-40B3-B79A-8B03A408B878}"/>
                </a:ext>
              </a:extLst>
            </p:cNvPr>
            <p:cNvSpPr>
              <a:spLocks noChangeAspect="1" noChangeArrowheads="1" noTextEdit="1"/>
            </p:cNvSpPr>
            <p:nvPr/>
          </p:nvSpPr>
          <p:spPr bwMode="auto">
            <a:xfrm>
              <a:off x="824368" y="3729905"/>
              <a:ext cx="924403"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39" name="Group 38">
              <a:extLst>
                <a:ext uri="{FF2B5EF4-FFF2-40B4-BE49-F238E27FC236}">
                  <a16:creationId xmlns:a16="http://schemas.microsoft.com/office/drawing/2014/main" id="{20105784-6B5D-4399-BCBC-5DA3E72FA59A}"/>
                </a:ext>
              </a:extLst>
            </p:cNvPr>
            <p:cNvGrpSpPr/>
            <p:nvPr/>
          </p:nvGrpSpPr>
          <p:grpSpPr>
            <a:xfrm>
              <a:off x="1109027" y="3792305"/>
              <a:ext cx="355084" cy="772824"/>
              <a:chOff x="584623" y="1923650"/>
              <a:chExt cx="355084" cy="772824"/>
            </a:xfrm>
          </p:grpSpPr>
          <p:sp>
            <p:nvSpPr>
              <p:cNvPr id="40" name="Rectangle: Rounded Corners 39">
                <a:extLst>
                  <a:ext uri="{FF2B5EF4-FFF2-40B4-BE49-F238E27FC236}">
                    <a16:creationId xmlns:a16="http://schemas.microsoft.com/office/drawing/2014/main" id="{E9636DF9-FB68-4982-8595-9A8555889812}"/>
                  </a:ext>
                </a:extLst>
              </p:cNvPr>
              <p:cNvSpPr/>
              <p:nvPr/>
            </p:nvSpPr>
            <p:spPr bwMode="auto">
              <a:xfrm>
                <a:off x="584623" y="1923650"/>
                <a:ext cx="355084"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1" name="Arrow: Pentagon 40">
                <a:extLst>
                  <a:ext uri="{FF2B5EF4-FFF2-40B4-BE49-F238E27FC236}">
                    <a16:creationId xmlns:a16="http://schemas.microsoft.com/office/drawing/2014/main" id="{749F4F38-0CE0-4004-8DE6-893ECC20C1F4}"/>
                  </a:ext>
                </a:extLst>
              </p:cNvPr>
              <p:cNvSpPr/>
              <p:nvPr/>
            </p:nvSpPr>
            <p:spPr bwMode="auto">
              <a:xfrm rot="5400000">
                <a:off x="433951" y="2226260"/>
                <a:ext cx="656429" cy="284000"/>
              </a:xfrm>
              <a:prstGeom prst="homePlate">
                <a:avLst/>
              </a:pr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6C8CA6"/>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2" name="Rectangle 41">
                <a:extLst>
                  <a:ext uri="{FF2B5EF4-FFF2-40B4-BE49-F238E27FC236}">
                    <a16:creationId xmlns:a16="http://schemas.microsoft.com/office/drawing/2014/main" id="{ABA1428B-2CBD-4E72-9603-FCABD4FD22A3}"/>
                  </a:ext>
                </a:extLst>
              </p:cNvPr>
              <p:cNvSpPr/>
              <p:nvPr/>
            </p:nvSpPr>
            <p:spPr bwMode="auto">
              <a:xfrm>
                <a:off x="747110" y="2124864"/>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3" name="Rectangle 42">
                <a:extLst>
                  <a:ext uri="{FF2B5EF4-FFF2-40B4-BE49-F238E27FC236}">
                    <a16:creationId xmlns:a16="http://schemas.microsoft.com/office/drawing/2014/main" id="{F3AD181D-08CA-46F9-BDAD-F70441CBAF27}"/>
                  </a:ext>
                </a:extLst>
              </p:cNvPr>
              <p:cNvSpPr/>
              <p:nvPr/>
            </p:nvSpPr>
            <p:spPr bwMode="auto">
              <a:xfrm>
                <a:off x="747110" y="2218281"/>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4" name="Rectangle 43">
                <a:extLst>
                  <a:ext uri="{FF2B5EF4-FFF2-40B4-BE49-F238E27FC236}">
                    <a16:creationId xmlns:a16="http://schemas.microsoft.com/office/drawing/2014/main" id="{88354A62-25C2-41FF-8063-430425E84E6E}"/>
                  </a:ext>
                </a:extLst>
              </p:cNvPr>
              <p:cNvSpPr/>
              <p:nvPr/>
            </p:nvSpPr>
            <p:spPr bwMode="auto">
              <a:xfrm>
                <a:off x="747110" y="2311698"/>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5" name="Rectangle 44">
                <a:extLst>
                  <a:ext uri="{FF2B5EF4-FFF2-40B4-BE49-F238E27FC236}">
                    <a16:creationId xmlns:a16="http://schemas.microsoft.com/office/drawing/2014/main" id="{723D1067-524A-49E9-9CFF-1B78A9093DC2}"/>
                  </a:ext>
                </a:extLst>
              </p:cNvPr>
              <p:cNvSpPr/>
              <p:nvPr/>
            </p:nvSpPr>
            <p:spPr bwMode="auto">
              <a:xfrm>
                <a:off x="747110" y="2405115"/>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46" name="Rectangle 45">
                <a:extLst>
                  <a:ext uri="{FF2B5EF4-FFF2-40B4-BE49-F238E27FC236}">
                    <a16:creationId xmlns:a16="http://schemas.microsoft.com/office/drawing/2014/main" id="{12B57BA2-D38E-4F7B-AB9F-079F2A412E73}"/>
                  </a:ext>
                </a:extLst>
              </p:cNvPr>
              <p:cNvSpPr/>
              <p:nvPr/>
            </p:nvSpPr>
            <p:spPr bwMode="auto">
              <a:xfrm>
                <a:off x="747110" y="2498532"/>
                <a:ext cx="144016" cy="45720"/>
              </a:xfrm>
              <a:prstGeom prst="rect">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grpSp>
        <p:nvGrpSpPr>
          <p:cNvPr id="47" name="Group 46">
            <a:extLst>
              <a:ext uri="{FF2B5EF4-FFF2-40B4-BE49-F238E27FC236}">
                <a16:creationId xmlns:a16="http://schemas.microsoft.com/office/drawing/2014/main" id="{587AA263-E141-4018-BE3F-B7278D800C8C}"/>
              </a:ext>
            </a:extLst>
          </p:cNvPr>
          <p:cNvGrpSpPr/>
          <p:nvPr/>
        </p:nvGrpSpPr>
        <p:grpSpPr>
          <a:xfrm rot="19800000">
            <a:off x="375913" y="2438629"/>
            <a:ext cx="926227" cy="927085"/>
            <a:chOff x="528540" y="2696474"/>
            <a:chExt cx="926227" cy="927085"/>
          </a:xfrm>
        </p:grpSpPr>
        <p:grpSp>
          <p:nvGrpSpPr>
            <p:cNvPr id="48" name="Group 47">
              <a:extLst>
                <a:ext uri="{FF2B5EF4-FFF2-40B4-BE49-F238E27FC236}">
                  <a16:creationId xmlns:a16="http://schemas.microsoft.com/office/drawing/2014/main" id="{32D77473-5043-479C-B2BB-6C5F3071309D}"/>
                </a:ext>
              </a:extLst>
            </p:cNvPr>
            <p:cNvGrpSpPr>
              <a:grpSpLocks/>
            </p:cNvGrpSpPr>
            <p:nvPr/>
          </p:nvGrpSpPr>
          <p:grpSpPr>
            <a:xfrm rot="1800000">
              <a:off x="958315" y="2789190"/>
              <a:ext cx="66678" cy="741654"/>
              <a:chOff x="3748568" y="2287851"/>
              <a:chExt cx="148686" cy="1653808"/>
            </a:xfrm>
          </p:grpSpPr>
          <p:sp>
            <p:nvSpPr>
              <p:cNvPr id="50" name="Rectangle 49">
                <a:extLst>
                  <a:ext uri="{FF2B5EF4-FFF2-40B4-BE49-F238E27FC236}">
                    <a16:creationId xmlns:a16="http://schemas.microsoft.com/office/drawing/2014/main" id="{96F625E9-E1B5-4225-8944-AF50897F65FF}"/>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51" name="Teardrop 50">
                <a:extLst>
                  <a:ext uri="{FF2B5EF4-FFF2-40B4-BE49-F238E27FC236}">
                    <a16:creationId xmlns:a16="http://schemas.microsoft.com/office/drawing/2014/main" id="{C49036D1-7004-4D50-A3F3-073727082E8D}"/>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49" name="AutoShape 8">
              <a:extLst>
                <a:ext uri="{FF2B5EF4-FFF2-40B4-BE49-F238E27FC236}">
                  <a16:creationId xmlns:a16="http://schemas.microsoft.com/office/drawing/2014/main" id="{D8C84F0F-B55E-47C7-B52F-59A4D84CE0CC}"/>
                </a:ext>
              </a:extLst>
            </p:cNvPr>
            <p:cNvSpPr>
              <a:spLocks noChangeAspect="1" noChangeArrowheads="1" noTextEdit="1"/>
            </p:cNvSpPr>
            <p:nvPr/>
          </p:nvSpPr>
          <p:spPr bwMode="auto">
            <a:xfrm>
              <a:off x="528540" y="269647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52" name="Group 51">
            <a:extLst>
              <a:ext uri="{FF2B5EF4-FFF2-40B4-BE49-F238E27FC236}">
                <a16:creationId xmlns:a16="http://schemas.microsoft.com/office/drawing/2014/main" id="{FF69284F-30AF-46B8-82E6-E972F4EE6F16}"/>
              </a:ext>
            </a:extLst>
          </p:cNvPr>
          <p:cNvGrpSpPr/>
          <p:nvPr/>
        </p:nvGrpSpPr>
        <p:grpSpPr>
          <a:xfrm>
            <a:off x="6792007" y="2375616"/>
            <a:ext cx="924403" cy="927085"/>
            <a:chOff x="472500" y="3795886"/>
            <a:chExt cx="924403" cy="927085"/>
          </a:xfrm>
        </p:grpSpPr>
        <p:sp>
          <p:nvSpPr>
            <p:cNvPr id="53" name="AutoShape 43">
              <a:extLst>
                <a:ext uri="{FF2B5EF4-FFF2-40B4-BE49-F238E27FC236}">
                  <a16:creationId xmlns:a16="http://schemas.microsoft.com/office/drawing/2014/main" id="{B1E09B5C-A7CB-4F94-B4BE-05722284AC62}"/>
                </a:ext>
              </a:extLst>
            </p:cNvPr>
            <p:cNvSpPr>
              <a:spLocks noChangeAspect="1" noChangeArrowheads="1" noTextEdit="1"/>
            </p:cNvSpPr>
            <p:nvPr/>
          </p:nvSpPr>
          <p:spPr bwMode="auto">
            <a:xfrm>
              <a:off x="472500" y="3795886"/>
              <a:ext cx="924403"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4" name="Rectangle: Rounded Corners 53">
              <a:extLst>
                <a:ext uri="{FF2B5EF4-FFF2-40B4-BE49-F238E27FC236}">
                  <a16:creationId xmlns:a16="http://schemas.microsoft.com/office/drawing/2014/main" id="{83B627F8-9111-4053-A150-34F5DF420FD0}"/>
                </a:ext>
              </a:extLst>
            </p:cNvPr>
            <p:cNvSpPr/>
            <p:nvPr/>
          </p:nvSpPr>
          <p:spPr bwMode="auto">
            <a:xfrm rot="19800000">
              <a:off x="722246" y="3869100"/>
              <a:ext cx="355084" cy="92632"/>
            </a:xfrm>
            <a:prstGeom prst="round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55" name="Arrow: Pentagon 54">
              <a:extLst>
                <a:ext uri="{FF2B5EF4-FFF2-40B4-BE49-F238E27FC236}">
                  <a16:creationId xmlns:a16="http://schemas.microsoft.com/office/drawing/2014/main" id="{FA239574-66A5-4EDC-A6ED-F8802533C12A}"/>
                </a:ext>
              </a:extLst>
            </p:cNvPr>
            <p:cNvSpPr/>
            <p:nvPr/>
          </p:nvSpPr>
          <p:spPr bwMode="auto">
            <a:xfrm rot="5400000">
              <a:off x="606487" y="4224942"/>
              <a:ext cx="656429" cy="284000"/>
            </a:xfrm>
            <a:prstGeom prst="homePlate">
              <a:avLst/>
            </a:prstGeom>
            <a:noFill/>
            <a:ln w="9525" cap="flat" cmpd="sng" algn="ctr">
              <a:solidFill>
                <a:srgbClr val="003B59"/>
              </a:solidFill>
              <a:prstDash val="solid"/>
              <a:round/>
              <a:headEnd type="none" w="med" len="med"/>
              <a:tailEnd type="none" w="med" len="med"/>
            </a:ln>
            <a:effectLst/>
            <a:extLst>
              <a:ext uri="{909E8E84-426E-40DD-AFC4-6F175D3DCCD1}">
                <a14:hiddenFill xmlns:a14="http://schemas.microsoft.com/office/drawing/2010/main">
                  <a:solidFill>
                    <a:srgbClr val="6C8CA6"/>
                  </a:solidFill>
                </a14:hiddenFill>
              </a:ext>
            </a:ex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nvGrpSpPr>
            <p:cNvPr id="57" name="Group 56">
              <a:extLst>
                <a:ext uri="{FF2B5EF4-FFF2-40B4-BE49-F238E27FC236}">
                  <a16:creationId xmlns:a16="http://schemas.microsoft.com/office/drawing/2014/main" id="{A6A10353-450C-43FC-BB49-A8F831FFE15B}"/>
                </a:ext>
              </a:extLst>
            </p:cNvPr>
            <p:cNvGrpSpPr>
              <a:grpSpLocks/>
            </p:cNvGrpSpPr>
            <p:nvPr/>
          </p:nvGrpSpPr>
          <p:grpSpPr>
            <a:xfrm rot="10800000">
              <a:off x="827584" y="4064211"/>
              <a:ext cx="45720" cy="508538"/>
              <a:chOff x="3748568" y="2287851"/>
              <a:chExt cx="148686" cy="1653808"/>
            </a:xfrm>
          </p:grpSpPr>
          <p:sp>
            <p:nvSpPr>
              <p:cNvPr id="67" name="Rectangle 66">
                <a:extLst>
                  <a:ext uri="{FF2B5EF4-FFF2-40B4-BE49-F238E27FC236}">
                    <a16:creationId xmlns:a16="http://schemas.microsoft.com/office/drawing/2014/main" id="{6EED255D-584A-42A3-AF13-166BE7C62FF7}"/>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68" name="Teardrop 67">
                <a:extLst>
                  <a:ext uri="{FF2B5EF4-FFF2-40B4-BE49-F238E27FC236}">
                    <a16:creationId xmlns:a16="http://schemas.microsoft.com/office/drawing/2014/main" id="{B26F9F88-B0BD-46B6-827D-BADC96501376}"/>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58" name="Group 57">
              <a:extLst>
                <a:ext uri="{FF2B5EF4-FFF2-40B4-BE49-F238E27FC236}">
                  <a16:creationId xmlns:a16="http://schemas.microsoft.com/office/drawing/2014/main" id="{96FEF11E-2DA9-4F60-988D-7971DE425657}"/>
                </a:ext>
              </a:extLst>
            </p:cNvPr>
            <p:cNvGrpSpPr>
              <a:grpSpLocks/>
            </p:cNvGrpSpPr>
            <p:nvPr/>
          </p:nvGrpSpPr>
          <p:grpSpPr>
            <a:xfrm rot="10800000">
              <a:off x="886971" y="4101071"/>
              <a:ext cx="45720" cy="508538"/>
              <a:chOff x="3748568" y="2287851"/>
              <a:chExt cx="148686" cy="1653808"/>
            </a:xfrm>
          </p:grpSpPr>
          <p:sp>
            <p:nvSpPr>
              <p:cNvPr id="65" name="Rectangle 64">
                <a:extLst>
                  <a:ext uri="{FF2B5EF4-FFF2-40B4-BE49-F238E27FC236}">
                    <a16:creationId xmlns:a16="http://schemas.microsoft.com/office/drawing/2014/main" id="{F626655F-6EB2-4015-8905-1EF2461D060A}"/>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66" name="Teardrop 65">
                <a:extLst>
                  <a:ext uri="{FF2B5EF4-FFF2-40B4-BE49-F238E27FC236}">
                    <a16:creationId xmlns:a16="http://schemas.microsoft.com/office/drawing/2014/main" id="{1750E83D-7C12-4E81-A427-AA37037029D3}"/>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59" name="Group 58">
              <a:extLst>
                <a:ext uri="{FF2B5EF4-FFF2-40B4-BE49-F238E27FC236}">
                  <a16:creationId xmlns:a16="http://schemas.microsoft.com/office/drawing/2014/main" id="{7A938ADD-498F-4872-BA17-7A3CE879AA58}"/>
                </a:ext>
              </a:extLst>
            </p:cNvPr>
            <p:cNvGrpSpPr>
              <a:grpSpLocks/>
            </p:cNvGrpSpPr>
            <p:nvPr/>
          </p:nvGrpSpPr>
          <p:grpSpPr>
            <a:xfrm rot="10800000">
              <a:off x="952143" y="4108460"/>
              <a:ext cx="45720" cy="508538"/>
              <a:chOff x="3748568" y="2287851"/>
              <a:chExt cx="148686" cy="1653808"/>
            </a:xfrm>
          </p:grpSpPr>
          <p:sp>
            <p:nvSpPr>
              <p:cNvPr id="63" name="Rectangle 62">
                <a:extLst>
                  <a:ext uri="{FF2B5EF4-FFF2-40B4-BE49-F238E27FC236}">
                    <a16:creationId xmlns:a16="http://schemas.microsoft.com/office/drawing/2014/main" id="{1178BB27-DE50-4747-A56D-9F88845361A0}"/>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64" name="Teardrop 63">
                <a:extLst>
                  <a:ext uri="{FF2B5EF4-FFF2-40B4-BE49-F238E27FC236}">
                    <a16:creationId xmlns:a16="http://schemas.microsoft.com/office/drawing/2014/main" id="{B9A13791-9CCB-457B-9FDD-7BD2F8A03067}"/>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60" name="Group 59">
              <a:extLst>
                <a:ext uri="{FF2B5EF4-FFF2-40B4-BE49-F238E27FC236}">
                  <a16:creationId xmlns:a16="http://schemas.microsoft.com/office/drawing/2014/main" id="{D203C3EF-A242-4662-9699-2DF60D94DE76}"/>
                </a:ext>
              </a:extLst>
            </p:cNvPr>
            <p:cNvGrpSpPr>
              <a:grpSpLocks/>
            </p:cNvGrpSpPr>
            <p:nvPr/>
          </p:nvGrpSpPr>
          <p:grpSpPr>
            <a:xfrm rot="10800000" flipH="1">
              <a:off x="1010544" y="4064211"/>
              <a:ext cx="45720" cy="508538"/>
              <a:chOff x="3748568" y="2287851"/>
              <a:chExt cx="148686" cy="1653808"/>
            </a:xfrm>
          </p:grpSpPr>
          <p:sp>
            <p:nvSpPr>
              <p:cNvPr id="61" name="Rectangle 60">
                <a:extLst>
                  <a:ext uri="{FF2B5EF4-FFF2-40B4-BE49-F238E27FC236}">
                    <a16:creationId xmlns:a16="http://schemas.microsoft.com/office/drawing/2014/main" id="{802D6908-67D2-4440-84CD-05F5B98B0FD7}"/>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62" name="Teardrop 61">
                <a:extLst>
                  <a:ext uri="{FF2B5EF4-FFF2-40B4-BE49-F238E27FC236}">
                    <a16:creationId xmlns:a16="http://schemas.microsoft.com/office/drawing/2014/main" id="{C4BE8C0B-AE99-4A8F-A01C-DD6640111CE7}"/>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grpSp>
        <p:nvGrpSpPr>
          <p:cNvPr id="69" name="Group 68">
            <a:extLst>
              <a:ext uri="{FF2B5EF4-FFF2-40B4-BE49-F238E27FC236}">
                <a16:creationId xmlns:a16="http://schemas.microsoft.com/office/drawing/2014/main" id="{077F666F-14DE-4035-8A28-2D2DC23E9ACD}"/>
              </a:ext>
            </a:extLst>
          </p:cNvPr>
          <p:cNvGrpSpPr/>
          <p:nvPr/>
        </p:nvGrpSpPr>
        <p:grpSpPr>
          <a:xfrm rot="19800000">
            <a:off x="2243474" y="2438630"/>
            <a:ext cx="926227" cy="927085"/>
            <a:chOff x="528540" y="2696474"/>
            <a:chExt cx="926227" cy="927085"/>
          </a:xfrm>
        </p:grpSpPr>
        <p:grpSp>
          <p:nvGrpSpPr>
            <p:cNvPr id="70" name="Group 69">
              <a:extLst>
                <a:ext uri="{FF2B5EF4-FFF2-40B4-BE49-F238E27FC236}">
                  <a16:creationId xmlns:a16="http://schemas.microsoft.com/office/drawing/2014/main" id="{C4513E17-55C1-4A8A-950F-CEDE4FF52DE5}"/>
                </a:ext>
              </a:extLst>
            </p:cNvPr>
            <p:cNvGrpSpPr>
              <a:grpSpLocks/>
            </p:cNvGrpSpPr>
            <p:nvPr/>
          </p:nvGrpSpPr>
          <p:grpSpPr>
            <a:xfrm rot="1800000">
              <a:off x="958315" y="2789190"/>
              <a:ext cx="66678" cy="741654"/>
              <a:chOff x="3748568" y="2287851"/>
              <a:chExt cx="148686" cy="1653808"/>
            </a:xfrm>
          </p:grpSpPr>
          <p:sp>
            <p:nvSpPr>
              <p:cNvPr id="72" name="Rectangle 71">
                <a:extLst>
                  <a:ext uri="{FF2B5EF4-FFF2-40B4-BE49-F238E27FC236}">
                    <a16:creationId xmlns:a16="http://schemas.microsoft.com/office/drawing/2014/main" id="{4E149870-0A25-44EC-B282-11AF20C6AB61}"/>
                  </a:ext>
                </a:extLst>
              </p:cNvPr>
              <p:cNvSpPr/>
              <p:nvPr/>
            </p:nvSpPr>
            <p:spPr bwMode="auto">
              <a:xfrm>
                <a:off x="3777192" y="2938488"/>
                <a:ext cx="45719" cy="100317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sp>
            <p:nvSpPr>
              <p:cNvPr id="73" name="Teardrop 72">
                <a:extLst>
                  <a:ext uri="{FF2B5EF4-FFF2-40B4-BE49-F238E27FC236}">
                    <a16:creationId xmlns:a16="http://schemas.microsoft.com/office/drawing/2014/main" id="{535B22F0-C98E-406E-BCDD-26E950C9C511}"/>
                  </a:ext>
                </a:extLst>
              </p:cNvPr>
              <p:cNvSpPr/>
              <p:nvPr/>
            </p:nvSpPr>
            <p:spPr bwMode="auto">
              <a:xfrm rot="10800000">
                <a:off x="3748568" y="2287851"/>
                <a:ext cx="148686" cy="683002"/>
              </a:xfrm>
              <a:prstGeom prst="teardrop">
                <a:avLst>
                  <a:gd name="adj" fmla="val 106407"/>
                </a:avLst>
              </a:prstGeom>
              <a:solidFill>
                <a:srgbClr val="4C7895"/>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sp>
          <p:nvSpPr>
            <p:cNvPr id="71" name="AutoShape 8">
              <a:extLst>
                <a:ext uri="{FF2B5EF4-FFF2-40B4-BE49-F238E27FC236}">
                  <a16:creationId xmlns:a16="http://schemas.microsoft.com/office/drawing/2014/main" id="{AC2C312C-92D4-4BF5-9397-7B180D8F8BBA}"/>
                </a:ext>
              </a:extLst>
            </p:cNvPr>
            <p:cNvSpPr>
              <a:spLocks noChangeAspect="1" noChangeArrowheads="1" noTextEdit="1"/>
            </p:cNvSpPr>
            <p:nvPr/>
          </p:nvSpPr>
          <p:spPr bwMode="auto">
            <a:xfrm>
              <a:off x="528540" y="2696474"/>
              <a:ext cx="926227" cy="92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cxnSp>
        <p:nvCxnSpPr>
          <p:cNvPr id="74" name="Straight Arrow Connector 73">
            <a:extLst>
              <a:ext uri="{FF2B5EF4-FFF2-40B4-BE49-F238E27FC236}">
                <a16:creationId xmlns:a16="http://schemas.microsoft.com/office/drawing/2014/main" id="{094DF50E-18C6-4408-9DE6-C1034F559AB9}"/>
              </a:ext>
            </a:extLst>
          </p:cNvPr>
          <p:cNvCxnSpPr>
            <a:cxnSpLocks/>
          </p:cNvCxnSpPr>
          <p:nvPr/>
        </p:nvCxnSpPr>
        <p:spPr>
          <a:xfrm>
            <a:off x="4932040" y="2806909"/>
            <a:ext cx="1728192" cy="0"/>
          </a:xfrm>
          <a:prstGeom prst="straightConnector1">
            <a:avLst/>
          </a:prstGeom>
          <a:ln w="9525" cap="rnd" cmpd="sng" algn="ctr">
            <a:solidFill>
              <a:srgbClr val="003B59"/>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8BA43101-CCFE-41C8-A242-845B1DDCE1A2}"/>
              </a:ext>
            </a:extLst>
          </p:cNvPr>
          <p:cNvSpPr txBox="1"/>
          <p:nvPr/>
        </p:nvSpPr>
        <p:spPr>
          <a:xfrm>
            <a:off x="3762506" y="3735939"/>
            <a:ext cx="162000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de-DE" sz="900" dirty="0">
                <a:solidFill>
                  <a:srgbClr val="000000"/>
                </a:solidFill>
              </a:rPr>
              <a:t>Ein Zentrifugenröhrchen dient als Sammelgefäß</a:t>
            </a:r>
            <a:endParaRPr lang="de-DE" sz="788" strike="sngStrike" dirty="0">
              <a:solidFill>
                <a:srgbClr val="FF0000"/>
              </a:solidFill>
            </a:endParaRPr>
          </a:p>
        </p:txBody>
      </p:sp>
      <p:sp>
        <p:nvSpPr>
          <p:cNvPr id="84" name="Rectangle 83">
            <a:extLst>
              <a:ext uri="{FF2B5EF4-FFF2-40B4-BE49-F238E27FC236}">
                <a16:creationId xmlns:a16="http://schemas.microsoft.com/office/drawing/2014/main" id="{0FC2432A-1832-4D36-9D66-75F39AEE4003}"/>
              </a:ext>
            </a:extLst>
          </p:cNvPr>
          <p:cNvSpPr/>
          <p:nvPr/>
        </p:nvSpPr>
        <p:spPr bwMode="auto">
          <a:xfrm>
            <a:off x="3386348" y="0"/>
            <a:ext cx="2372317" cy="271811"/>
          </a:xfrm>
          <a:prstGeom prst="rect">
            <a:avLst/>
          </a:prstGeom>
          <a:solidFill>
            <a:srgbClr val="0A4E7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Arial" panose="020B0604020202020204" pitchFamily="34" charset="0"/>
            </a:pPr>
            <a:r>
              <a:rPr lang="de-DE" sz="1200" dirty="0">
                <a:solidFill>
                  <a:schemeClr val="bg1"/>
                </a:solidFill>
                <a:latin typeface="+mn-lt"/>
                <a:cs typeface="+mn-cs"/>
              </a:rPr>
              <a:t>Exemplarische Darstellung</a:t>
            </a:r>
          </a:p>
        </p:txBody>
      </p:sp>
    </p:spTree>
    <p:extLst>
      <p:ext uri="{BB962C8B-B14F-4D97-AF65-F5344CB8AC3E}">
        <p14:creationId xmlns:p14="http://schemas.microsoft.com/office/powerpoint/2010/main" val="1221230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LANGUAGE_ID" val="1031"/>
  <p:tag name="THINKCELLPRESENTATIONDONOTDELETE" val="&lt;?xml version=&quot;1.0&quot; encoding=&quot;UTF-16&quot; standalone=&quot;yes&quot;?&gt;&lt;root reqver=&quot;27037&quot;&gt;&lt;version val=&quot;325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EE4P_STYLE_ID" val="XgRIev8y"/>
  <p:tag name="EE4P_STYLE_NAME" val="StMAS 2021 Grid 16:9"/>
  <p:tag name="EE4P_AGENDAWIZARD" val="&lt;ee4p&gt;&lt;layouts&gt;&lt;layout name=&quot;D. Full Width&quot; id=&quot;227_1-7&quot;&gt;&lt;standard&gt;&lt;textframe horizontalAnchor=&quot;1&quot; marginBottom=&quot;0&quot; marginLeft=&quot;0&quot; marginRight=&quot;0&quot; marginTop=&quot;0&quot; orientation=&quot;1&quot; verticalAnchor=&quot;1&quot; /&gt;&lt;font name=&quot;Novel Sans Pro&quot; bold=&quot;0&quot; italic=&quot;0&quot; color=&quot;#0a4e78&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2&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0&quot; dock=&quot;2&quot; /&gt;&lt;column field=&quot;pageno&quot; label=&quot;Page No.&quot; visible=&quot;1&quot; checked=&quot;0&quot; leftSpacing=&quot;10&quot; rightSpacing=&quot;0&quot; dock=&quot;2&quot; /&gt;&lt;/columns&gt;&lt;position left=&quot;37.5&quot; top=&quot;90&quot; width=&quot;645&quot; height=&quot;255&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quot; allowedTimeFormatIds=&quot;1|2|3&quot; slideLayout=&quot;11&quot; customLayoutName=&quot;D. Blank|Documentation¦D. Blank&quot; customLayoutIndex=&quot;&quot; showBreak=&quot;0&quot; singleAgendaSlideSelected=&quot;0&quot; backupSlideTitle=&quot;Unused Slides&quot; topMargin=&quot;0&quot; leftMargin=&quot;0&quot; allowedLevels=&quot;2&quot; itemNoFormats=&quot;{1}¦{1}.{2}¦{3:alphaLC}¦{3:alphaLC}.{4:alphaLC}&quot; customLayoutNameBackup=&quot;D. Special gray|Documentation¦D. Special gray&quot; titlePrompt=&quot;Insert Title&quot; /&gt;&lt;cases&gt;&lt;case level=&quot;1&quot; single=&quot;1&quot; break=&quot;0&quot; topMinSpacing=&quot;5&quot; topMaxSpacing=&quot;10.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0&quot; topMaxSpacing=&quot;0&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textframe marginLeft=&quot;0&quot; verticalAnchor=&quot;4&quot; /&gt;&lt;font relativeSize=&quot;0.75&quot; /&gt;&lt;/element&gt;&lt;element field=&quot;pageno&quot; type=&quot;autoshape&quot; autoShapeType=&quot;1&quot;&gt;&lt;paragraphformat alignment=&quot;3&quot; /&gt;&lt;textframe marginLeft=&quot;0&quot; verticalAnchor=&quot;4&quot; /&gt;&lt;font relativeSize=&quot;0.75&quot; /&gt;&lt;/element&gt;&lt;/case&gt;&lt;/cases&gt;&lt;elements&gt;&lt;element type=&quot;autoshape&quot; autoShapeType=&quot;1&quot; value=&quot;%agendaTitle%&quot; slideType=&quot;1&quot;&gt;&lt;position left=&quot;0&quot; top=&quot;-51&quot; width=&quot;427.5&quot; height=&quot;27.75&quot; autoshape=&quot;1&quot; rotation=&quot;0&quot; /&gt;&lt;line visible=&quot;0&quot; /&gt;&lt;fill visible=&quot;0&quot; /&gt;&lt;textframe horizontalAnchor=&quot;1&quot; verticalAnchor=&quot;1&quot; orientation=&quot;1&quot; wordWrap=&quot;1&quot; autoSize=&quot;1&quot; marginLeft=&quot;0&quot; marginRight=&quot;0&quot; marginTop=&quot;0&quot; marginBottom=&quot;0&quot; /&gt;&lt;paragraphformat alignment=&quot;1&quot; lineRuleBefore=&quot;1&quot; lineRuleWithin=&quot;1&quot; lineRuleAfter=&quot;0&quot; spaceBefore=&quot;0&quot; spaceWithin=&quot;0.9&quot; spaceAfter=&quot;0&quot; /&gt;&lt;font name=&quot;Novel Sans Pro&quot; size=&quot;26&quot; bold=&quot;0&quot; italic=&quot;1&quot; underlineStyle=&quot;0&quot; color=&quot;#0a4e78&quot; spacing=&quot;0&quot; kerning=&quot;12&quot; /&gt;&lt;/element&gt;&lt;element type=&quot;line&quot; value=&quot;&quot; slideType=&quot;1&quot;&gt;&lt;position left=&quot;0&quot; top=&quot;-16.5&quot; width=&quot;682.5&quot; height=&quot;0&quot; /&gt;&lt;line visible=&quot;1&quot; weight=&quot;0.75&quot; style=&quot;1&quot; dashStyle=&quot;1&quot; foreColor=&quot;#0a4e78&quot; /&gt;&lt;/element&gt;&lt;element type=&quot;autoshape&quot; autoShapeType=&quot;1&quot; value=&quot;&quot; slideType=&quot;2&quot;&gt;&lt;position left=&quot;34.5&quot; top=&quot;-5.25&quot; width=&quot;56.25&quot; height=&quot;56.25&quot; autoshape=&quot;1&quot; rotation=&quot;0&quot; /&gt;&lt;line visible=&quot;1&quot; weight=&quot;0.75&quot; style=&quot;1&quot; dashStyle=&quot;1&quot; foreColor=&quot;#0a4e78&quot; /&gt;&lt;fill visible=&quot;0&quot; /&gt;&lt;/element&gt;&lt;element type=&quot;autoshape&quot; autoShapeType=&quot;1&quot; value=&quot;%topic%&quot; slideType=&quot;2&quot;&gt;&lt;position left=&quot;34.5&quot; top=&quot;67.5&quot; width=&quot;576&quot; height=&quot;187.5&quot; autoshape=&quot;1&quot; rotation=&quot;0&quot; /&gt;&lt;line visible=&quot;1&quot; weight=&quot;0.75&quot; style=&quot;1&quot; dashStyle=&quot;1&quot; foreColor=&quot;#0a4e78&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Novel Sans Pro&quot; size=&quot;41&quot; bold=&quot;0&quot; italic=&quot;1&quot; underlineStyle=&quot;0&quot; color=&quot;#0a4e78&quot; spacing=&quot;0&quot; kerning=&quot;12&quot; /&gt;&lt;/element&gt;&lt;/elements&gt;&lt;/layout&gt;&lt;/layouts&gt;&lt;contents&gt;&lt;agenda name=&quot;&quot; title=&quot;Inhalte&quot; subtitle=&quot;&quot; sizingModeId=&quot;1&quot; fontSize=&quot;12&quot; fontSizeAuto=&quot;1&quot; startTime=&quot;540&quot; timeFormatId=&quot;1&quot; startItemNo=&quot;1&quot; createSingleAgendaSlide=&quot;0&quot; createSeparatingSlides=&quot;1&quot; createBackupSlide=&quot;1&quot; layoutId=&quot;227_1-7&quot; hideSeparatingSlides=&quot;0&quot; createSections=&quot;1&quot; singleSlideId=&quot;&quot; backupSlideId=&quot;df9a8fdd-01f5-4764-a286-e894e31aafd4&quot; backupSectionId=&quot;{40AC69AF-1F54-404B-B802-410522ED2694}&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243.4869&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9e592bd5-07fd-4064-8750-32f9f8d8e2be&quot; parentId=&quot;&quot; level=&quot;1&quot; generateAgendaSlide=&quot;1&quot; showAgendaItem=&quot;1&quot; isBreak=&quot;0&quot; topic=&quot;Bebilderte Übersicht zu den relevanten Institutionen, Personen und Dienstleistern&quot; agendaSlideId=&quot;e484bea9-e1a1-4eea-a168-5d6dce6a2db6&quot; sectionId=&quot;{4F9CBE37-0ADA-4DE7-BE75-3F779F318FEB}&quot; /&gt;&lt;item duration=&quot;30&quot; id=&quot;6d035300-a2b3-4dfc-96ab-c8f9c3d79e2e&quot; parentId=&quot;&quot; level=&quot;1&quot; generateAgendaSlide=&quot;1&quot; showAgendaItem=&quot;1&quot; isBreak=&quot;0&quot; topic=&quot;Fotografische Abbildungen&quot; agendaSlideId=&quot;eeaaad3c-35a7-4b1b-bc40-724c64e39963&quot; sectionId=&quot;{97FF9966-55AE-44EB-9D86-1D99198B84B4}&quot; /&gt;&lt;item duration=&quot;30&quot; id=&quot;0a9110aa-d91a-4432-8350-787c81811179&quot; parentId=&quot;&quot; level=&quot;1&quot; generateAgendaSlide=&quot;1&quot; showAgendaItem=&quot;1&quot; isBreak=&quot;0&quot; topic=&quot;Beispielhafte Darstellungen&quot; agendaSlideId=&quot;c1d7e879-8190-46bd-8203-301f9d6905e1&quot; sectionId=&quot;{F049D040-BD98-4557-B8DE-6FDFDD15E535}&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SLIDEID" val="e484bea9-e1a1-4eea-a168-5d6dce6a2db6"/>
</p:tagLst>
</file>

<file path=ppt/tags/tag7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72/157.5/576/187.5"/>
  <p:tag name="EE4P_AGENDAWIZARD_CONTENT" val="/Bebilderte Übersicht zu den relevanten Institutionen, Personen und Dienstleistern"/>
</p:tagLst>
</file>

<file path=ppt/tags/tag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72/84.75/56.25/56.25"/>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SLIDEID" val="eeaaad3c-35a7-4b1b-bc40-724c64e39963"/>
</p:tagLst>
</file>

<file path=ppt/tags/tag8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72/157.5/576/187.5"/>
  <p:tag name="EE4P_AGENDAWIZARD_CONTENT" val="/Fotografische Abbildungen"/>
</p:tagLst>
</file>

<file path=ppt/tags/tag8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72/84.75/56.25/56.25"/>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SLIDEID" val="c1d7e879-8190-46bd-8203-301f9d6905e1"/>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72/157.5/576/187.5"/>
  <p:tag name="EE4P_AGENDAWIZARD_CONTENT" val="/Beispielhafte Darstellungen"/>
</p:tagLst>
</file>

<file path=ppt/tags/tag8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72/84.75/56.25/56.25"/>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MAS_Präsentation 2018">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MAS 2021">
      <a:majorFont>
        <a:latin typeface="Novel Sans Pro"/>
        <a:ea typeface=""/>
        <a:cs typeface="Novel Sans Pro"/>
      </a:majorFont>
      <a:minorFont>
        <a:latin typeface="Novel Sans Pro"/>
        <a:ea typeface=""/>
        <a:cs typeface="Novel Sans Pro"/>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A4E78"/>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Font typeface="Arial" panose="020B0604020202020204" pitchFamily="34" charset="0"/>
          <a:defRPr sz="1200" dirty="0">
            <a:solidFill>
              <a:schemeClr val="bg1"/>
            </a:solidFill>
            <a:latin typeface="+mn-lt"/>
            <a:cs typeface="+mn-cs"/>
          </a:defRPr>
        </a:defPPr>
      </a:lstStyle>
    </a:spDef>
    <a:lnDef>
      <a:spPr bwMode="auto">
        <a:noFill/>
        <a:ln w="9525" cap="flat" cmpd="sng" algn="ctr">
          <a:solidFill>
            <a:srgbClr val="898989"/>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nchor="ctr">
        <a:spAutoFit/>
      </a:bodyPr>
      <a:lstStyle>
        <a:defPPr algn="l">
          <a:defRPr sz="1600" dirty="0" err="1" smtClean="0">
            <a:solidFill>
              <a:srgbClr val="0A4E78"/>
            </a:solidFill>
            <a:latin typeface="+mn-lt"/>
          </a:defRPr>
        </a:defPPr>
      </a:lstStyle>
    </a:txDef>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MAS_Präsentation_2020_16zu9.potx" id="{00C3969F-9182-4E9E-970A-FC49A46A2AA4}" vid="{B08F2374-0348-4B3D-ADE7-51D8E7804D5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tMAS_Präsentation_2020_16zu9_Input</Template>
  <TotalTime>0</TotalTime>
  <Words>637</Words>
  <Application>Microsoft Office PowerPoint</Application>
  <PresentationFormat>Bildschirmpräsentation (16:9)</PresentationFormat>
  <Paragraphs>77</Paragraphs>
  <Slides>12</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9" baseType="lpstr">
      <vt:lpstr>Arial</vt:lpstr>
      <vt:lpstr>Calibri</vt:lpstr>
      <vt:lpstr>Novel Sans Pro</vt:lpstr>
      <vt:lpstr>Symbol</vt:lpstr>
      <vt:lpstr>Trebuchet MS</vt:lpstr>
      <vt:lpstr>StMAS_Präsentation 2018</vt:lpstr>
      <vt:lpstr>think-cell Slide</vt:lpstr>
      <vt:lpstr>Bildmaterial zur Kommunikation</vt:lpstr>
      <vt:lpstr>Zur einfach verständlichen Kommunikation des Testkonzepts und dessen Abläufen empfehlen sich eindeutige Abbildungen</vt:lpstr>
      <vt:lpstr>PowerPoint-Präsentation</vt:lpstr>
      <vt:lpstr>Übersicht der beteiligten Personen, Dienstleister und Institutionen</vt:lpstr>
      <vt:lpstr>PowerPoint-Präsentation</vt:lpstr>
      <vt:lpstr>Test- und Transportmaterialien</vt:lpstr>
      <vt:lpstr>PowerPoint-Präsentation</vt:lpstr>
      <vt:lpstr>Die PCR-Pool-Tests können beispielsweise wie folgt organisiert werden</vt:lpstr>
      <vt:lpstr>Die Entnahme der Poolprobe besteht aus drei einfachen Schritten</vt:lpstr>
      <vt:lpstr>Die Entnahme der Individualprobe besteht aus drei einfachen Schritten und findet an jedem Testtag statt</vt:lpstr>
      <vt:lpstr>Bei positivem Testergebnis sind zunächst alle teilnehmenden Kinder Corona-Verdachtspersonen</vt:lpstr>
      <vt:lpstr>Bei positivem PCR-Pool werden Individualproben analysiert und ggfs. entsprechende Maßnahmen getroff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ldmaterial zur Kommunikation</dc:title>
  <dc:creator>Krön, Anne-Marie (StMAS)</dc:creator>
  <cp:lastModifiedBy>Krön, Anne-Marie (StMAS)</cp:lastModifiedBy>
  <cp:revision>161</cp:revision>
  <cp:lastPrinted>1999-12-31T22:00:00Z</cp:lastPrinted>
  <dcterms:created xsi:type="dcterms:W3CDTF">2021-10-22T09:03:17Z</dcterms:created>
  <dcterms:modified xsi:type="dcterms:W3CDTF">2022-01-20T12: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813233</vt:lpwstr>
  </property>
  <property fmtid="{D5CDD505-2E9C-101B-9397-08002B2CF9AE}" pid="3" name="NXPowerLiteSettings">
    <vt:lpwstr>89000AA0054001</vt:lpwstr>
  </property>
  <property fmtid="{D5CDD505-2E9C-101B-9397-08002B2CF9AE}" pid="4" name="NXPowerLiteVersion">
    <vt:lpwstr>D8.0.11</vt:lpwstr>
  </property>
  <property fmtid="{D5CDD505-2E9C-101B-9397-08002B2CF9AE}" pid="5" name="MSIP_Label_b0d5c4f4-7a29-4385-b7a5-afbe2154ae6f_Enabled">
    <vt:lpwstr>true</vt:lpwstr>
  </property>
  <property fmtid="{D5CDD505-2E9C-101B-9397-08002B2CF9AE}" pid="6" name="MSIP_Label_b0d5c4f4-7a29-4385-b7a5-afbe2154ae6f_SetDate">
    <vt:lpwstr>2021-10-25T12:10:13Z</vt:lpwstr>
  </property>
  <property fmtid="{D5CDD505-2E9C-101B-9397-08002B2CF9AE}" pid="7" name="MSIP_Label_b0d5c4f4-7a29-4385-b7a5-afbe2154ae6f_Method">
    <vt:lpwstr>Standard</vt:lpwstr>
  </property>
  <property fmtid="{D5CDD505-2E9C-101B-9397-08002B2CF9AE}" pid="8" name="MSIP_Label_b0d5c4f4-7a29-4385-b7a5-afbe2154ae6f_Name">
    <vt:lpwstr>Confidential</vt:lpwstr>
  </property>
  <property fmtid="{D5CDD505-2E9C-101B-9397-08002B2CF9AE}" pid="9" name="MSIP_Label_b0d5c4f4-7a29-4385-b7a5-afbe2154ae6f_SiteId">
    <vt:lpwstr>2dfb2f0b-4d21-4268-9559-72926144c918</vt:lpwstr>
  </property>
  <property fmtid="{D5CDD505-2E9C-101B-9397-08002B2CF9AE}" pid="10" name="MSIP_Label_b0d5c4f4-7a29-4385-b7a5-afbe2154ae6f_ActionId">
    <vt:lpwstr>ceb88c0f-8145-48f3-a2f6-2f07f0a4672f</vt:lpwstr>
  </property>
  <property fmtid="{D5CDD505-2E9C-101B-9397-08002B2CF9AE}" pid="11" name="MSIP_Label_b0d5c4f4-7a29-4385-b7a5-afbe2154ae6f_ContentBits">
    <vt:lpwstr>0</vt:lpwstr>
  </property>
  <property fmtid="{D5CDD505-2E9C-101B-9397-08002B2CF9AE}" pid="12" name="bcgClassification">
    <vt:lpwstr>bcgConfidential</vt:lpwstr>
  </property>
</Properties>
</file>